
<file path=[Content_Types].xml><?xml version="1.0" encoding="utf-8"?>
<Types xmlns="http://schemas.openxmlformats.org/package/2006/content-types">
  <Default Extension="avif" ContentType="image/png"/>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theme/theme5.xml" ContentType="application/vnd.openxmlformats-officedocument.theme+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2.xml" ContentType="application/vnd.openxmlformats-officedocument.presentationml.notesSlide+xml"/>
  <Override PartName="/ppt/tags/tag65.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0" r:id="rId1"/>
    <p:sldMasterId id="2147483663" r:id="rId2"/>
    <p:sldMasterId id="2147483665" r:id="rId3"/>
    <p:sldMasterId id="2147483667" r:id="rId4"/>
    <p:sldMasterId id="2147483670" r:id="rId5"/>
    <p:sldMasterId id="2147483672" r:id="rId6"/>
    <p:sldMasterId id="2147483674" r:id="rId7"/>
  </p:sldMasterIdLst>
  <p:notesMasterIdLst>
    <p:notesMasterId r:id="rId31"/>
  </p:notesMasterIdLst>
  <p:sldIdLst>
    <p:sldId id="256" r:id="rId8"/>
    <p:sldId id="298" r:id="rId9"/>
    <p:sldId id="259" r:id="rId10"/>
    <p:sldId id="258" r:id="rId11"/>
    <p:sldId id="300" r:id="rId12"/>
    <p:sldId id="291" r:id="rId13"/>
    <p:sldId id="292" r:id="rId14"/>
    <p:sldId id="293" r:id="rId15"/>
    <p:sldId id="267" r:id="rId16"/>
    <p:sldId id="299" r:id="rId17"/>
    <p:sldId id="294" r:id="rId18"/>
    <p:sldId id="271" r:id="rId19"/>
    <p:sldId id="303" r:id="rId20"/>
    <p:sldId id="309" r:id="rId21"/>
    <p:sldId id="310" r:id="rId22"/>
    <p:sldId id="311" r:id="rId23"/>
    <p:sldId id="286" r:id="rId24"/>
    <p:sldId id="306" r:id="rId25"/>
    <p:sldId id="305" r:id="rId26"/>
    <p:sldId id="307" r:id="rId27"/>
    <p:sldId id="308" r:id="rId28"/>
    <p:sldId id="277" r:id="rId29"/>
    <p:sldId id="313" r:id="rId30"/>
  </p:sldIdLst>
  <p:sldSz cx="9144000" cy="5143500" type="screen16x9"/>
  <p:notesSz cx="6858000" cy="9144000"/>
  <p:embeddedFontLst>
    <p:embeddedFont>
      <p:font typeface="Anton" pitchFamily="2" charset="0"/>
      <p:regular r:id="rId32"/>
    </p:embeddedFont>
    <p:embeddedFont>
      <p:font typeface="Barlow" panose="00000500000000000000" pitchFamily="2" charset="0"/>
      <p:regular r:id="rId33"/>
      <p:bold r:id="rId34"/>
      <p:italic r:id="rId35"/>
      <p:boldItalic r:id="rId36"/>
    </p:embeddedFont>
    <p:embeddedFont>
      <p:font typeface="Calibri" panose="020F0502020204030204" pitchFamily="34" charset="0"/>
      <p:regular r:id="rId37"/>
      <p:bold r:id="rId38"/>
      <p:italic r:id="rId39"/>
      <p:boldItalic r:id="rId40"/>
    </p:embeddedFont>
    <p:embeddedFont>
      <p:font typeface="Calibri Light" panose="020F0302020204030204" pitchFamily="34" charset="0"/>
      <p:regular r:id="rId41"/>
      <p:italic r:id="rId42"/>
    </p:embeddedFont>
    <p:embeddedFont>
      <p:font typeface="Fira Sans Extra Condensed" panose="020B0503050000020004" pitchFamily="34" charset="0"/>
      <p:regular r:id="rId43"/>
      <p:bold r:id="rId44"/>
      <p:italic r:id="rId45"/>
      <p:boldItalic r:id="rId46"/>
    </p:embeddedFont>
    <p:embeddedFont>
      <p:font typeface="Fira Sans Extra Condensed SemiBold" panose="020B0604020202020204" charset="0"/>
      <p:regular r:id="rId47"/>
      <p:bold r:id="rId48"/>
      <p:italic r:id="rId49"/>
      <p:boldItalic r:id="rId50"/>
    </p:embeddedFont>
    <p:embeddedFont>
      <p:font typeface="Roboto" panose="02000000000000000000" pitchFamily="2" charset="0"/>
      <p:regular r:id="rId51"/>
      <p:bold r:id="rId52"/>
      <p:italic r:id="rId53"/>
      <p:boldItalic r:id="rId54"/>
    </p:embeddedFont>
    <p:embeddedFont>
      <p:font typeface="Tahoma" panose="020B0604030504040204" pitchFamily="34" charset="0"/>
      <p:regular r:id="rId55"/>
      <p:bold r:id="rId5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7C852C0-ABBC-4FF1-AE45-78F2F3CBBCBE}">
  <a:tblStyle styleId="{E7C852C0-ABBC-4FF1-AE45-78F2F3CBBCB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7" d="100"/>
          <a:sy n="137" d="100"/>
        </p:scale>
        <p:origin x="78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8.fntdata"/><Relationship Id="rId21" Type="http://schemas.openxmlformats.org/officeDocument/2006/relationships/slide" Target="slides/slide14.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font" Target="fonts/font24.fntdata"/><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10.fntdata"/><Relationship Id="rId54" Type="http://schemas.openxmlformats.org/officeDocument/2006/relationships/font" Target="fonts/font23.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5.fntdata"/><Relationship Id="rId49" Type="http://schemas.openxmlformats.org/officeDocument/2006/relationships/font" Target="fonts/font18.fntdata"/><Relationship Id="rId57"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font" Target="fonts/font25.fntdata"/><Relationship Id="rId8" Type="http://schemas.openxmlformats.org/officeDocument/2006/relationships/slide" Target="slides/slide1.xml"/><Relationship Id="rId51" Type="http://schemas.openxmlformats.org/officeDocument/2006/relationships/font" Target="fonts/font20.fntdata"/><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
        <p:cNvGrpSpPr/>
        <p:nvPr/>
      </p:nvGrpSpPr>
      <p:grpSpPr>
        <a:xfrm>
          <a:off x="0" y="0"/>
          <a:ext cx="0" cy="0"/>
          <a:chOff x="0" y="0"/>
          <a:chExt cx="0" cy="0"/>
        </a:xfrm>
      </p:grpSpPr>
      <p:sp>
        <p:nvSpPr>
          <p:cNvPr id="43" name="Google Shape;43;gdcb566e1d5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 name="Google Shape;44;gdcb566e1d5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0</a:t>
            </a:fld>
            <a:endParaRPr lang="en-US" dirty="0"/>
          </a:p>
        </p:txBody>
      </p:sp>
    </p:spTree>
    <p:extLst>
      <p:ext uri="{BB962C8B-B14F-4D97-AF65-F5344CB8AC3E}">
        <p14:creationId xmlns:p14="http://schemas.microsoft.com/office/powerpoint/2010/main" val="428417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11</a:t>
            </a:fld>
            <a:endParaRPr lang="en-US" dirty="0"/>
          </a:p>
        </p:txBody>
      </p:sp>
    </p:spTree>
    <p:extLst>
      <p:ext uri="{BB962C8B-B14F-4D97-AF65-F5344CB8AC3E}">
        <p14:creationId xmlns:p14="http://schemas.microsoft.com/office/powerpoint/2010/main" val="2071363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ge96fd5876e_0_18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0" name="Google Shape;1260;ge96fd5876e_0_18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3</a:t>
            </a:fld>
            <a:endParaRPr lang="en-US" dirty="0"/>
          </a:p>
        </p:txBody>
      </p:sp>
    </p:spTree>
    <p:extLst>
      <p:ext uri="{BB962C8B-B14F-4D97-AF65-F5344CB8AC3E}">
        <p14:creationId xmlns:p14="http://schemas.microsoft.com/office/powerpoint/2010/main" val="1641841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14</a:t>
            </a:fld>
            <a:endParaRPr lang="en-US" dirty="0"/>
          </a:p>
        </p:txBody>
      </p:sp>
    </p:spTree>
    <p:extLst>
      <p:ext uri="{BB962C8B-B14F-4D97-AF65-F5344CB8AC3E}">
        <p14:creationId xmlns:p14="http://schemas.microsoft.com/office/powerpoint/2010/main" val="3724961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15</a:t>
            </a:fld>
            <a:endParaRPr lang="en-US" dirty="0"/>
          </a:p>
        </p:txBody>
      </p:sp>
    </p:spTree>
    <p:extLst>
      <p:ext uri="{BB962C8B-B14F-4D97-AF65-F5344CB8AC3E}">
        <p14:creationId xmlns:p14="http://schemas.microsoft.com/office/powerpoint/2010/main" val="3358415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16</a:t>
            </a:fld>
            <a:endParaRPr lang="en-US" dirty="0"/>
          </a:p>
        </p:txBody>
      </p:sp>
    </p:spTree>
    <p:extLst>
      <p:ext uri="{BB962C8B-B14F-4D97-AF65-F5344CB8AC3E}">
        <p14:creationId xmlns:p14="http://schemas.microsoft.com/office/powerpoint/2010/main" val="308078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8"/>
        <p:cNvGrpSpPr/>
        <p:nvPr/>
      </p:nvGrpSpPr>
      <p:grpSpPr>
        <a:xfrm>
          <a:off x="0" y="0"/>
          <a:ext cx="0" cy="0"/>
          <a:chOff x="0" y="0"/>
          <a:chExt cx="0" cy="0"/>
        </a:xfrm>
      </p:grpSpPr>
      <p:sp>
        <p:nvSpPr>
          <p:cNvPr id="2309" name="Google Shape;2309;ge96fd5876e_0_47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0" name="Google Shape;2310;ge96fd5876e_0_47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a:t>1 là có tập dữ liệu được gắn nhãn sử dụng để training, hiệu quả trong phân loại và hồi quy</a:t>
            </a:r>
          </a:p>
          <a:p>
            <a:pPr marL="158750" indent="0">
              <a:buNone/>
            </a:pPr>
            <a:r>
              <a:rPr lang="en-US"/>
              <a:t>2 </a:t>
            </a:r>
            <a:r>
              <a:rPr lang="vi-VN"/>
              <a:t>như phân loại văn bản, phân tích hình ảnh và dữ liệu sinh học, nơi mà số lượng đặc trưng có thể rất lớn</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vi-VN"/>
              <a:t>3 </a:t>
            </a:r>
            <a:r>
              <a:rPr lang="en-US"/>
              <a:t>SVM tìm cách xác định một siêu phẳng (hyperplane) phân chia các lớp dữ liệu sao cho khoảng cách (margin) giữa siêu phẳng này và các điểm dữ liệu gần nhất của mỗi lớp là lớn nhất. Việc tối đa hóa margin này giúp giảm thiểu rủi ro phân loại sai và tăng khả năng tổng quát hóa của mô hình trên dữ liệu mới.</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a:t>4 </a:t>
            </a:r>
            <a:r>
              <a:rPr lang="vi-VN"/>
              <a:t>Trong quá trình huấn luyện, SVM chỉ tập trung vào một số ít các điểm dữ liệu nằm gần biên quyết định, được gọi là "support vectors". Điều này giúp giảm độ phức tạp tính toán và làm cho mô hình hiệu quả hơn.</a:t>
            </a:r>
          </a:p>
          <a:p>
            <a:pPr marL="158750" indent="0">
              <a:buNone/>
            </a:pPr>
            <a:endParaRPr lang="en-US"/>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vi-VN"/>
              <a:t>Nhờ việc tối đa hóa margin và tập trung vào support vectors, SVM thường có khả năng tổng quát hóa tốt trên dữ liệu mới, ít bị overfitting (quá khớp) so với một số thuật toán khác.</a:t>
            </a:r>
          </a:p>
          <a:p>
            <a:pPr marL="158750" indent="0">
              <a:buNone/>
            </a:pP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18</a:t>
            </a:fld>
            <a:endParaRPr lang="en-US" dirty="0"/>
          </a:p>
        </p:txBody>
      </p:sp>
    </p:spTree>
    <p:extLst>
      <p:ext uri="{BB962C8B-B14F-4D97-AF65-F5344CB8AC3E}">
        <p14:creationId xmlns:p14="http://schemas.microsoft.com/office/powerpoint/2010/main" val="31021227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A7B01A-AEEA-879F-F593-42C0822FE6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61635F-26AC-11A4-87D0-FAEF3CC6E35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FB3D637-21FA-1B73-E34F-B8AF02DF3438}"/>
              </a:ext>
            </a:extLst>
          </p:cNvPr>
          <p:cNvSpPr>
            <a:spLocks noGrp="1"/>
          </p:cNvSpPr>
          <p:nvPr>
            <p:ph type="body" idx="1"/>
          </p:nvPr>
        </p:nvSpPr>
        <p:spPr/>
        <p:txBody>
          <a:bodyPr/>
          <a:lstStyle/>
          <a:p>
            <a:pPr marL="158750" indent="0">
              <a:buNone/>
            </a:pPr>
            <a:endParaRPr lang="en-US" dirty="0"/>
          </a:p>
        </p:txBody>
      </p:sp>
      <p:sp>
        <p:nvSpPr>
          <p:cNvPr id="4" name="Slide Number Placeholder 3">
            <a:extLst>
              <a:ext uri="{FF2B5EF4-FFF2-40B4-BE49-F238E27FC236}">
                <a16:creationId xmlns:a16="http://schemas.microsoft.com/office/drawing/2014/main" id="{35B0FBAD-A52D-20EA-BA6A-5027582D21C6}"/>
              </a:ext>
            </a:extLst>
          </p:cNvPr>
          <p:cNvSpPr>
            <a:spLocks noGrp="1"/>
          </p:cNvSpPr>
          <p:nvPr>
            <p:ph type="sldNum" sz="quarter" idx="5"/>
          </p:nvPr>
        </p:nvSpPr>
        <p:spPr/>
        <p:txBody>
          <a:bodyPr/>
          <a:lstStyle/>
          <a:p>
            <a:fld id="{B4A55CF2-256D-44FD-9430-5B63A079CF51}" type="slidenum">
              <a:rPr lang="en-US" smtClean="0"/>
              <a:t>19</a:t>
            </a:fld>
            <a:endParaRPr lang="en-US" dirty="0"/>
          </a:p>
        </p:txBody>
      </p:sp>
    </p:spTree>
    <p:extLst>
      <p:ext uri="{BB962C8B-B14F-4D97-AF65-F5344CB8AC3E}">
        <p14:creationId xmlns:p14="http://schemas.microsoft.com/office/powerpoint/2010/main" val="4221669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ge77f93ad05_0_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3" name="Google Shape;233;ge77f93ad05_0_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473218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20</a:t>
            </a:fld>
            <a:endParaRPr lang="en-US" dirty="0"/>
          </a:p>
        </p:txBody>
      </p:sp>
    </p:spTree>
    <p:extLst>
      <p:ext uri="{BB962C8B-B14F-4D97-AF65-F5344CB8AC3E}">
        <p14:creationId xmlns:p14="http://schemas.microsoft.com/office/powerpoint/2010/main" val="2099456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21</a:t>
            </a:fld>
            <a:endParaRPr lang="en-US" dirty="0"/>
          </a:p>
        </p:txBody>
      </p:sp>
    </p:spTree>
    <p:extLst>
      <p:ext uri="{BB962C8B-B14F-4D97-AF65-F5344CB8AC3E}">
        <p14:creationId xmlns:p14="http://schemas.microsoft.com/office/powerpoint/2010/main" val="42898861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5"/>
        <p:cNvGrpSpPr/>
        <p:nvPr/>
      </p:nvGrpSpPr>
      <p:grpSpPr>
        <a:xfrm>
          <a:off x="0" y="0"/>
          <a:ext cx="0" cy="0"/>
          <a:chOff x="0" y="0"/>
          <a:chExt cx="0" cy="0"/>
        </a:xfrm>
      </p:grpSpPr>
      <p:sp>
        <p:nvSpPr>
          <p:cNvPr id="1786" name="Google Shape;1786;ge96fd5876e_0_34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7" name="Google Shape;1787;ge96fd5876e_0_34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23</a:t>
            </a:fld>
            <a:endParaRPr lang="en-US" dirty="0"/>
          </a:p>
        </p:txBody>
      </p:sp>
    </p:spTree>
    <p:extLst>
      <p:ext uri="{BB962C8B-B14F-4D97-AF65-F5344CB8AC3E}">
        <p14:creationId xmlns:p14="http://schemas.microsoft.com/office/powerpoint/2010/main" val="3189239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e9566a474a_0_10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8" name="Google Shape;358;ge9566a474a_0_10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ge9566a474a_0_8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0" name="Google Shape;330;ge9566a474a_0_8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5</a:t>
            </a:fld>
            <a:endParaRPr lang="en-US" dirty="0"/>
          </a:p>
        </p:txBody>
      </p:sp>
    </p:spTree>
    <p:extLst>
      <p:ext uri="{BB962C8B-B14F-4D97-AF65-F5344CB8AC3E}">
        <p14:creationId xmlns:p14="http://schemas.microsoft.com/office/powerpoint/2010/main" val="409957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B4A55CF2-256D-44FD-9430-5B63A079CF51}" type="slidenum">
              <a:rPr lang="en-US" smtClean="0"/>
              <a:t>6</a:t>
            </a:fld>
            <a:endParaRPr lang="en-US" dirty="0"/>
          </a:p>
        </p:txBody>
      </p:sp>
    </p:spTree>
    <p:extLst>
      <p:ext uri="{BB962C8B-B14F-4D97-AF65-F5344CB8AC3E}">
        <p14:creationId xmlns:p14="http://schemas.microsoft.com/office/powerpoint/2010/main" val="1822666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7</a:t>
            </a:fld>
            <a:endParaRPr lang="en-US" dirty="0"/>
          </a:p>
        </p:txBody>
      </p:sp>
    </p:spTree>
    <p:extLst>
      <p:ext uri="{BB962C8B-B14F-4D97-AF65-F5344CB8AC3E}">
        <p14:creationId xmlns:p14="http://schemas.microsoft.com/office/powerpoint/2010/main" val="2368808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8</a:t>
            </a:fld>
            <a:endParaRPr lang="en-US" dirty="0"/>
          </a:p>
        </p:txBody>
      </p:sp>
    </p:spTree>
    <p:extLst>
      <p:ext uri="{BB962C8B-B14F-4D97-AF65-F5344CB8AC3E}">
        <p14:creationId xmlns:p14="http://schemas.microsoft.com/office/powerpoint/2010/main" val="3002650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2"/>
        <p:cNvGrpSpPr/>
        <p:nvPr/>
      </p:nvGrpSpPr>
      <p:grpSpPr>
        <a:xfrm>
          <a:off x="0" y="0"/>
          <a:ext cx="0" cy="0"/>
          <a:chOff x="0" y="0"/>
          <a:chExt cx="0" cy="0"/>
        </a:xfrm>
      </p:grpSpPr>
      <p:sp>
        <p:nvSpPr>
          <p:cNvPr id="933" name="Google Shape;933;ge96fd5876e_0_11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4" name="Google Shape;934;ge96fd5876e_0_1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5140950" y="1074150"/>
            <a:ext cx="3545700" cy="2488800"/>
          </a:xfrm>
          <a:prstGeom prst="rect">
            <a:avLst/>
          </a:prstGeom>
        </p:spPr>
        <p:txBody>
          <a:bodyPr spcFirstLastPara="1" wrap="square" lIns="91425" tIns="91425" rIns="91425" bIns="91425" anchor="t" anchorCtr="0">
            <a:normAutofit/>
          </a:bodyPr>
          <a:lstStyle>
            <a:lvl1pPr lvl="0" algn="r">
              <a:spcBef>
                <a:spcPts val="0"/>
              </a:spcBef>
              <a:spcAft>
                <a:spcPts val="0"/>
              </a:spcAft>
              <a:buSzPts val="5200"/>
              <a:buNone/>
              <a:defRPr sz="5000" b="0">
                <a:latin typeface="Fira Sans Extra Condensed SemiBold"/>
                <a:ea typeface="Fira Sans Extra Condensed SemiBold"/>
                <a:cs typeface="Fira Sans Extra Condensed SemiBold"/>
                <a:sym typeface="Fira Sans Extra Condensed SemiBold"/>
              </a:defRPr>
            </a:lvl1pPr>
            <a:lvl2pPr lvl="1">
              <a:spcBef>
                <a:spcPts val="0"/>
              </a:spcBef>
              <a:spcAft>
                <a:spcPts val="0"/>
              </a:spcAft>
              <a:buSzPts val="5200"/>
              <a:buNone/>
              <a:defRPr sz="5200"/>
            </a:lvl2pPr>
            <a:lvl3pPr lvl="2">
              <a:spcBef>
                <a:spcPts val="0"/>
              </a:spcBef>
              <a:spcAft>
                <a:spcPts val="0"/>
              </a:spcAft>
              <a:buSzPts val="5200"/>
              <a:buNone/>
              <a:defRPr sz="5200"/>
            </a:lvl3pPr>
            <a:lvl4pPr lvl="3">
              <a:spcBef>
                <a:spcPts val="0"/>
              </a:spcBef>
              <a:spcAft>
                <a:spcPts val="0"/>
              </a:spcAft>
              <a:buSzPts val="5200"/>
              <a:buNone/>
              <a:defRPr sz="5200"/>
            </a:lvl4pPr>
            <a:lvl5pPr lvl="4">
              <a:spcBef>
                <a:spcPts val="0"/>
              </a:spcBef>
              <a:spcAft>
                <a:spcPts val="0"/>
              </a:spcAft>
              <a:buSzPts val="5200"/>
              <a:buNone/>
              <a:defRPr sz="5200"/>
            </a:lvl5pPr>
            <a:lvl6pPr lvl="5">
              <a:spcBef>
                <a:spcPts val="0"/>
              </a:spcBef>
              <a:spcAft>
                <a:spcPts val="0"/>
              </a:spcAft>
              <a:buSzPts val="5200"/>
              <a:buNone/>
              <a:defRPr sz="5200"/>
            </a:lvl6pPr>
            <a:lvl7pPr lvl="6">
              <a:spcBef>
                <a:spcPts val="0"/>
              </a:spcBef>
              <a:spcAft>
                <a:spcPts val="0"/>
              </a:spcAft>
              <a:buSzPts val="5200"/>
              <a:buNone/>
              <a:defRPr sz="5200"/>
            </a:lvl7pPr>
            <a:lvl8pPr lvl="7">
              <a:spcBef>
                <a:spcPts val="0"/>
              </a:spcBef>
              <a:spcAft>
                <a:spcPts val="0"/>
              </a:spcAft>
              <a:buSzPts val="5200"/>
              <a:buNone/>
              <a:defRPr sz="5200"/>
            </a:lvl8pPr>
            <a:lvl9pPr lvl="8">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6105525" y="3562950"/>
            <a:ext cx="2581200" cy="711000"/>
          </a:xfrm>
          <a:prstGeom prst="rect">
            <a:avLst/>
          </a:prstGeom>
        </p:spPr>
        <p:txBody>
          <a:bodyPr spcFirstLastPara="1" wrap="square" lIns="91425" tIns="91425" rIns="91425" bIns="91425" anchor="t" anchorCtr="0">
            <a:normAutofit/>
          </a:bodyPr>
          <a:lstStyle>
            <a:lvl1pPr lvl="0" algn="r">
              <a:lnSpc>
                <a:spcPct val="100000"/>
              </a:lnSpc>
              <a:spcBef>
                <a:spcPts val="0"/>
              </a:spcBef>
              <a:spcAft>
                <a:spcPts val="0"/>
              </a:spcAft>
              <a:buSzPts val="2800"/>
              <a:buNone/>
              <a:defRPr sz="1800"/>
            </a:lvl1pPr>
            <a:lvl2pPr lvl="1">
              <a:lnSpc>
                <a:spcPct val="100000"/>
              </a:lnSpc>
              <a:spcBef>
                <a:spcPts val="0"/>
              </a:spcBef>
              <a:spcAft>
                <a:spcPts val="0"/>
              </a:spcAft>
              <a:buSzPts val="2800"/>
              <a:buNone/>
              <a:defRPr sz="2800"/>
            </a:lvl2pPr>
            <a:lvl3pPr lvl="2">
              <a:lnSpc>
                <a:spcPct val="100000"/>
              </a:lnSpc>
              <a:spcBef>
                <a:spcPts val="0"/>
              </a:spcBef>
              <a:spcAft>
                <a:spcPts val="0"/>
              </a:spcAft>
              <a:buSzPts val="2800"/>
              <a:buNone/>
              <a:defRPr sz="2800"/>
            </a:lvl3pPr>
            <a:lvl4pPr lvl="3">
              <a:lnSpc>
                <a:spcPct val="100000"/>
              </a:lnSpc>
              <a:spcBef>
                <a:spcPts val="0"/>
              </a:spcBef>
              <a:spcAft>
                <a:spcPts val="0"/>
              </a:spcAft>
              <a:buSzPts val="2800"/>
              <a:buNone/>
              <a:defRPr sz="2800"/>
            </a:lvl4pPr>
            <a:lvl5pPr lvl="4">
              <a:lnSpc>
                <a:spcPct val="100000"/>
              </a:lnSpc>
              <a:spcBef>
                <a:spcPts val="0"/>
              </a:spcBef>
              <a:spcAft>
                <a:spcPts val="0"/>
              </a:spcAft>
              <a:buSzPts val="2800"/>
              <a:buNone/>
              <a:defRPr sz="2800"/>
            </a:lvl5pPr>
            <a:lvl6pPr lvl="5">
              <a:lnSpc>
                <a:spcPct val="100000"/>
              </a:lnSpc>
              <a:spcBef>
                <a:spcPts val="0"/>
              </a:spcBef>
              <a:spcAft>
                <a:spcPts val="0"/>
              </a:spcAft>
              <a:buSzPts val="2800"/>
              <a:buNone/>
              <a:defRPr sz="2800"/>
            </a:lvl6pPr>
            <a:lvl7pPr lvl="6">
              <a:lnSpc>
                <a:spcPct val="100000"/>
              </a:lnSpc>
              <a:spcBef>
                <a:spcPts val="0"/>
              </a:spcBef>
              <a:spcAft>
                <a:spcPts val="0"/>
              </a:spcAft>
              <a:buSzPts val="2800"/>
              <a:buNone/>
              <a:defRPr sz="2800"/>
            </a:lvl7pPr>
            <a:lvl8pPr lvl="7">
              <a:lnSpc>
                <a:spcPct val="100000"/>
              </a:lnSpc>
              <a:spcBef>
                <a:spcPts val="0"/>
              </a:spcBef>
              <a:spcAft>
                <a:spcPts val="0"/>
              </a:spcAft>
              <a:buSzPts val="2800"/>
              <a:buNone/>
              <a:defRPr sz="2800"/>
            </a:lvl8pPr>
            <a:lvl9pPr lvl="8">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34"/>
        <p:cNvGrpSpPr/>
        <p:nvPr/>
      </p:nvGrpSpPr>
      <p:grpSpPr>
        <a:xfrm>
          <a:off x="0" y="0"/>
          <a:ext cx="0" cy="0"/>
          <a:chOff x="0" y="0"/>
          <a:chExt cx="0" cy="0"/>
        </a:xfrm>
      </p:grpSpPr>
      <p:sp>
        <p:nvSpPr>
          <p:cNvPr id="35" name="Google Shape;3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36" name="Google Shape;3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17500" algn="ctr">
              <a:spcBef>
                <a:spcPts val="0"/>
              </a:spcBef>
              <a:spcAft>
                <a:spcPts val="0"/>
              </a:spcAft>
              <a:buSzPts val="14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7"/>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dirty="0"/>
              <a:t>Click to edit Master title style</a:t>
            </a:r>
          </a:p>
        </p:txBody>
      </p:sp>
    </p:spTree>
    <p:extLst>
      <p:ext uri="{BB962C8B-B14F-4D97-AF65-F5344CB8AC3E}">
        <p14:creationId xmlns:p14="http://schemas.microsoft.com/office/powerpoint/2010/main" val="32997327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3917303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42168161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0"/>
        <p:cNvGrpSpPr/>
        <p:nvPr/>
      </p:nvGrpSpPr>
      <p:grpSpPr>
        <a:xfrm>
          <a:off x="0" y="0"/>
          <a:ext cx="0" cy="0"/>
          <a:chOff x="0" y="0"/>
          <a:chExt cx="0" cy="0"/>
        </a:xfrm>
      </p:grpSpPr>
      <p:sp>
        <p:nvSpPr>
          <p:cNvPr id="21" name="Google Shape;21;p6"/>
          <p:cNvSpPr txBox="1">
            <a:spLocks noGrp="1"/>
          </p:cNvSpPr>
          <p:nvPr>
            <p:ph type="title"/>
          </p:nvPr>
        </p:nvSpPr>
        <p:spPr>
          <a:xfrm>
            <a:off x="457200" y="411475"/>
            <a:ext cx="8229600" cy="371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1469271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4035657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17270935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2028346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8650" y="250982"/>
            <a:ext cx="7886700" cy="502970"/>
          </a:xfrm>
        </p:spPr>
        <p:txBody>
          <a:bodyPr>
            <a:normAutofit/>
          </a:bodyPr>
          <a:lstStyle>
            <a:lvl1pPr algn="ctr">
              <a:defRPr sz="3000"/>
            </a:lvl1pPr>
          </a:lstStyle>
          <a:p>
            <a:r>
              <a:rPr lang="en-US"/>
              <a:t>Click to edit Master title style</a:t>
            </a:r>
            <a:endParaRPr lang="en-US" dirty="0"/>
          </a:p>
        </p:txBody>
      </p:sp>
    </p:spTree>
    <p:extLst>
      <p:ext uri="{BB962C8B-B14F-4D97-AF65-F5344CB8AC3E}">
        <p14:creationId xmlns:p14="http://schemas.microsoft.com/office/powerpoint/2010/main" val="2118611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3"/>
        <p:cNvGrpSpPr/>
        <p:nvPr/>
      </p:nvGrpSpPr>
      <p:grpSpPr>
        <a:xfrm>
          <a:off x="0" y="0"/>
          <a:ext cx="0" cy="0"/>
          <a:chOff x="0" y="0"/>
          <a:chExt cx="0" cy="0"/>
        </a:xfrm>
      </p:grpSpPr>
      <p:sp>
        <p:nvSpPr>
          <p:cNvPr id="14" name="Google Shape;14;p4"/>
          <p:cNvSpPr txBox="1">
            <a:spLocks noGrp="1"/>
          </p:cNvSpPr>
          <p:nvPr>
            <p:ph type="title"/>
          </p:nvPr>
        </p:nvSpPr>
        <p:spPr>
          <a:xfrm>
            <a:off x="457200" y="411475"/>
            <a:ext cx="8229600" cy="371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2800"/>
              <a:buNone/>
              <a:defRPr b="1"/>
            </a:lvl1pPr>
            <a:lvl2pPr lvl="1">
              <a:spcBef>
                <a:spcPts val="0"/>
              </a:spcBef>
              <a:spcAft>
                <a:spcPts val="0"/>
              </a:spcAft>
              <a:buSzPts val="2800"/>
              <a:buNone/>
              <a:defRPr b="1"/>
            </a:lvl2pPr>
            <a:lvl3pPr lvl="2">
              <a:spcBef>
                <a:spcPts val="0"/>
              </a:spcBef>
              <a:spcAft>
                <a:spcPts val="0"/>
              </a:spcAft>
              <a:buSzPts val="2800"/>
              <a:buNone/>
              <a:defRPr b="1"/>
            </a:lvl3pPr>
            <a:lvl4pPr lvl="3">
              <a:spcBef>
                <a:spcPts val="0"/>
              </a:spcBef>
              <a:spcAft>
                <a:spcPts val="0"/>
              </a:spcAft>
              <a:buSzPts val="2800"/>
              <a:buNone/>
              <a:defRPr b="1"/>
            </a:lvl4pPr>
            <a:lvl5pPr lvl="4">
              <a:spcBef>
                <a:spcPts val="0"/>
              </a:spcBef>
              <a:spcAft>
                <a:spcPts val="0"/>
              </a:spcAft>
              <a:buSzPts val="2800"/>
              <a:buNone/>
              <a:defRPr b="1"/>
            </a:lvl5pPr>
            <a:lvl6pPr lvl="5">
              <a:spcBef>
                <a:spcPts val="0"/>
              </a:spcBef>
              <a:spcAft>
                <a:spcPts val="0"/>
              </a:spcAft>
              <a:buSzPts val="2800"/>
              <a:buNone/>
              <a:defRPr b="1"/>
            </a:lvl6pPr>
            <a:lvl7pPr lvl="6">
              <a:spcBef>
                <a:spcPts val="0"/>
              </a:spcBef>
              <a:spcAft>
                <a:spcPts val="0"/>
              </a:spcAft>
              <a:buSzPts val="2800"/>
              <a:buNone/>
              <a:defRPr b="1"/>
            </a:lvl7pPr>
            <a:lvl8pPr lvl="7">
              <a:spcBef>
                <a:spcPts val="0"/>
              </a:spcBef>
              <a:spcAft>
                <a:spcPts val="0"/>
              </a:spcAft>
              <a:buSzPts val="2800"/>
              <a:buNone/>
              <a:defRPr b="1"/>
            </a:lvl8pPr>
            <a:lvl9pPr lvl="8">
              <a:spcBef>
                <a:spcPts val="0"/>
              </a:spcBef>
              <a:spcAft>
                <a:spcPts val="0"/>
              </a:spcAft>
              <a:buSzPts val="2800"/>
              <a:buNone/>
              <a:defRPr b="1"/>
            </a:lvl9pPr>
          </a:lstStyle>
          <a:p>
            <a:endParaRPr/>
          </a:p>
        </p:txBody>
      </p:sp>
      <p:sp>
        <p:nvSpPr>
          <p:cNvPr id="15" name="Google Shape;15;p4"/>
          <p:cNvSpPr txBox="1">
            <a:spLocks noGrp="1"/>
          </p:cNvSpPr>
          <p:nvPr>
            <p:ph type="body" idx="1"/>
          </p:nvPr>
        </p:nvSpPr>
        <p:spPr>
          <a:xfrm>
            <a:off x="457200" y="1247950"/>
            <a:ext cx="8229600" cy="30291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6"/>
        <p:cNvGrpSpPr/>
        <p:nvPr/>
      </p:nvGrpSpPr>
      <p:grpSpPr>
        <a:xfrm>
          <a:off x="0" y="0"/>
          <a:ext cx="0" cy="0"/>
          <a:chOff x="0" y="0"/>
          <a:chExt cx="0" cy="0"/>
        </a:xfrm>
      </p:grpSpPr>
      <p:sp>
        <p:nvSpPr>
          <p:cNvPr id="17" name="Google Shape;17;p5"/>
          <p:cNvSpPr txBox="1">
            <a:spLocks noGrp="1"/>
          </p:cNvSpPr>
          <p:nvPr>
            <p:ph type="title"/>
          </p:nvPr>
        </p:nvSpPr>
        <p:spPr>
          <a:xfrm>
            <a:off x="457200" y="411475"/>
            <a:ext cx="8229600" cy="371400"/>
          </a:xfrm>
          <a:prstGeom prst="rect">
            <a:avLst/>
          </a:prstGeom>
        </p:spPr>
        <p:txBody>
          <a:bodyPr spcFirstLastPara="1" wrap="square" lIns="91425" tIns="91425" rIns="91425" bIns="91425" anchor="ctr"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19" name="Google Shape;19;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0"/>
        <p:cNvGrpSpPr/>
        <p:nvPr/>
      </p:nvGrpSpPr>
      <p:grpSpPr>
        <a:xfrm>
          <a:off x="0" y="0"/>
          <a:ext cx="0" cy="0"/>
          <a:chOff x="0" y="0"/>
          <a:chExt cx="0" cy="0"/>
        </a:xfrm>
      </p:grpSpPr>
      <p:sp>
        <p:nvSpPr>
          <p:cNvPr id="21" name="Google Shape;21;p6"/>
          <p:cNvSpPr txBox="1">
            <a:spLocks noGrp="1"/>
          </p:cNvSpPr>
          <p:nvPr>
            <p:ph type="title"/>
          </p:nvPr>
        </p:nvSpPr>
        <p:spPr>
          <a:xfrm>
            <a:off x="457200" y="411475"/>
            <a:ext cx="8229600" cy="371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2"/>
        <p:cNvGrpSpPr/>
        <p:nvPr/>
      </p:nvGrpSpPr>
      <p:grpSpPr>
        <a:xfrm>
          <a:off x="0" y="0"/>
          <a:ext cx="0" cy="0"/>
          <a:chOff x="0" y="0"/>
          <a:chExt cx="0" cy="0"/>
        </a:xfrm>
      </p:grpSpPr>
      <p:sp>
        <p:nvSpPr>
          <p:cNvPr id="23" name="Google Shape;23;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24" name="Google Shape;24;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5"/>
        <p:cNvGrpSpPr/>
        <p:nvPr/>
      </p:nvGrpSpPr>
      <p:grpSpPr>
        <a:xfrm>
          <a:off x="0" y="0"/>
          <a:ext cx="0" cy="0"/>
          <a:chOff x="0" y="0"/>
          <a:chExt cx="0" cy="0"/>
        </a:xfrm>
      </p:grpSpPr>
      <p:sp>
        <p:nvSpPr>
          <p:cNvPr id="26" name="Google Shape;26;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27"/>
        <p:cNvGrpSpPr/>
        <p:nvPr/>
      </p:nvGrpSpPr>
      <p:grpSpPr>
        <a:xfrm>
          <a:off x="0" y="0"/>
          <a:ext cx="0" cy="0"/>
          <a:chOff x="0" y="0"/>
          <a:chExt cx="0" cy="0"/>
        </a:xfrm>
      </p:grpSpPr>
      <p:sp>
        <p:nvSpPr>
          <p:cNvPr id="28" name="Google Shape;28;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0" name="Google Shape;30;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1" name="Google Shape;31;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17500">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32"/>
        <p:cNvGrpSpPr/>
        <p:nvPr/>
      </p:nvGrpSpPr>
      <p:grpSpPr>
        <a:xfrm>
          <a:off x="0" y="0"/>
          <a:ext cx="0" cy="0"/>
          <a:chOff x="0" y="0"/>
          <a:chExt cx="0" cy="0"/>
        </a:xfrm>
      </p:grpSpPr>
      <p:sp>
        <p:nvSpPr>
          <p:cNvPr id="33" name="Google Shape;33;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400"/>
              <a:buNone/>
              <a:defRPr/>
            </a:lvl1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7.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8.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11475"/>
            <a:ext cx="8229600" cy="371400"/>
          </a:xfrm>
          <a:prstGeom prst="rect">
            <a:avLst/>
          </a:prstGeom>
          <a:noFill/>
          <a:ln>
            <a:noFill/>
          </a:ln>
        </p:spPr>
        <p:txBody>
          <a:bodyPr spcFirstLastPara="1" wrap="square" lIns="91425" tIns="91425" rIns="91425" bIns="91425" anchor="ctr" anchorCtr="0">
            <a:normAutofit/>
          </a:bodyPr>
          <a:lstStyle>
            <a:lvl1pPr lvl="0"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1pPr>
            <a:lvl2pPr lvl="1"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2pPr>
            <a:lvl3pPr lvl="2"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3pPr>
            <a:lvl4pPr lvl="3"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4pPr>
            <a:lvl5pPr lvl="4"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5pPr>
            <a:lvl6pPr lvl="5"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6pPr>
            <a:lvl7pPr lvl="6"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7pPr>
            <a:lvl8pPr lvl="7"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8pPr>
            <a:lvl9pPr lvl="8" rtl="0">
              <a:spcBef>
                <a:spcPts val="0"/>
              </a:spcBef>
              <a:spcAft>
                <a:spcPts val="0"/>
              </a:spcAft>
              <a:buClr>
                <a:schemeClr val="dk1"/>
              </a:buClr>
              <a:buSzPts val="2800"/>
              <a:buFont typeface="Fira Sans Extra Condensed"/>
              <a:buNone/>
              <a:defRPr sz="2800" b="1">
                <a:solidFill>
                  <a:schemeClr val="dk1"/>
                </a:solidFill>
                <a:latin typeface="Fira Sans Extra Condensed"/>
                <a:ea typeface="Fira Sans Extra Condensed"/>
                <a:cs typeface="Fira Sans Extra Condensed"/>
                <a:sym typeface="Fira Sans Extra Condensed"/>
              </a:defRPr>
            </a:lvl9pPr>
          </a:lstStyle>
          <a:p>
            <a:endParaRPr/>
          </a:p>
        </p:txBody>
      </p:sp>
      <p:sp>
        <p:nvSpPr>
          <p:cNvPr id="7" name="Google Shape;7;p1"/>
          <p:cNvSpPr txBox="1">
            <a:spLocks noGrp="1"/>
          </p:cNvSpPr>
          <p:nvPr>
            <p:ph type="body" idx="1"/>
          </p:nvPr>
        </p:nvSpPr>
        <p:spPr>
          <a:xfrm>
            <a:off x="457200" y="1152475"/>
            <a:ext cx="8229600" cy="3579600"/>
          </a:xfrm>
          <a:prstGeom prst="rect">
            <a:avLst/>
          </a:prstGeom>
          <a:noFill/>
          <a:ln>
            <a:noFill/>
          </a:ln>
        </p:spPr>
        <p:txBody>
          <a:bodyPr spcFirstLastPara="1" wrap="square" lIns="91425" tIns="91425" rIns="91425" bIns="91425" anchor="t" anchorCtr="0">
            <a:normAutofit/>
          </a:bodyPr>
          <a:lstStyle>
            <a:lvl1pPr marL="457200" lvl="0"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1pPr>
            <a:lvl2pPr marL="914400" lvl="1"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2pPr>
            <a:lvl3pPr marL="1371600" lvl="2"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3pPr>
            <a:lvl4pPr marL="1828800" lvl="3"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4pPr>
            <a:lvl5pPr marL="2286000" lvl="4"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5pPr>
            <a:lvl6pPr marL="2743200" lvl="5"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6pPr>
            <a:lvl7pPr marL="3200400" lvl="6"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7pPr>
            <a:lvl8pPr marL="3657600" lvl="7"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8pPr>
            <a:lvl9pPr marL="4114800" lvl="8" indent="-317500">
              <a:lnSpc>
                <a:spcPct val="100000"/>
              </a:lnSpc>
              <a:spcBef>
                <a:spcPts val="0"/>
              </a:spcBef>
              <a:spcAft>
                <a:spcPts val="0"/>
              </a:spcAft>
              <a:buClr>
                <a:schemeClr val="dk1"/>
              </a:buClr>
              <a:buSzPts val="1400"/>
              <a:buFont typeface="Roboto"/>
              <a:buChar char="■"/>
              <a:defRPr>
                <a:solidFill>
                  <a:schemeClr val="dk1"/>
                </a:solidFill>
                <a:latin typeface="Roboto"/>
                <a:ea typeface="Roboto"/>
                <a:cs typeface="Roboto"/>
                <a:sym typeface="Robot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62"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4156211050"/>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1914120695"/>
      </p:ext>
    </p:extLst>
  </p:cSld>
  <p:clrMap bg1="lt1" tx1="dk1" bg2="lt2" tx2="dk2" accent1="accent1" accent2="accent2" accent3="accent3" accent4="accent4" accent5="accent5" accent6="accent6" hlink="hlink" folHlink="folHlink"/>
  <p:sldLayoutIdLst>
    <p:sldLayoutId id="2147483666" r:id="rId1"/>
    <p:sldLayoutId id="2147483669" r:id="rId2"/>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2706310060"/>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2284994756"/>
      </p:ext>
    </p:extLst>
  </p:cSld>
  <p:clrMap bg1="lt1" tx1="dk1" bg2="lt2" tx2="dk2" accent1="accent1" accent2="accent2" accent3="accent3" accent4="accent4" accent5="accent5" accent6="accent6" hlink="hlink" folHlink="folHlink"/>
  <p:sldLayoutIdLst>
    <p:sldLayoutId id="2147483671" r:id="rId1"/>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2146220577"/>
      </p:ext>
    </p:extLst>
  </p:cSld>
  <p:clrMap bg1="lt1" tx1="dk1" bg2="lt2" tx2="dk2" accent1="accent1" accent2="accent2" accent3="accent3" accent4="accent4" accent5="accent5" accent6="accent6" hlink="hlink" folHlink="folHlink"/>
  <p:sldLayoutIdLst>
    <p:sldLayoutId id="2147483673" r:id="rId1"/>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99823B-FAC9-9D8C-6EB0-748E60BAA96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819ECE-8182-1931-8428-E16E9461B3E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65FB19-392A-6F9B-C13A-DB96E7F084E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5CEF699-EADE-428A-8C4A-E65730BA3BDD}" type="datetimeFigureOut">
              <a:rPr lang="en-US" smtClean="0"/>
              <a:t>1/10/2025</a:t>
            </a:fld>
            <a:endParaRPr lang="en-US"/>
          </a:p>
        </p:txBody>
      </p:sp>
      <p:sp>
        <p:nvSpPr>
          <p:cNvPr id="5" name="Footer Placeholder 4">
            <a:extLst>
              <a:ext uri="{FF2B5EF4-FFF2-40B4-BE49-F238E27FC236}">
                <a16:creationId xmlns:a16="http://schemas.microsoft.com/office/drawing/2014/main" id="{5CC1F13A-A192-24F8-F0DE-661AC40113C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8A14D0-DA39-D517-A0A3-9ECE7F8B79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15DC99D2-B99A-4FDF-853B-65F7D6C09532}" type="slidenum">
              <a:rPr lang="en-US" smtClean="0"/>
              <a:t>‹#›</a:t>
            </a:fld>
            <a:endParaRPr lang="en-US"/>
          </a:p>
        </p:txBody>
      </p:sp>
    </p:spTree>
    <p:extLst>
      <p:ext uri="{BB962C8B-B14F-4D97-AF65-F5344CB8AC3E}">
        <p14:creationId xmlns:p14="http://schemas.microsoft.com/office/powerpoint/2010/main" val="3006117204"/>
      </p:ext>
    </p:extLst>
  </p:cSld>
  <p:clrMap bg1="lt1" tx1="dk1" bg2="lt2" tx2="dk2" accent1="accent1" accent2="accent2" accent3="accent3" accent4="accent4" accent5="accent5" accent6="accent6" hlink="hlink" folHlink="folHlink"/>
  <p:sldLayoutIdLst>
    <p:sldLayoutId id="2147483675" r:id="rId1"/>
  </p:sldLayoutIdLst>
  <p:hf sldNum="0" hdr="0" ftr="0" dt="0"/>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52.xml"/><Relationship Id="rId5" Type="http://schemas.openxmlformats.org/officeDocument/2006/relationships/image" Target="../media/image4.png"/><Relationship Id="rId4" Type="http://schemas.openxmlformats.org/officeDocument/2006/relationships/hyperlink" Target="https://docs.google.com/spreadsheets/d/19FeIRuXJx9UT93clUlzz1NoXdboyWKnovnHMDtdCS48/copy#gid=481487198"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53.xml"/><Relationship Id="rId4" Type="http://schemas.openxmlformats.org/officeDocument/2006/relationships/image" Target="../media/image5.avi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6.emf"/><Relationship Id="rId5" Type="http://schemas.openxmlformats.org/officeDocument/2006/relationships/notesSlide" Target="../notesSlides/notesSlide15.xml"/><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notesSlide" Target="../notesSlides/notesSlide20.xml"/><Relationship Id="rId5" Type="http://schemas.openxmlformats.org/officeDocument/2006/relationships/slideLayout" Target="../slideLayouts/slideLayout14.xml"/><Relationship Id="rId4" Type="http://schemas.openxmlformats.org/officeDocument/2006/relationships/tags" Target="../tags/tag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65.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3.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notesSlide" Target="../notesSlides/notesSlide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slideLayout" Target="../slideLayouts/slideLayout18.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tags" Target="../tags/tag51.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https://registry.opendata.aws/cse-cic-ids2018/"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5"/>
        <p:cNvGrpSpPr/>
        <p:nvPr/>
      </p:nvGrpSpPr>
      <p:grpSpPr>
        <a:xfrm>
          <a:off x="0" y="0"/>
          <a:ext cx="0" cy="0"/>
          <a:chOff x="0" y="0"/>
          <a:chExt cx="0" cy="0"/>
        </a:xfrm>
      </p:grpSpPr>
      <p:sp>
        <p:nvSpPr>
          <p:cNvPr id="46" name="Google Shape;46;p15"/>
          <p:cNvSpPr txBox="1">
            <a:spLocks noGrp="1"/>
          </p:cNvSpPr>
          <p:nvPr>
            <p:ph type="ctrTitle"/>
          </p:nvPr>
        </p:nvSpPr>
        <p:spPr>
          <a:xfrm>
            <a:off x="4699903" y="794481"/>
            <a:ext cx="4426542" cy="1050015"/>
          </a:xfrm>
          <a:prstGeom prst="rect">
            <a:avLst/>
          </a:prstGeom>
        </p:spPr>
        <p:txBody>
          <a:bodyPr spcFirstLastPara="1" wrap="square" lIns="91425" tIns="91425" rIns="91425" bIns="91425" anchor="t" anchorCtr="0">
            <a:noAutofit/>
          </a:bodyPr>
          <a:lstStyle/>
          <a:p>
            <a:pPr algn="ctr">
              <a:lnSpc>
                <a:spcPct val="120000"/>
              </a:lnSpc>
            </a:pPr>
            <a:r>
              <a:rPr lang="en-US" sz="3200" b="1">
                <a:solidFill>
                  <a:schemeClr val="accent5"/>
                </a:solidFill>
                <a:effectLst/>
                <a:latin typeface="Anton" pitchFamily="2" charset="0"/>
                <a:ea typeface="Calibri" panose="020F0502020204030204" pitchFamily="34" charset="0"/>
                <a:cs typeface="Calibri" panose="020F0502020204030204" pitchFamily="34" charset="0"/>
              </a:rPr>
              <a:t>PHÁT HIỆN TẤN CÔNG </a:t>
            </a:r>
            <a:br>
              <a:rPr lang="en-US" sz="3200" b="1">
                <a:solidFill>
                  <a:schemeClr val="accent5"/>
                </a:solidFill>
                <a:effectLst/>
                <a:latin typeface="Anton" pitchFamily="2" charset="0"/>
                <a:ea typeface="Calibri" panose="020F0502020204030204" pitchFamily="34" charset="0"/>
                <a:cs typeface="Calibri" panose="020F0502020204030204" pitchFamily="34" charset="0"/>
              </a:rPr>
            </a:br>
            <a:r>
              <a:rPr lang="en-US" sz="3200" b="1">
                <a:solidFill>
                  <a:schemeClr val="accent5"/>
                </a:solidFill>
                <a:effectLst/>
                <a:latin typeface="Anton" pitchFamily="2" charset="0"/>
                <a:ea typeface="Calibri" panose="020F0502020204030204" pitchFamily="34" charset="0"/>
                <a:cs typeface="Calibri" panose="020F0502020204030204" pitchFamily="34" charset="0"/>
              </a:rPr>
              <a:t>BRUTE-FORCE BẰNG HỌC MÁY</a:t>
            </a:r>
            <a:endParaRPr lang="en-US" sz="3200">
              <a:solidFill>
                <a:schemeClr val="accent5"/>
              </a:solidFill>
              <a:effectLst/>
              <a:latin typeface="Anton" pitchFamily="2" charset="0"/>
              <a:ea typeface="Calibri" panose="020F0502020204030204" pitchFamily="34" charset="0"/>
              <a:cs typeface="Calibri" panose="020F0502020204030204" pitchFamily="34" charset="0"/>
            </a:endParaRPr>
          </a:p>
        </p:txBody>
      </p:sp>
      <p:sp>
        <p:nvSpPr>
          <p:cNvPr id="47" name="Google Shape;47;p15"/>
          <p:cNvSpPr txBox="1">
            <a:spLocks noGrp="1"/>
          </p:cNvSpPr>
          <p:nvPr>
            <p:ph type="subTitle" idx="1"/>
          </p:nvPr>
        </p:nvSpPr>
        <p:spPr>
          <a:xfrm>
            <a:off x="5249299" y="2541655"/>
            <a:ext cx="3876437" cy="711000"/>
          </a:xfrm>
          <a:prstGeom prst="rect">
            <a:avLst/>
          </a:prstGeom>
        </p:spPr>
        <p:txBody>
          <a:bodyPr spcFirstLastPara="1" wrap="square" lIns="91425" tIns="91425" rIns="91425" bIns="91425" anchor="t" anchorCtr="0">
            <a:noAutofit/>
          </a:bodyPr>
          <a:lstStyle/>
          <a:p>
            <a:pPr algn="l">
              <a:lnSpc>
                <a:spcPct val="120000"/>
              </a:lnSpc>
              <a:spcBef>
                <a:spcPct val="0"/>
              </a:spcBef>
            </a:pPr>
            <a:r>
              <a:rPr lang="en-US" sz="1800" b="1">
                <a:solidFill>
                  <a:schemeClr val="tx1"/>
                </a:solidFill>
                <a:latin typeface="Barlow" panose="00000500000000000000" pitchFamily="2" charset="0"/>
                <a:ea typeface="Poppins Medium"/>
                <a:cs typeface="Poppins Medium"/>
                <a:sym typeface="Poppins Medium"/>
              </a:rPr>
              <a:t>Nhóm thực hiện:</a:t>
            </a:r>
          </a:p>
          <a:p>
            <a:pPr algn="l">
              <a:lnSpc>
                <a:spcPct val="120000"/>
              </a:lnSpc>
              <a:spcBef>
                <a:spcPct val="0"/>
              </a:spcBef>
            </a:pPr>
            <a:r>
              <a:rPr lang="en-US" sz="1800" b="1">
                <a:solidFill>
                  <a:schemeClr val="tx1"/>
                </a:solidFill>
                <a:latin typeface="Barlow" panose="00000500000000000000" pitchFamily="2" charset="0"/>
                <a:ea typeface="Poppins Medium"/>
                <a:cs typeface="Poppins Medium"/>
                <a:sym typeface="Poppins Medium"/>
              </a:rPr>
              <a:t>CHAT3P02 - Tăng Quốc Cường</a:t>
            </a:r>
          </a:p>
          <a:p>
            <a:pPr algn="l">
              <a:lnSpc>
                <a:spcPct val="120000"/>
              </a:lnSpc>
              <a:spcBef>
                <a:spcPct val="0"/>
              </a:spcBef>
            </a:pPr>
            <a:r>
              <a:rPr lang="en-US" sz="1800" b="1">
                <a:solidFill>
                  <a:schemeClr val="tx1"/>
                </a:solidFill>
                <a:latin typeface="Barlow" panose="00000500000000000000" pitchFamily="2" charset="0"/>
                <a:ea typeface="Poppins Medium"/>
                <a:cs typeface="Poppins Medium"/>
                <a:sym typeface="Poppins Medium"/>
              </a:rPr>
              <a:t>CHAT3P03 - Nguyễn Văn Tiến Dũng</a:t>
            </a:r>
          </a:p>
          <a:p>
            <a:pPr algn="l">
              <a:lnSpc>
                <a:spcPct val="120000"/>
              </a:lnSpc>
              <a:spcBef>
                <a:spcPct val="0"/>
              </a:spcBef>
            </a:pPr>
            <a:r>
              <a:rPr lang="en-US" sz="1800" b="1">
                <a:solidFill>
                  <a:schemeClr val="tx1"/>
                </a:solidFill>
                <a:latin typeface="Barlow" panose="00000500000000000000" pitchFamily="2" charset="0"/>
                <a:ea typeface="Poppins Medium"/>
                <a:cs typeface="Poppins Medium"/>
                <a:sym typeface="Poppins Medium"/>
              </a:rPr>
              <a:t>CHAT3P16 - Nguyễn Duy Tùng </a:t>
            </a:r>
          </a:p>
        </p:txBody>
      </p:sp>
      <p:grpSp>
        <p:nvGrpSpPr>
          <p:cNvPr id="48" name="Google Shape;48;p15"/>
          <p:cNvGrpSpPr/>
          <p:nvPr/>
        </p:nvGrpSpPr>
        <p:grpSpPr>
          <a:xfrm>
            <a:off x="186383" y="409873"/>
            <a:ext cx="4385617" cy="4733627"/>
            <a:chOff x="457194" y="411475"/>
            <a:chExt cx="4385617" cy="4733627"/>
          </a:xfrm>
        </p:grpSpPr>
        <p:sp>
          <p:nvSpPr>
            <p:cNvPr id="49" name="Google Shape;49;p15"/>
            <p:cNvSpPr/>
            <p:nvPr/>
          </p:nvSpPr>
          <p:spPr>
            <a:xfrm>
              <a:off x="489688" y="411475"/>
              <a:ext cx="4320600" cy="4320600"/>
            </a:xfrm>
            <a:prstGeom prst="ellipse">
              <a:avLst/>
            </a:pr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0" name="Google Shape;50;p15"/>
            <p:cNvGrpSpPr/>
            <p:nvPr/>
          </p:nvGrpSpPr>
          <p:grpSpPr>
            <a:xfrm>
              <a:off x="457194" y="824705"/>
              <a:ext cx="4385617" cy="4320397"/>
              <a:chOff x="457209" y="411470"/>
              <a:chExt cx="4385617" cy="4320397"/>
            </a:xfrm>
          </p:grpSpPr>
          <p:sp>
            <p:nvSpPr>
              <p:cNvPr id="51" name="Google Shape;51;p15"/>
              <p:cNvSpPr/>
              <p:nvPr/>
            </p:nvSpPr>
            <p:spPr>
              <a:xfrm>
                <a:off x="3130216" y="1066327"/>
                <a:ext cx="1060482" cy="580506"/>
              </a:xfrm>
              <a:custGeom>
                <a:avLst/>
                <a:gdLst/>
                <a:ahLst/>
                <a:cxnLst/>
                <a:rect l="l" t="t" r="r" b="b"/>
                <a:pathLst>
                  <a:path w="51436" h="28156" extrusionOk="0">
                    <a:moveTo>
                      <a:pt x="24126" y="0"/>
                    </a:moveTo>
                    <a:lnTo>
                      <a:pt x="23529" y="25"/>
                    </a:lnTo>
                    <a:lnTo>
                      <a:pt x="22932" y="50"/>
                    </a:lnTo>
                    <a:lnTo>
                      <a:pt x="22360" y="124"/>
                    </a:lnTo>
                    <a:lnTo>
                      <a:pt x="21788" y="199"/>
                    </a:lnTo>
                    <a:lnTo>
                      <a:pt x="21216" y="299"/>
                    </a:lnTo>
                    <a:lnTo>
                      <a:pt x="20644" y="448"/>
                    </a:lnTo>
                    <a:lnTo>
                      <a:pt x="20097" y="597"/>
                    </a:lnTo>
                    <a:lnTo>
                      <a:pt x="19575" y="771"/>
                    </a:lnTo>
                    <a:lnTo>
                      <a:pt x="19027" y="945"/>
                    </a:lnTo>
                    <a:lnTo>
                      <a:pt x="18505" y="1169"/>
                    </a:lnTo>
                    <a:lnTo>
                      <a:pt x="18008" y="1393"/>
                    </a:lnTo>
                    <a:lnTo>
                      <a:pt x="17510" y="1667"/>
                    </a:lnTo>
                    <a:lnTo>
                      <a:pt x="17013" y="1940"/>
                    </a:lnTo>
                    <a:lnTo>
                      <a:pt x="16540" y="2214"/>
                    </a:lnTo>
                    <a:lnTo>
                      <a:pt x="16068" y="2537"/>
                    </a:lnTo>
                    <a:lnTo>
                      <a:pt x="15620" y="2860"/>
                    </a:lnTo>
                    <a:lnTo>
                      <a:pt x="15197" y="3209"/>
                    </a:lnTo>
                    <a:lnTo>
                      <a:pt x="14774" y="3557"/>
                    </a:lnTo>
                    <a:lnTo>
                      <a:pt x="14351" y="3955"/>
                    </a:lnTo>
                    <a:lnTo>
                      <a:pt x="13978" y="4328"/>
                    </a:lnTo>
                    <a:lnTo>
                      <a:pt x="13605" y="4751"/>
                    </a:lnTo>
                    <a:lnTo>
                      <a:pt x="13232" y="5174"/>
                    </a:lnTo>
                    <a:lnTo>
                      <a:pt x="12884" y="5596"/>
                    </a:lnTo>
                    <a:lnTo>
                      <a:pt x="12561" y="6044"/>
                    </a:lnTo>
                    <a:lnTo>
                      <a:pt x="12262" y="6517"/>
                    </a:lnTo>
                    <a:lnTo>
                      <a:pt x="11964" y="6989"/>
                    </a:lnTo>
                    <a:lnTo>
                      <a:pt x="11690" y="7487"/>
                    </a:lnTo>
                    <a:lnTo>
                      <a:pt x="11441" y="7984"/>
                    </a:lnTo>
                    <a:lnTo>
                      <a:pt x="11217" y="8482"/>
                    </a:lnTo>
                    <a:lnTo>
                      <a:pt x="10994" y="9004"/>
                    </a:lnTo>
                    <a:lnTo>
                      <a:pt x="10795" y="9551"/>
                    </a:lnTo>
                    <a:lnTo>
                      <a:pt x="10621" y="10073"/>
                    </a:lnTo>
                    <a:lnTo>
                      <a:pt x="9874" y="9974"/>
                    </a:lnTo>
                    <a:lnTo>
                      <a:pt x="9476" y="9949"/>
                    </a:lnTo>
                    <a:lnTo>
                      <a:pt x="8631" y="9949"/>
                    </a:lnTo>
                    <a:lnTo>
                      <a:pt x="8158" y="9999"/>
                    </a:lnTo>
                    <a:lnTo>
                      <a:pt x="7710" y="10049"/>
                    </a:lnTo>
                    <a:lnTo>
                      <a:pt x="7263" y="10123"/>
                    </a:lnTo>
                    <a:lnTo>
                      <a:pt x="6815" y="10223"/>
                    </a:lnTo>
                    <a:lnTo>
                      <a:pt x="6392" y="10347"/>
                    </a:lnTo>
                    <a:lnTo>
                      <a:pt x="5969" y="10496"/>
                    </a:lnTo>
                    <a:lnTo>
                      <a:pt x="5547" y="10670"/>
                    </a:lnTo>
                    <a:lnTo>
                      <a:pt x="5149" y="10844"/>
                    </a:lnTo>
                    <a:lnTo>
                      <a:pt x="4751" y="11043"/>
                    </a:lnTo>
                    <a:lnTo>
                      <a:pt x="4378" y="11267"/>
                    </a:lnTo>
                    <a:lnTo>
                      <a:pt x="4005" y="11491"/>
                    </a:lnTo>
                    <a:lnTo>
                      <a:pt x="3656" y="11765"/>
                    </a:lnTo>
                    <a:lnTo>
                      <a:pt x="3308" y="12038"/>
                    </a:lnTo>
                    <a:lnTo>
                      <a:pt x="2985" y="12312"/>
                    </a:lnTo>
                    <a:lnTo>
                      <a:pt x="2661" y="12610"/>
                    </a:lnTo>
                    <a:lnTo>
                      <a:pt x="2363" y="12934"/>
                    </a:lnTo>
                    <a:lnTo>
                      <a:pt x="2064" y="13257"/>
                    </a:lnTo>
                    <a:lnTo>
                      <a:pt x="1791" y="13605"/>
                    </a:lnTo>
                    <a:lnTo>
                      <a:pt x="1542" y="13954"/>
                    </a:lnTo>
                    <a:lnTo>
                      <a:pt x="1318" y="14327"/>
                    </a:lnTo>
                    <a:lnTo>
                      <a:pt x="1094" y="14700"/>
                    </a:lnTo>
                    <a:lnTo>
                      <a:pt x="895" y="15098"/>
                    </a:lnTo>
                    <a:lnTo>
                      <a:pt x="697" y="15496"/>
                    </a:lnTo>
                    <a:lnTo>
                      <a:pt x="547" y="15918"/>
                    </a:lnTo>
                    <a:lnTo>
                      <a:pt x="398" y="16341"/>
                    </a:lnTo>
                    <a:lnTo>
                      <a:pt x="274" y="16764"/>
                    </a:lnTo>
                    <a:lnTo>
                      <a:pt x="174" y="17212"/>
                    </a:lnTo>
                    <a:lnTo>
                      <a:pt x="100" y="17660"/>
                    </a:lnTo>
                    <a:lnTo>
                      <a:pt x="50" y="18132"/>
                    </a:lnTo>
                    <a:lnTo>
                      <a:pt x="0" y="18580"/>
                    </a:lnTo>
                    <a:lnTo>
                      <a:pt x="0" y="19052"/>
                    </a:lnTo>
                    <a:lnTo>
                      <a:pt x="0" y="19525"/>
                    </a:lnTo>
                    <a:lnTo>
                      <a:pt x="50" y="19973"/>
                    </a:lnTo>
                    <a:lnTo>
                      <a:pt x="100" y="20445"/>
                    </a:lnTo>
                    <a:lnTo>
                      <a:pt x="174" y="20893"/>
                    </a:lnTo>
                    <a:lnTo>
                      <a:pt x="274" y="21316"/>
                    </a:lnTo>
                    <a:lnTo>
                      <a:pt x="398" y="21763"/>
                    </a:lnTo>
                    <a:lnTo>
                      <a:pt x="547" y="22186"/>
                    </a:lnTo>
                    <a:lnTo>
                      <a:pt x="697" y="22584"/>
                    </a:lnTo>
                    <a:lnTo>
                      <a:pt x="895" y="23007"/>
                    </a:lnTo>
                    <a:lnTo>
                      <a:pt x="1094" y="23380"/>
                    </a:lnTo>
                    <a:lnTo>
                      <a:pt x="1318" y="23778"/>
                    </a:lnTo>
                    <a:lnTo>
                      <a:pt x="1542" y="24151"/>
                    </a:lnTo>
                    <a:lnTo>
                      <a:pt x="1791" y="24499"/>
                    </a:lnTo>
                    <a:lnTo>
                      <a:pt x="2064" y="24848"/>
                    </a:lnTo>
                    <a:lnTo>
                      <a:pt x="2363" y="25171"/>
                    </a:lnTo>
                    <a:lnTo>
                      <a:pt x="2661" y="25494"/>
                    </a:lnTo>
                    <a:lnTo>
                      <a:pt x="2985" y="25793"/>
                    </a:lnTo>
                    <a:lnTo>
                      <a:pt x="3308" y="26066"/>
                    </a:lnTo>
                    <a:lnTo>
                      <a:pt x="3656" y="26340"/>
                    </a:lnTo>
                    <a:lnTo>
                      <a:pt x="4005" y="26614"/>
                    </a:lnTo>
                    <a:lnTo>
                      <a:pt x="4378" y="26837"/>
                    </a:lnTo>
                    <a:lnTo>
                      <a:pt x="4751" y="27061"/>
                    </a:lnTo>
                    <a:lnTo>
                      <a:pt x="5149" y="27260"/>
                    </a:lnTo>
                    <a:lnTo>
                      <a:pt x="5547" y="27434"/>
                    </a:lnTo>
                    <a:lnTo>
                      <a:pt x="5969" y="27608"/>
                    </a:lnTo>
                    <a:lnTo>
                      <a:pt x="6392" y="27758"/>
                    </a:lnTo>
                    <a:lnTo>
                      <a:pt x="6815" y="27882"/>
                    </a:lnTo>
                    <a:lnTo>
                      <a:pt x="7263" y="27982"/>
                    </a:lnTo>
                    <a:lnTo>
                      <a:pt x="7710" y="28056"/>
                    </a:lnTo>
                    <a:lnTo>
                      <a:pt x="8158" y="28106"/>
                    </a:lnTo>
                    <a:lnTo>
                      <a:pt x="8631" y="28156"/>
                    </a:lnTo>
                    <a:lnTo>
                      <a:pt x="40492" y="28156"/>
                    </a:lnTo>
                    <a:lnTo>
                      <a:pt x="41238" y="28131"/>
                    </a:lnTo>
                    <a:lnTo>
                      <a:pt x="41960" y="28056"/>
                    </a:lnTo>
                    <a:lnTo>
                      <a:pt x="42656" y="27932"/>
                    </a:lnTo>
                    <a:lnTo>
                      <a:pt x="43353" y="27783"/>
                    </a:lnTo>
                    <a:lnTo>
                      <a:pt x="44024" y="27559"/>
                    </a:lnTo>
                    <a:lnTo>
                      <a:pt x="44696" y="27310"/>
                    </a:lnTo>
                    <a:lnTo>
                      <a:pt x="45317" y="27036"/>
                    </a:lnTo>
                    <a:lnTo>
                      <a:pt x="45939" y="26713"/>
                    </a:lnTo>
                    <a:lnTo>
                      <a:pt x="46536" y="26340"/>
                    </a:lnTo>
                    <a:lnTo>
                      <a:pt x="47083" y="25942"/>
                    </a:lnTo>
                    <a:lnTo>
                      <a:pt x="47631" y="25519"/>
                    </a:lnTo>
                    <a:lnTo>
                      <a:pt x="48128" y="25047"/>
                    </a:lnTo>
                    <a:lnTo>
                      <a:pt x="48601" y="24549"/>
                    </a:lnTo>
                    <a:lnTo>
                      <a:pt x="49048" y="24027"/>
                    </a:lnTo>
                    <a:lnTo>
                      <a:pt x="49471" y="23455"/>
                    </a:lnTo>
                    <a:lnTo>
                      <a:pt x="49844" y="22883"/>
                    </a:lnTo>
                    <a:lnTo>
                      <a:pt x="50192" y="22261"/>
                    </a:lnTo>
                    <a:lnTo>
                      <a:pt x="50516" y="21589"/>
                    </a:lnTo>
                    <a:lnTo>
                      <a:pt x="50789" y="20918"/>
                    </a:lnTo>
                    <a:lnTo>
                      <a:pt x="51013" y="20221"/>
                    </a:lnTo>
                    <a:lnTo>
                      <a:pt x="51187" y="19475"/>
                    </a:lnTo>
                    <a:lnTo>
                      <a:pt x="51312" y="18754"/>
                    </a:lnTo>
                    <a:lnTo>
                      <a:pt x="51411" y="17983"/>
                    </a:lnTo>
                    <a:lnTo>
                      <a:pt x="51436" y="17212"/>
                    </a:lnTo>
                    <a:lnTo>
                      <a:pt x="51411" y="16665"/>
                    </a:lnTo>
                    <a:lnTo>
                      <a:pt x="51361" y="16093"/>
                    </a:lnTo>
                    <a:lnTo>
                      <a:pt x="51312" y="15545"/>
                    </a:lnTo>
                    <a:lnTo>
                      <a:pt x="51212" y="15023"/>
                    </a:lnTo>
                    <a:lnTo>
                      <a:pt x="51088" y="14476"/>
                    </a:lnTo>
                    <a:lnTo>
                      <a:pt x="50939" y="13954"/>
                    </a:lnTo>
                    <a:lnTo>
                      <a:pt x="50764" y="13456"/>
                    </a:lnTo>
                    <a:lnTo>
                      <a:pt x="50565" y="12959"/>
                    </a:lnTo>
                    <a:lnTo>
                      <a:pt x="50342" y="12486"/>
                    </a:lnTo>
                    <a:lnTo>
                      <a:pt x="50118" y="12013"/>
                    </a:lnTo>
                    <a:lnTo>
                      <a:pt x="49844" y="11541"/>
                    </a:lnTo>
                    <a:lnTo>
                      <a:pt x="49571" y="11093"/>
                    </a:lnTo>
                    <a:lnTo>
                      <a:pt x="49247" y="10670"/>
                    </a:lnTo>
                    <a:lnTo>
                      <a:pt x="48924" y="10248"/>
                    </a:lnTo>
                    <a:lnTo>
                      <a:pt x="48576" y="9874"/>
                    </a:lnTo>
                    <a:lnTo>
                      <a:pt x="48227" y="9477"/>
                    </a:lnTo>
                    <a:lnTo>
                      <a:pt x="47854" y="9128"/>
                    </a:lnTo>
                    <a:lnTo>
                      <a:pt x="47456" y="8780"/>
                    </a:lnTo>
                    <a:lnTo>
                      <a:pt x="47034" y="8457"/>
                    </a:lnTo>
                    <a:lnTo>
                      <a:pt x="46611" y="8158"/>
                    </a:lnTo>
                    <a:lnTo>
                      <a:pt x="46163" y="7860"/>
                    </a:lnTo>
                    <a:lnTo>
                      <a:pt x="45715" y="7611"/>
                    </a:lnTo>
                    <a:lnTo>
                      <a:pt x="45243" y="7362"/>
                    </a:lnTo>
                    <a:lnTo>
                      <a:pt x="44745" y="7139"/>
                    </a:lnTo>
                    <a:lnTo>
                      <a:pt x="44248" y="6940"/>
                    </a:lnTo>
                    <a:lnTo>
                      <a:pt x="43750" y="6765"/>
                    </a:lnTo>
                    <a:lnTo>
                      <a:pt x="43228" y="6616"/>
                    </a:lnTo>
                    <a:lnTo>
                      <a:pt x="42706" y="6492"/>
                    </a:lnTo>
                    <a:lnTo>
                      <a:pt x="42159" y="6392"/>
                    </a:lnTo>
                    <a:lnTo>
                      <a:pt x="41611" y="6343"/>
                    </a:lnTo>
                    <a:lnTo>
                      <a:pt x="41064" y="6293"/>
                    </a:lnTo>
                    <a:lnTo>
                      <a:pt x="40492" y="6268"/>
                    </a:lnTo>
                    <a:lnTo>
                      <a:pt x="39945" y="6293"/>
                    </a:lnTo>
                    <a:lnTo>
                      <a:pt x="39398" y="6343"/>
                    </a:lnTo>
                    <a:lnTo>
                      <a:pt x="38875" y="6392"/>
                    </a:lnTo>
                    <a:lnTo>
                      <a:pt x="38353" y="6492"/>
                    </a:lnTo>
                    <a:lnTo>
                      <a:pt x="37831" y="6616"/>
                    </a:lnTo>
                    <a:lnTo>
                      <a:pt x="37333" y="6741"/>
                    </a:lnTo>
                    <a:lnTo>
                      <a:pt x="36836" y="6915"/>
                    </a:lnTo>
                    <a:lnTo>
                      <a:pt x="36339" y="7089"/>
                    </a:lnTo>
                    <a:lnTo>
                      <a:pt x="35866" y="6318"/>
                    </a:lnTo>
                    <a:lnTo>
                      <a:pt x="35344" y="5572"/>
                    </a:lnTo>
                    <a:lnTo>
                      <a:pt x="34772" y="4875"/>
                    </a:lnTo>
                    <a:lnTo>
                      <a:pt x="34150" y="4204"/>
                    </a:lnTo>
                    <a:lnTo>
                      <a:pt x="33478" y="3582"/>
                    </a:lnTo>
                    <a:lnTo>
                      <a:pt x="32782" y="2985"/>
                    </a:lnTo>
                    <a:lnTo>
                      <a:pt x="32060" y="2462"/>
                    </a:lnTo>
                    <a:lnTo>
                      <a:pt x="31289" y="1965"/>
                    </a:lnTo>
                    <a:lnTo>
                      <a:pt x="30891" y="1741"/>
                    </a:lnTo>
                    <a:lnTo>
                      <a:pt x="30494" y="1517"/>
                    </a:lnTo>
                    <a:lnTo>
                      <a:pt x="30071" y="1318"/>
                    </a:lnTo>
                    <a:lnTo>
                      <a:pt x="29648" y="1144"/>
                    </a:lnTo>
                    <a:lnTo>
                      <a:pt x="29225" y="970"/>
                    </a:lnTo>
                    <a:lnTo>
                      <a:pt x="28777" y="796"/>
                    </a:lnTo>
                    <a:lnTo>
                      <a:pt x="28355" y="647"/>
                    </a:lnTo>
                    <a:lnTo>
                      <a:pt x="27907" y="522"/>
                    </a:lnTo>
                    <a:lnTo>
                      <a:pt x="27434" y="398"/>
                    </a:lnTo>
                    <a:lnTo>
                      <a:pt x="26987" y="299"/>
                    </a:lnTo>
                    <a:lnTo>
                      <a:pt x="26514" y="199"/>
                    </a:lnTo>
                    <a:lnTo>
                      <a:pt x="26041" y="149"/>
                    </a:lnTo>
                    <a:lnTo>
                      <a:pt x="25569" y="75"/>
                    </a:lnTo>
                    <a:lnTo>
                      <a:pt x="25096" y="50"/>
                    </a:lnTo>
                    <a:lnTo>
                      <a:pt x="24624" y="25"/>
                    </a:lnTo>
                    <a:lnTo>
                      <a:pt x="24126" y="0"/>
                    </a:lnTo>
                    <a:close/>
                  </a:path>
                </a:pathLst>
              </a:custGeom>
              <a:solidFill>
                <a:srgbClr val="2776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15"/>
              <p:cNvSpPr/>
              <p:nvPr/>
            </p:nvSpPr>
            <p:spPr>
              <a:xfrm>
                <a:off x="4063251" y="2231933"/>
                <a:ext cx="62574" cy="63090"/>
              </a:xfrm>
              <a:custGeom>
                <a:avLst/>
                <a:gdLst/>
                <a:ahLst/>
                <a:cxnLst/>
                <a:rect l="l" t="t" r="r" b="b"/>
                <a:pathLst>
                  <a:path w="3035" h="3060" fill="none" extrusionOk="0">
                    <a:moveTo>
                      <a:pt x="0" y="1517"/>
                    </a:moveTo>
                    <a:lnTo>
                      <a:pt x="0" y="1517"/>
                    </a:lnTo>
                    <a:lnTo>
                      <a:pt x="0" y="1368"/>
                    </a:lnTo>
                    <a:lnTo>
                      <a:pt x="25" y="1219"/>
                    </a:lnTo>
                    <a:lnTo>
                      <a:pt x="50" y="1070"/>
                    </a:lnTo>
                    <a:lnTo>
                      <a:pt x="100" y="920"/>
                    </a:lnTo>
                    <a:lnTo>
                      <a:pt x="249" y="672"/>
                    </a:lnTo>
                    <a:lnTo>
                      <a:pt x="448" y="448"/>
                    </a:lnTo>
                    <a:lnTo>
                      <a:pt x="672" y="274"/>
                    </a:lnTo>
                    <a:lnTo>
                      <a:pt x="920" y="124"/>
                    </a:lnTo>
                    <a:lnTo>
                      <a:pt x="1070" y="75"/>
                    </a:lnTo>
                    <a:lnTo>
                      <a:pt x="1219" y="25"/>
                    </a:lnTo>
                    <a:lnTo>
                      <a:pt x="1368" y="0"/>
                    </a:lnTo>
                    <a:lnTo>
                      <a:pt x="1517" y="0"/>
                    </a:lnTo>
                    <a:lnTo>
                      <a:pt x="1517" y="0"/>
                    </a:lnTo>
                    <a:lnTo>
                      <a:pt x="1667" y="0"/>
                    </a:lnTo>
                    <a:lnTo>
                      <a:pt x="1816" y="25"/>
                    </a:lnTo>
                    <a:lnTo>
                      <a:pt x="1965" y="75"/>
                    </a:lnTo>
                    <a:lnTo>
                      <a:pt x="2114" y="124"/>
                    </a:lnTo>
                    <a:lnTo>
                      <a:pt x="2363" y="274"/>
                    </a:lnTo>
                    <a:lnTo>
                      <a:pt x="2587" y="448"/>
                    </a:lnTo>
                    <a:lnTo>
                      <a:pt x="2786" y="672"/>
                    </a:lnTo>
                    <a:lnTo>
                      <a:pt x="2935" y="920"/>
                    </a:lnTo>
                    <a:lnTo>
                      <a:pt x="2985" y="1070"/>
                    </a:lnTo>
                    <a:lnTo>
                      <a:pt x="3010" y="1219"/>
                    </a:lnTo>
                    <a:lnTo>
                      <a:pt x="3034" y="1368"/>
                    </a:lnTo>
                    <a:lnTo>
                      <a:pt x="3034" y="1517"/>
                    </a:lnTo>
                    <a:lnTo>
                      <a:pt x="3034" y="1517"/>
                    </a:lnTo>
                    <a:lnTo>
                      <a:pt x="3034" y="1691"/>
                    </a:lnTo>
                    <a:lnTo>
                      <a:pt x="3010" y="1841"/>
                    </a:lnTo>
                    <a:lnTo>
                      <a:pt x="2985" y="1990"/>
                    </a:lnTo>
                    <a:lnTo>
                      <a:pt x="2935" y="2114"/>
                    </a:lnTo>
                    <a:lnTo>
                      <a:pt x="2786" y="2388"/>
                    </a:lnTo>
                    <a:lnTo>
                      <a:pt x="2587" y="2612"/>
                    </a:lnTo>
                    <a:lnTo>
                      <a:pt x="2363" y="2786"/>
                    </a:lnTo>
                    <a:lnTo>
                      <a:pt x="2114" y="2935"/>
                    </a:lnTo>
                    <a:lnTo>
                      <a:pt x="1965" y="2985"/>
                    </a:lnTo>
                    <a:lnTo>
                      <a:pt x="1816" y="3010"/>
                    </a:lnTo>
                    <a:lnTo>
                      <a:pt x="1667" y="3034"/>
                    </a:lnTo>
                    <a:lnTo>
                      <a:pt x="1517" y="3059"/>
                    </a:lnTo>
                    <a:lnTo>
                      <a:pt x="1517" y="3059"/>
                    </a:lnTo>
                    <a:lnTo>
                      <a:pt x="1368" y="3034"/>
                    </a:lnTo>
                    <a:lnTo>
                      <a:pt x="1219" y="3010"/>
                    </a:lnTo>
                    <a:lnTo>
                      <a:pt x="1070" y="2985"/>
                    </a:lnTo>
                    <a:lnTo>
                      <a:pt x="920" y="2935"/>
                    </a:lnTo>
                    <a:lnTo>
                      <a:pt x="672" y="2786"/>
                    </a:lnTo>
                    <a:lnTo>
                      <a:pt x="448" y="2612"/>
                    </a:lnTo>
                    <a:lnTo>
                      <a:pt x="249" y="2388"/>
                    </a:lnTo>
                    <a:lnTo>
                      <a:pt x="100" y="2114"/>
                    </a:lnTo>
                    <a:lnTo>
                      <a:pt x="50" y="1990"/>
                    </a:lnTo>
                    <a:lnTo>
                      <a:pt x="25" y="1841"/>
                    </a:lnTo>
                    <a:lnTo>
                      <a:pt x="0" y="1691"/>
                    </a:lnTo>
                    <a:lnTo>
                      <a:pt x="0" y="1517"/>
                    </a:lnTo>
                    <a:lnTo>
                      <a:pt x="0" y="1517"/>
                    </a:lnTo>
                    <a:close/>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53;p15"/>
              <p:cNvSpPr/>
              <p:nvPr/>
            </p:nvSpPr>
            <p:spPr>
              <a:xfrm>
                <a:off x="4094527" y="2018604"/>
                <a:ext cx="21" cy="213350"/>
              </a:xfrm>
              <a:custGeom>
                <a:avLst/>
                <a:gdLst/>
                <a:ahLst/>
                <a:cxnLst/>
                <a:rect l="l" t="t" r="r" b="b"/>
                <a:pathLst>
                  <a:path w="1" h="10348" fill="none" extrusionOk="0">
                    <a:moveTo>
                      <a:pt x="0" y="0"/>
                    </a:moveTo>
                    <a:lnTo>
                      <a:pt x="0" y="10347"/>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15"/>
              <p:cNvSpPr/>
              <p:nvPr/>
            </p:nvSpPr>
            <p:spPr>
              <a:xfrm>
                <a:off x="3717619" y="1521681"/>
                <a:ext cx="126674" cy="405649"/>
              </a:xfrm>
              <a:custGeom>
                <a:avLst/>
                <a:gdLst/>
                <a:ahLst/>
                <a:cxnLst/>
                <a:rect l="l" t="t" r="r" b="b"/>
                <a:pathLst>
                  <a:path w="6144" h="19675" fill="none" extrusionOk="0">
                    <a:moveTo>
                      <a:pt x="0" y="1"/>
                    </a:moveTo>
                    <a:lnTo>
                      <a:pt x="0" y="8482"/>
                    </a:lnTo>
                    <a:lnTo>
                      <a:pt x="6144" y="11616"/>
                    </a:lnTo>
                    <a:lnTo>
                      <a:pt x="6144" y="19675"/>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15"/>
              <p:cNvSpPr/>
              <p:nvPr/>
            </p:nvSpPr>
            <p:spPr>
              <a:xfrm>
                <a:off x="4151947" y="1978606"/>
                <a:ext cx="76429" cy="335385"/>
              </a:xfrm>
              <a:custGeom>
                <a:avLst/>
                <a:gdLst/>
                <a:ahLst/>
                <a:cxnLst/>
                <a:rect l="l" t="t" r="r" b="b"/>
                <a:pathLst>
                  <a:path w="3707" h="16267" fill="none" extrusionOk="0">
                    <a:moveTo>
                      <a:pt x="3707" y="16267"/>
                    </a:moveTo>
                    <a:lnTo>
                      <a:pt x="3632" y="11342"/>
                    </a:lnTo>
                    <a:lnTo>
                      <a:pt x="1" y="8059"/>
                    </a:lnTo>
                    <a:lnTo>
                      <a:pt x="1"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15"/>
              <p:cNvSpPr/>
              <p:nvPr/>
            </p:nvSpPr>
            <p:spPr>
              <a:xfrm>
                <a:off x="3979647" y="2052953"/>
                <a:ext cx="45668" cy="387197"/>
              </a:xfrm>
              <a:custGeom>
                <a:avLst/>
                <a:gdLst/>
                <a:ahLst/>
                <a:cxnLst/>
                <a:rect l="l" t="t" r="r" b="b"/>
                <a:pathLst>
                  <a:path w="2215" h="18780" fill="none" extrusionOk="0">
                    <a:moveTo>
                      <a:pt x="1" y="18779"/>
                    </a:moveTo>
                    <a:lnTo>
                      <a:pt x="1" y="8930"/>
                    </a:lnTo>
                    <a:lnTo>
                      <a:pt x="2215" y="7487"/>
                    </a:lnTo>
                    <a:lnTo>
                      <a:pt x="2215"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15"/>
              <p:cNvSpPr/>
              <p:nvPr/>
            </p:nvSpPr>
            <p:spPr>
              <a:xfrm>
                <a:off x="3844272" y="1521681"/>
                <a:ext cx="21" cy="53358"/>
              </a:xfrm>
              <a:custGeom>
                <a:avLst/>
                <a:gdLst/>
                <a:ahLst/>
                <a:cxnLst/>
                <a:rect l="l" t="t" r="r" b="b"/>
                <a:pathLst>
                  <a:path w="1" h="2588" fill="none" extrusionOk="0">
                    <a:moveTo>
                      <a:pt x="1" y="1"/>
                    </a:moveTo>
                    <a:lnTo>
                      <a:pt x="1" y="2587"/>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15"/>
              <p:cNvSpPr/>
              <p:nvPr/>
            </p:nvSpPr>
            <p:spPr>
              <a:xfrm>
                <a:off x="3844272" y="1624769"/>
                <a:ext cx="21" cy="86161"/>
              </a:xfrm>
              <a:custGeom>
                <a:avLst/>
                <a:gdLst/>
                <a:ahLst/>
                <a:cxnLst/>
                <a:rect l="l" t="t" r="r" b="b"/>
                <a:pathLst>
                  <a:path w="1" h="4179" fill="none" extrusionOk="0">
                    <a:moveTo>
                      <a:pt x="1" y="0"/>
                    </a:moveTo>
                    <a:lnTo>
                      <a:pt x="1" y="4179"/>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59;p15"/>
              <p:cNvSpPr/>
              <p:nvPr/>
            </p:nvSpPr>
            <p:spPr>
              <a:xfrm>
                <a:off x="4094527" y="2353968"/>
                <a:ext cx="21" cy="132323"/>
              </a:xfrm>
              <a:custGeom>
                <a:avLst/>
                <a:gdLst/>
                <a:ahLst/>
                <a:cxnLst/>
                <a:rect l="l" t="t" r="r" b="b"/>
                <a:pathLst>
                  <a:path w="1" h="6418" fill="none" extrusionOk="0">
                    <a:moveTo>
                      <a:pt x="0" y="6418"/>
                    </a:moveTo>
                    <a:lnTo>
                      <a:pt x="0"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15"/>
              <p:cNvSpPr/>
              <p:nvPr/>
            </p:nvSpPr>
            <p:spPr>
              <a:xfrm>
                <a:off x="1327432" y="1744762"/>
                <a:ext cx="21" cy="213350"/>
              </a:xfrm>
              <a:custGeom>
                <a:avLst/>
                <a:gdLst/>
                <a:ahLst/>
                <a:cxnLst/>
                <a:rect l="l" t="t" r="r" b="b"/>
                <a:pathLst>
                  <a:path w="1" h="10348" fill="none" extrusionOk="0">
                    <a:moveTo>
                      <a:pt x="0" y="10347"/>
                    </a:moveTo>
                    <a:lnTo>
                      <a:pt x="0"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61;p15"/>
              <p:cNvSpPr/>
              <p:nvPr/>
            </p:nvSpPr>
            <p:spPr>
              <a:xfrm>
                <a:off x="1396666" y="1497579"/>
                <a:ext cx="45647" cy="508737"/>
              </a:xfrm>
              <a:custGeom>
                <a:avLst/>
                <a:gdLst/>
                <a:ahLst/>
                <a:cxnLst/>
                <a:rect l="l" t="t" r="r" b="b"/>
                <a:pathLst>
                  <a:path w="2214" h="24675" fill="none" extrusionOk="0">
                    <a:moveTo>
                      <a:pt x="2214" y="1"/>
                    </a:moveTo>
                    <a:lnTo>
                      <a:pt x="2214" y="9875"/>
                    </a:lnTo>
                    <a:lnTo>
                      <a:pt x="0" y="11293"/>
                    </a:lnTo>
                    <a:lnTo>
                      <a:pt x="0" y="24674"/>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62;p15"/>
              <p:cNvSpPr/>
              <p:nvPr/>
            </p:nvSpPr>
            <p:spPr>
              <a:xfrm>
                <a:off x="2875064" y="1207841"/>
                <a:ext cx="197969" cy="191825"/>
              </a:xfrm>
              <a:custGeom>
                <a:avLst/>
                <a:gdLst/>
                <a:ahLst/>
                <a:cxnLst/>
                <a:rect l="l" t="t" r="r" b="b"/>
                <a:pathLst>
                  <a:path w="9602" h="9304" extrusionOk="0">
                    <a:moveTo>
                      <a:pt x="9602" y="1"/>
                    </a:moveTo>
                    <a:lnTo>
                      <a:pt x="7985" y="274"/>
                    </a:lnTo>
                    <a:lnTo>
                      <a:pt x="6368" y="523"/>
                    </a:lnTo>
                    <a:lnTo>
                      <a:pt x="4727" y="772"/>
                    </a:lnTo>
                    <a:lnTo>
                      <a:pt x="3085" y="971"/>
                    </a:lnTo>
                    <a:lnTo>
                      <a:pt x="2787" y="2115"/>
                    </a:lnTo>
                    <a:lnTo>
                      <a:pt x="2463" y="3209"/>
                    </a:lnTo>
                    <a:lnTo>
                      <a:pt x="2115" y="4304"/>
                    </a:lnTo>
                    <a:lnTo>
                      <a:pt x="1742" y="5348"/>
                    </a:lnTo>
                    <a:lnTo>
                      <a:pt x="1344" y="6393"/>
                    </a:lnTo>
                    <a:lnTo>
                      <a:pt x="921" y="7388"/>
                    </a:lnTo>
                    <a:lnTo>
                      <a:pt x="473" y="8358"/>
                    </a:lnTo>
                    <a:lnTo>
                      <a:pt x="1" y="9303"/>
                    </a:lnTo>
                    <a:lnTo>
                      <a:pt x="747" y="8880"/>
                    </a:lnTo>
                    <a:lnTo>
                      <a:pt x="1468" y="8433"/>
                    </a:lnTo>
                    <a:lnTo>
                      <a:pt x="2165" y="7960"/>
                    </a:lnTo>
                    <a:lnTo>
                      <a:pt x="2836" y="7463"/>
                    </a:lnTo>
                    <a:lnTo>
                      <a:pt x="3508" y="6965"/>
                    </a:lnTo>
                    <a:lnTo>
                      <a:pt x="4179" y="6418"/>
                    </a:lnTo>
                    <a:lnTo>
                      <a:pt x="4801" y="5871"/>
                    </a:lnTo>
                    <a:lnTo>
                      <a:pt x="5423" y="5274"/>
                    </a:lnTo>
                    <a:lnTo>
                      <a:pt x="6020" y="4677"/>
                    </a:lnTo>
                    <a:lnTo>
                      <a:pt x="6592" y="4080"/>
                    </a:lnTo>
                    <a:lnTo>
                      <a:pt x="7139" y="3433"/>
                    </a:lnTo>
                    <a:lnTo>
                      <a:pt x="7686" y="2787"/>
                    </a:lnTo>
                    <a:lnTo>
                      <a:pt x="8184" y="2115"/>
                    </a:lnTo>
                    <a:lnTo>
                      <a:pt x="8681" y="1419"/>
                    </a:lnTo>
                    <a:lnTo>
                      <a:pt x="9154" y="722"/>
                    </a:lnTo>
                    <a:lnTo>
                      <a:pt x="9602"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15"/>
              <p:cNvSpPr/>
              <p:nvPr/>
            </p:nvSpPr>
            <p:spPr>
              <a:xfrm>
                <a:off x="2948916" y="960163"/>
                <a:ext cx="197454" cy="223081"/>
              </a:xfrm>
              <a:custGeom>
                <a:avLst/>
                <a:gdLst/>
                <a:ahLst/>
                <a:cxnLst/>
                <a:rect l="l" t="t" r="r" b="b"/>
                <a:pathLst>
                  <a:path w="9577" h="10820" extrusionOk="0">
                    <a:moveTo>
                      <a:pt x="1170" y="0"/>
                    </a:moveTo>
                    <a:lnTo>
                      <a:pt x="1145" y="1393"/>
                    </a:lnTo>
                    <a:lnTo>
                      <a:pt x="1070" y="2786"/>
                    </a:lnTo>
                    <a:lnTo>
                      <a:pt x="971" y="4179"/>
                    </a:lnTo>
                    <a:lnTo>
                      <a:pt x="846" y="5547"/>
                    </a:lnTo>
                    <a:lnTo>
                      <a:pt x="672" y="6890"/>
                    </a:lnTo>
                    <a:lnTo>
                      <a:pt x="473" y="8208"/>
                    </a:lnTo>
                    <a:lnTo>
                      <a:pt x="249" y="9527"/>
                    </a:lnTo>
                    <a:lnTo>
                      <a:pt x="1" y="10820"/>
                    </a:lnTo>
                    <a:lnTo>
                      <a:pt x="1841" y="10571"/>
                    </a:lnTo>
                    <a:lnTo>
                      <a:pt x="3657" y="10298"/>
                    </a:lnTo>
                    <a:lnTo>
                      <a:pt x="5472" y="9999"/>
                    </a:lnTo>
                    <a:lnTo>
                      <a:pt x="7263" y="9651"/>
                    </a:lnTo>
                    <a:lnTo>
                      <a:pt x="7736" y="8532"/>
                    </a:lnTo>
                    <a:lnTo>
                      <a:pt x="8184" y="7388"/>
                    </a:lnTo>
                    <a:lnTo>
                      <a:pt x="8383" y="6791"/>
                    </a:lnTo>
                    <a:lnTo>
                      <a:pt x="8557" y="6219"/>
                    </a:lnTo>
                    <a:lnTo>
                      <a:pt x="8731" y="5622"/>
                    </a:lnTo>
                    <a:lnTo>
                      <a:pt x="8880" y="5000"/>
                    </a:lnTo>
                    <a:lnTo>
                      <a:pt x="9029" y="4403"/>
                    </a:lnTo>
                    <a:lnTo>
                      <a:pt x="9154" y="3781"/>
                    </a:lnTo>
                    <a:lnTo>
                      <a:pt x="9253" y="3159"/>
                    </a:lnTo>
                    <a:lnTo>
                      <a:pt x="9353" y="2537"/>
                    </a:lnTo>
                    <a:lnTo>
                      <a:pt x="9427" y="1916"/>
                    </a:lnTo>
                    <a:lnTo>
                      <a:pt x="9502" y="1269"/>
                    </a:lnTo>
                    <a:lnTo>
                      <a:pt x="9552" y="647"/>
                    </a:lnTo>
                    <a:lnTo>
                      <a:pt x="9576"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15"/>
              <p:cNvSpPr/>
              <p:nvPr/>
            </p:nvSpPr>
            <p:spPr>
              <a:xfrm>
                <a:off x="2641241" y="1232974"/>
                <a:ext cx="251802" cy="232318"/>
              </a:xfrm>
              <a:custGeom>
                <a:avLst/>
                <a:gdLst/>
                <a:ahLst/>
                <a:cxnLst/>
                <a:rect l="l" t="t" r="r" b="b"/>
                <a:pathLst>
                  <a:path w="12213" h="11268" extrusionOk="0">
                    <a:moveTo>
                      <a:pt x="12212" y="1"/>
                    </a:moveTo>
                    <a:lnTo>
                      <a:pt x="10695" y="150"/>
                    </a:lnTo>
                    <a:lnTo>
                      <a:pt x="9203" y="274"/>
                    </a:lnTo>
                    <a:lnTo>
                      <a:pt x="7686" y="374"/>
                    </a:lnTo>
                    <a:lnTo>
                      <a:pt x="6144" y="473"/>
                    </a:lnTo>
                    <a:lnTo>
                      <a:pt x="4626" y="548"/>
                    </a:lnTo>
                    <a:lnTo>
                      <a:pt x="3084" y="598"/>
                    </a:lnTo>
                    <a:lnTo>
                      <a:pt x="1542" y="647"/>
                    </a:lnTo>
                    <a:lnTo>
                      <a:pt x="0" y="647"/>
                    </a:lnTo>
                    <a:lnTo>
                      <a:pt x="0" y="11268"/>
                    </a:lnTo>
                    <a:lnTo>
                      <a:pt x="1045" y="11218"/>
                    </a:lnTo>
                    <a:lnTo>
                      <a:pt x="2089" y="11094"/>
                    </a:lnTo>
                    <a:lnTo>
                      <a:pt x="3109" y="10969"/>
                    </a:lnTo>
                    <a:lnTo>
                      <a:pt x="4129" y="10770"/>
                    </a:lnTo>
                    <a:lnTo>
                      <a:pt x="5124" y="10546"/>
                    </a:lnTo>
                    <a:lnTo>
                      <a:pt x="6119" y="10273"/>
                    </a:lnTo>
                    <a:lnTo>
                      <a:pt x="7089" y="9974"/>
                    </a:lnTo>
                    <a:lnTo>
                      <a:pt x="8034" y="9626"/>
                    </a:lnTo>
                    <a:lnTo>
                      <a:pt x="8681" y="8606"/>
                    </a:lnTo>
                    <a:lnTo>
                      <a:pt x="9278" y="7512"/>
                    </a:lnTo>
                    <a:lnTo>
                      <a:pt x="9874" y="6393"/>
                    </a:lnTo>
                    <a:lnTo>
                      <a:pt x="10397" y="5199"/>
                    </a:lnTo>
                    <a:lnTo>
                      <a:pt x="10919" y="3955"/>
                    </a:lnTo>
                    <a:lnTo>
                      <a:pt x="11367" y="2687"/>
                    </a:lnTo>
                    <a:lnTo>
                      <a:pt x="11814" y="1369"/>
                    </a:lnTo>
                    <a:lnTo>
                      <a:pt x="12212"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65;p15"/>
              <p:cNvSpPr/>
              <p:nvPr/>
            </p:nvSpPr>
            <p:spPr>
              <a:xfrm>
                <a:off x="2948916" y="694012"/>
                <a:ext cx="197454" cy="223102"/>
              </a:xfrm>
              <a:custGeom>
                <a:avLst/>
                <a:gdLst/>
                <a:ahLst/>
                <a:cxnLst/>
                <a:rect l="l" t="t" r="r" b="b"/>
                <a:pathLst>
                  <a:path w="9577" h="10821" extrusionOk="0">
                    <a:moveTo>
                      <a:pt x="1" y="1"/>
                    </a:moveTo>
                    <a:lnTo>
                      <a:pt x="249" y="1294"/>
                    </a:lnTo>
                    <a:lnTo>
                      <a:pt x="473" y="2587"/>
                    </a:lnTo>
                    <a:lnTo>
                      <a:pt x="672" y="3931"/>
                    </a:lnTo>
                    <a:lnTo>
                      <a:pt x="846" y="5274"/>
                    </a:lnTo>
                    <a:lnTo>
                      <a:pt x="971" y="6642"/>
                    </a:lnTo>
                    <a:lnTo>
                      <a:pt x="1070" y="8010"/>
                    </a:lnTo>
                    <a:lnTo>
                      <a:pt x="1145" y="9402"/>
                    </a:lnTo>
                    <a:lnTo>
                      <a:pt x="1170" y="10820"/>
                    </a:lnTo>
                    <a:lnTo>
                      <a:pt x="9576" y="10820"/>
                    </a:lnTo>
                    <a:lnTo>
                      <a:pt x="9552" y="10174"/>
                    </a:lnTo>
                    <a:lnTo>
                      <a:pt x="9502" y="9527"/>
                    </a:lnTo>
                    <a:lnTo>
                      <a:pt x="9427" y="8905"/>
                    </a:lnTo>
                    <a:lnTo>
                      <a:pt x="9353" y="8258"/>
                    </a:lnTo>
                    <a:lnTo>
                      <a:pt x="9253" y="7637"/>
                    </a:lnTo>
                    <a:lnTo>
                      <a:pt x="9154" y="7015"/>
                    </a:lnTo>
                    <a:lnTo>
                      <a:pt x="9029" y="6418"/>
                    </a:lnTo>
                    <a:lnTo>
                      <a:pt x="8880" y="5796"/>
                    </a:lnTo>
                    <a:lnTo>
                      <a:pt x="8731" y="5199"/>
                    </a:lnTo>
                    <a:lnTo>
                      <a:pt x="8557" y="4602"/>
                    </a:lnTo>
                    <a:lnTo>
                      <a:pt x="8383" y="4005"/>
                    </a:lnTo>
                    <a:lnTo>
                      <a:pt x="8184" y="3433"/>
                    </a:lnTo>
                    <a:lnTo>
                      <a:pt x="7736" y="2264"/>
                    </a:lnTo>
                    <a:lnTo>
                      <a:pt x="7263" y="1145"/>
                    </a:lnTo>
                    <a:lnTo>
                      <a:pt x="5472" y="821"/>
                    </a:lnTo>
                    <a:lnTo>
                      <a:pt x="3657" y="523"/>
                    </a:lnTo>
                    <a:lnTo>
                      <a:pt x="1841" y="249"/>
                    </a:lnTo>
                    <a:lnTo>
                      <a:pt x="1"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15"/>
              <p:cNvSpPr/>
              <p:nvPr/>
            </p:nvSpPr>
            <p:spPr>
              <a:xfrm>
                <a:off x="2641241" y="960163"/>
                <a:ext cx="288727" cy="243080"/>
              </a:xfrm>
              <a:custGeom>
                <a:avLst/>
                <a:gdLst/>
                <a:ahLst/>
                <a:cxnLst/>
                <a:rect l="l" t="t" r="r" b="b"/>
                <a:pathLst>
                  <a:path w="14004" h="11790" extrusionOk="0">
                    <a:moveTo>
                      <a:pt x="0" y="0"/>
                    </a:moveTo>
                    <a:lnTo>
                      <a:pt x="0" y="11790"/>
                    </a:lnTo>
                    <a:lnTo>
                      <a:pt x="1617" y="11765"/>
                    </a:lnTo>
                    <a:lnTo>
                      <a:pt x="3234" y="11740"/>
                    </a:lnTo>
                    <a:lnTo>
                      <a:pt x="4825" y="11666"/>
                    </a:lnTo>
                    <a:lnTo>
                      <a:pt x="6442" y="11591"/>
                    </a:lnTo>
                    <a:lnTo>
                      <a:pt x="8034" y="11492"/>
                    </a:lnTo>
                    <a:lnTo>
                      <a:pt x="9601" y="11367"/>
                    </a:lnTo>
                    <a:lnTo>
                      <a:pt x="11168" y="11218"/>
                    </a:lnTo>
                    <a:lnTo>
                      <a:pt x="12735" y="11069"/>
                    </a:lnTo>
                    <a:lnTo>
                      <a:pt x="13008" y="9775"/>
                    </a:lnTo>
                    <a:lnTo>
                      <a:pt x="13257" y="8432"/>
                    </a:lnTo>
                    <a:lnTo>
                      <a:pt x="13456" y="7064"/>
                    </a:lnTo>
                    <a:lnTo>
                      <a:pt x="13630" y="5696"/>
                    </a:lnTo>
                    <a:lnTo>
                      <a:pt x="13779" y="4303"/>
                    </a:lnTo>
                    <a:lnTo>
                      <a:pt x="13904" y="2886"/>
                    </a:lnTo>
                    <a:lnTo>
                      <a:pt x="13978" y="1443"/>
                    </a:lnTo>
                    <a:lnTo>
                      <a:pt x="14003"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67;p15"/>
              <p:cNvSpPr/>
              <p:nvPr/>
            </p:nvSpPr>
            <p:spPr>
              <a:xfrm>
                <a:off x="2875064" y="477095"/>
                <a:ext cx="197969" cy="192320"/>
              </a:xfrm>
              <a:custGeom>
                <a:avLst/>
                <a:gdLst/>
                <a:ahLst/>
                <a:cxnLst/>
                <a:rect l="l" t="t" r="r" b="b"/>
                <a:pathLst>
                  <a:path w="9602" h="9328" extrusionOk="0">
                    <a:moveTo>
                      <a:pt x="1" y="1"/>
                    </a:moveTo>
                    <a:lnTo>
                      <a:pt x="473" y="946"/>
                    </a:lnTo>
                    <a:lnTo>
                      <a:pt x="921" y="1916"/>
                    </a:lnTo>
                    <a:lnTo>
                      <a:pt x="1344" y="2936"/>
                    </a:lnTo>
                    <a:lnTo>
                      <a:pt x="1742" y="3955"/>
                    </a:lnTo>
                    <a:lnTo>
                      <a:pt x="2115" y="5025"/>
                    </a:lnTo>
                    <a:lnTo>
                      <a:pt x="2463" y="6094"/>
                    </a:lnTo>
                    <a:lnTo>
                      <a:pt x="2787" y="7214"/>
                    </a:lnTo>
                    <a:lnTo>
                      <a:pt x="3085" y="8333"/>
                    </a:lnTo>
                    <a:lnTo>
                      <a:pt x="4727" y="8557"/>
                    </a:lnTo>
                    <a:lnTo>
                      <a:pt x="6368" y="8781"/>
                    </a:lnTo>
                    <a:lnTo>
                      <a:pt x="7985" y="9054"/>
                    </a:lnTo>
                    <a:lnTo>
                      <a:pt x="9602" y="9328"/>
                    </a:lnTo>
                    <a:lnTo>
                      <a:pt x="9154" y="8607"/>
                    </a:lnTo>
                    <a:lnTo>
                      <a:pt x="8681" y="7885"/>
                    </a:lnTo>
                    <a:lnTo>
                      <a:pt x="8184" y="7214"/>
                    </a:lnTo>
                    <a:lnTo>
                      <a:pt x="7686" y="6542"/>
                    </a:lnTo>
                    <a:lnTo>
                      <a:pt x="7139" y="5871"/>
                    </a:lnTo>
                    <a:lnTo>
                      <a:pt x="6592" y="5249"/>
                    </a:lnTo>
                    <a:lnTo>
                      <a:pt x="6020" y="4627"/>
                    </a:lnTo>
                    <a:lnTo>
                      <a:pt x="5423" y="4030"/>
                    </a:lnTo>
                    <a:lnTo>
                      <a:pt x="4801" y="3458"/>
                    </a:lnTo>
                    <a:lnTo>
                      <a:pt x="4179" y="2911"/>
                    </a:lnTo>
                    <a:lnTo>
                      <a:pt x="3508" y="2364"/>
                    </a:lnTo>
                    <a:lnTo>
                      <a:pt x="2836" y="1841"/>
                    </a:lnTo>
                    <a:lnTo>
                      <a:pt x="2165" y="1344"/>
                    </a:lnTo>
                    <a:lnTo>
                      <a:pt x="1468" y="871"/>
                    </a:lnTo>
                    <a:lnTo>
                      <a:pt x="747" y="423"/>
                    </a:lnTo>
                    <a:lnTo>
                      <a:pt x="1"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5"/>
              <p:cNvSpPr/>
              <p:nvPr/>
            </p:nvSpPr>
            <p:spPr>
              <a:xfrm>
                <a:off x="2641241" y="673498"/>
                <a:ext cx="288727" cy="243616"/>
              </a:xfrm>
              <a:custGeom>
                <a:avLst/>
                <a:gdLst/>
                <a:ahLst/>
                <a:cxnLst/>
                <a:rect l="l" t="t" r="r" b="b"/>
                <a:pathLst>
                  <a:path w="14004" h="11816" extrusionOk="0">
                    <a:moveTo>
                      <a:pt x="0" y="1"/>
                    </a:moveTo>
                    <a:lnTo>
                      <a:pt x="0" y="11815"/>
                    </a:lnTo>
                    <a:lnTo>
                      <a:pt x="14003" y="11815"/>
                    </a:lnTo>
                    <a:lnTo>
                      <a:pt x="13978" y="10348"/>
                    </a:lnTo>
                    <a:lnTo>
                      <a:pt x="13904" y="8930"/>
                    </a:lnTo>
                    <a:lnTo>
                      <a:pt x="13779" y="7512"/>
                    </a:lnTo>
                    <a:lnTo>
                      <a:pt x="13630" y="6119"/>
                    </a:lnTo>
                    <a:lnTo>
                      <a:pt x="13456" y="4727"/>
                    </a:lnTo>
                    <a:lnTo>
                      <a:pt x="13257" y="3383"/>
                    </a:lnTo>
                    <a:lnTo>
                      <a:pt x="13008" y="2040"/>
                    </a:lnTo>
                    <a:lnTo>
                      <a:pt x="12735" y="747"/>
                    </a:lnTo>
                    <a:lnTo>
                      <a:pt x="11168" y="573"/>
                    </a:lnTo>
                    <a:lnTo>
                      <a:pt x="9601" y="449"/>
                    </a:lnTo>
                    <a:lnTo>
                      <a:pt x="8034" y="324"/>
                    </a:lnTo>
                    <a:lnTo>
                      <a:pt x="6442" y="225"/>
                    </a:lnTo>
                    <a:lnTo>
                      <a:pt x="4825" y="125"/>
                    </a:lnTo>
                    <a:lnTo>
                      <a:pt x="3234" y="75"/>
                    </a:lnTo>
                    <a:lnTo>
                      <a:pt x="1617" y="26"/>
                    </a:lnTo>
                    <a:lnTo>
                      <a:pt x="0"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5"/>
              <p:cNvSpPr/>
              <p:nvPr/>
            </p:nvSpPr>
            <p:spPr>
              <a:xfrm>
                <a:off x="2641241" y="411470"/>
                <a:ext cx="251802" cy="232833"/>
              </a:xfrm>
              <a:custGeom>
                <a:avLst/>
                <a:gdLst/>
                <a:ahLst/>
                <a:cxnLst/>
                <a:rect l="l" t="t" r="r" b="b"/>
                <a:pathLst>
                  <a:path w="12213" h="11293" extrusionOk="0">
                    <a:moveTo>
                      <a:pt x="0" y="0"/>
                    </a:moveTo>
                    <a:lnTo>
                      <a:pt x="0" y="10621"/>
                    </a:lnTo>
                    <a:lnTo>
                      <a:pt x="1542" y="10645"/>
                    </a:lnTo>
                    <a:lnTo>
                      <a:pt x="3084" y="10670"/>
                    </a:lnTo>
                    <a:lnTo>
                      <a:pt x="4626" y="10745"/>
                    </a:lnTo>
                    <a:lnTo>
                      <a:pt x="6168" y="10819"/>
                    </a:lnTo>
                    <a:lnTo>
                      <a:pt x="7686" y="10894"/>
                    </a:lnTo>
                    <a:lnTo>
                      <a:pt x="9203" y="11018"/>
                    </a:lnTo>
                    <a:lnTo>
                      <a:pt x="10695" y="11143"/>
                    </a:lnTo>
                    <a:lnTo>
                      <a:pt x="12212" y="11292"/>
                    </a:lnTo>
                    <a:lnTo>
                      <a:pt x="11814" y="9924"/>
                    </a:lnTo>
                    <a:lnTo>
                      <a:pt x="11367" y="8606"/>
                    </a:lnTo>
                    <a:lnTo>
                      <a:pt x="10919" y="7312"/>
                    </a:lnTo>
                    <a:lnTo>
                      <a:pt x="10397" y="6094"/>
                    </a:lnTo>
                    <a:lnTo>
                      <a:pt x="9874" y="4900"/>
                    </a:lnTo>
                    <a:lnTo>
                      <a:pt x="9278" y="3756"/>
                    </a:lnTo>
                    <a:lnTo>
                      <a:pt x="8681" y="2686"/>
                    </a:lnTo>
                    <a:lnTo>
                      <a:pt x="8034" y="1642"/>
                    </a:lnTo>
                    <a:lnTo>
                      <a:pt x="7089" y="1318"/>
                    </a:lnTo>
                    <a:lnTo>
                      <a:pt x="6119" y="1020"/>
                    </a:lnTo>
                    <a:lnTo>
                      <a:pt x="5124" y="746"/>
                    </a:lnTo>
                    <a:lnTo>
                      <a:pt x="4129" y="522"/>
                    </a:lnTo>
                    <a:lnTo>
                      <a:pt x="3109" y="323"/>
                    </a:lnTo>
                    <a:lnTo>
                      <a:pt x="2089" y="174"/>
                    </a:lnTo>
                    <a:lnTo>
                      <a:pt x="1045" y="75"/>
                    </a:lnTo>
                    <a:lnTo>
                      <a:pt x="0"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15"/>
              <p:cNvSpPr/>
              <p:nvPr/>
            </p:nvSpPr>
            <p:spPr>
              <a:xfrm>
                <a:off x="2308928" y="673498"/>
                <a:ext cx="289243" cy="243616"/>
              </a:xfrm>
              <a:custGeom>
                <a:avLst/>
                <a:gdLst/>
                <a:ahLst/>
                <a:cxnLst/>
                <a:rect l="l" t="t" r="r" b="b"/>
                <a:pathLst>
                  <a:path w="14029" h="11816" extrusionOk="0">
                    <a:moveTo>
                      <a:pt x="14029" y="1"/>
                    </a:moveTo>
                    <a:lnTo>
                      <a:pt x="12412" y="26"/>
                    </a:lnTo>
                    <a:lnTo>
                      <a:pt x="10795" y="75"/>
                    </a:lnTo>
                    <a:lnTo>
                      <a:pt x="9179" y="125"/>
                    </a:lnTo>
                    <a:lnTo>
                      <a:pt x="7587" y="225"/>
                    </a:lnTo>
                    <a:lnTo>
                      <a:pt x="5995" y="324"/>
                    </a:lnTo>
                    <a:lnTo>
                      <a:pt x="4403" y="449"/>
                    </a:lnTo>
                    <a:lnTo>
                      <a:pt x="2836" y="573"/>
                    </a:lnTo>
                    <a:lnTo>
                      <a:pt x="1269" y="747"/>
                    </a:lnTo>
                    <a:lnTo>
                      <a:pt x="996" y="2040"/>
                    </a:lnTo>
                    <a:lnTo>
                      <a:pt x="772" y="3383"/>
                    </a:lnTo>
                    <a:lnTo>
                      <a:pt x="548" y="4727"/>
                    </a:lnTo>
                    <a:lnTo>
                      <a:pt x="374" y="6119"/>
                    </a:lnTo>
                    <a:lnTo>
                      <a:pt x="250" y="7512"/>
                    </a:lnTo>
                    <a:lnTo>
                      <a:pt x="125" y="8930"/>
                    </a:lnTo>
                    <a:lnTo>
                      <a:pt x="51" y="10348"/>
                    </a:lnTo>
                    <a:lnTo>
                      <a:pt x="1" y="11815"/>
                    </a:lnTo>
                    <a:lnTo>
                      <a:pt x="14029" y="11815"/>
                    </a:lnTo>
                    <a:lnTo>
                      <a:pt x="14029"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15"/>
              <p:cNvSpPr/>
              <p:nvPr/>
            </p:nvSpPr>
            <p:spPr>
              <a:xfrm>
                <a:off x="2092527" y="694012"/>
                <a:ext cx="197454" cy="223102"/>
              </a:xfrm>
              <a:custGeom>
                <a:avLst/>
                <a:gdLst/>
                <a:ahLst/>
                <a:cxnLst/>
                <a:rect l="l" t="t" r="r" b="b"/>
                <a:pathLst>
                  <a:path w="9577" h="10821" extrusionOk="0">
                    <a:moveTo>
                      <a:pt x="9577" y="1"/>
                    </a:moveTo>
                    <a:lnTo>
                      <a:pt x="7761" y="249"/>
                    </a:lnTo>
                    <a:lnTo>
                      <a:pt x="5920" y="523"/>
                    </a:lnTo>
                    <a:lnTo>
                      <a:pt x="4130" y="821"/>
                    </a:lnTo>
                    <a:lnTo>
                      <a:pt x="2339" y="1145"/>
                    </a:lnTo>
                    <a:lnTo>
                      <a:pt x="1841" y="2264"/>
                    </a:lnTo>
                    <a:lnTo>
                      <a:pt x="1419" y="3433"/>
                    </a:lnTo>
                    <a:lnTo>
                      <a:pt x="1220" y="4005"/>
                    </a:lnTo>
                    <a:lnTo>
                      <a:pt x="1045" y="4602"/>
                    </a:lnTo>
                    <a:lnTo>
                      <a:pt x="871" y="5199"/>
                    </a:lnTo>
                    <a:lnTo>
                      <a:pt x="722" y="5796"/>
                    </a:lnTo>
                    <a:lnTo>
                      <a:pt x="573" y="6418"/>
                    </a:lnTo>
                    <a:lnTo>
                      <a:pt x="448" y="7015"/>
                    </a:lnTo>
                    <a:lnTo>
                      <a:pt x="324" y="7637"/>
                    </a:lnTo>
                    <a:lnTo>
                      <a:pt x="250" y="8258"/>
                    </a:lnTo>
                    <a:lnTo>
                      <a:pt x="150" y="8905"/>
                    </a:lnTo>
                    <a:lnTo>
                      <a:pt x="100" y="9527"/>
                    </a:lnTo>
                    <a:lnTo>
                      <a:pt x="51" y="10174"/>
                    </a:lnTo>
                    <a:lnTo>
                      <a:pt x="1" y="10820"/>
                    </a:lnTo>
                    <a:lnTo>
                      <a:pt x="8408" y="10820"/>
                    </a:lnTo>
                    <a:lnTo>
                      <a:pt x="8457" y="9402"/>
                    </a:lnTo>
                    <a:lnTo>
                      <a:pt x="8532" y="8010"/>
                    </a:lnTo>
                    <a:lnTo>
                      <a:pt x="8631" y="6642"/>
                    </a:lnTo>
                    <a:lnTo>
                      <a:pt x="8756" y="5274"/>
                    </a:lnTo>
                    <a:lnTo>
                      <a:pt x="8930" y="3931"/>
                    </a:lnTo>
                    <a:lnTo>
                      <a:pt x="9104" y="2587"/>
                    </a:lnTo>
                    <a:lnTo>
                      <a:pt x="9328" y="1294"/>
                    </a:lnTo>
                    <a:lnTo>
                      <a:pt x="9577"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15"/>
              <p:cNvSpPr/>
              <p:nvPr/>
            </p:nvSpPr>
            <p:spPr>
              <a:xfrm>
                <a:off x="2346369" y="1232974"/>
                <a:ext cx="251802" cy="232318"/>
              </a:xfrm>
              <a:custGeom>
                <a:avLst/>
                <a:gdLst/>
                <a:ahLst/>
                <a:cxnLst/>
                <a:rect l="l" t="t" r="r" b="b"/>
                <a:pathLst>
                  <a:path w="12213" h="11268" extrusionOk="0">
                    <a:moveTo>
                      <a:pt x="1" y="1"/>
                    </a:moveTo>
                    <a:lnTo>
                      <a:pt x="399" y="1369"/>
                    </a:lnTo>
                    <a:lnTo>
                      <a:pt x="821" y="2687"/>
                    </a:lnTo>
                    <a:lnTo>
                      <a:pt x="1294" y="3955"/>
                    </a:lnTo>
                    <a:lnTo>
                      <a:pt x="1791" y="5199"/>
                    </a:lnTo>
                    <a:lnTo>
                      <a:pt x="2339" y="6393"/>
                    </a:lnTo>
                    <a:lnTo>
                      <a:pt x="2911" y="7512"/>
                    </a:lnTo>
                    <a:lnTo>
                      <a:pt x="3532" y="8606"/>
                    </a:lnTo>
                    <a:lnTo>
                      <a:pt x="4154" y="9626"/>
                    </a:lnTo>
                    <a:lnTo>
                      <a:pt x="5124" y="9974"/>
                    </a:lnTo>
                    <a:lnTo>
                      <a:pt x="6094" y="10273"/>
                    </a:lnTo>
                    <a:lnTo>
                      <a:pt x="7064" y="10546"/>
                    </a:lnTo>
                    <a:lnTo>
                      <a:pt x="8059" y="10770"/>
                    </a:lnTo>
                    <a:lnTo>
                      <a:pt x="9079" y="10969"/>
                    </a:lnTo>
                    <a:lnTo>
                      <a:pt x="10124" y="11094"/>
                    </a:lnTo>
                    <a:lnTo>
                      <a:pt x="11143" y="11218"/>
                    </a:lnTo>
                    <a:lnTo>
                      <a:pt x="12213" y="11268"/>
                    </a:lnTo>
                    <a:lnTo>
                      <a:pt x="12213" y="647"/>
                    </a:lnTo>
                    <a:lnTo>
                      <a:pt x="10671" y="647"/>
                    </a:lnTo>
                    <a:lnTo>
                      <a:pt x="9104" y="598"/>
                    </a:lnTo>
                    <a:lnTo>
                      <a:pt x="7587" y="548"/>
                    </a:lnTo>
                    <a:lnTo>
                      <a:pt x="6045" y="473"/>
                    </a:lnTo>
                    <a:lnTo>
                      <a:pt x="4527" y="374"/>
                    </a:lnTo>
                    <a:lnTo>
                      <a:pt x="3010" y="274"/>
                    </a:lnTo>
                    <a:lnTo>
                      <a:pt x="1493" y="150"/>
                    </a:lnTo>
                    <a:lnTo>
                      <a:pt x="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15"/>
              <p:cNvSpPr/>
              <p:nvPr/>
            </p:nvSpPr>
            <p:spPr>
              <a:xfrm>
                <a:off x="2346369" y="411470"/>
                <a:ext cx="251802" cy="232833"/>
              </a:xfrm>
              <a:custGeom>
                <a:avLst/>
                <a:gdLst/>
                <a:ahLst/>
                <a:cxnLst/>
                <a:rect l="l" t="t" r="r" b="b"/>
                <a:pathLst>
                  <a:path w="12213" h="11293" extrusionOk="0">
                    <a:moveTo>
                      <a:pt x="12213" y="0"/>
                    </a:moveTo>
                    <a:lnTo>
                      <a:pt x="11143" y="75"/>
                    </a:lnTo>
                    <a:lnTo>
                      <a:pt x="10124" y="174"/>
                    </a:lnTo>
                    <a:lnTo>
                      <a:pt x="9079" y="323"/>
                    </a:lnTo>
                    <a:lnTo>
                      <a:pt x="8059" y="522"/>
                    </a:lnTo>
                    <a:lnTo>
                      <a:pt x="7064" y="746"/>
                    </a:lnTo>
                    <a:lnTo>
                      <a:pt x="6094" y="1020"/>
                    </a:lnTo>
                    <a:lnTo>
                      <a:pt x="5124" y="1318"/>
                    </a:lnTo>
                    <a:lnTo>
                      <a:pt x="4154" y="1666"/>
                    </a:lnTo>
                    <a:lnTo>
                      <a:pt x="3532" y="2686"/>
                    </a:lnTo>
                    <a:lnTo>
                      <a:pt x="2911" y="3756"/>
                    </a:lnTo>
                    <a:lnTo>
                      <a:pt x="2339" y="4900"/>
                    </a:lnTo>
                    <a:lnTo>
                      <a:pt x="1791" y="6094"/>
                    </a:lnTo>
                    <a:lnTo>
                      <a:pt x="1294" y="7312"/>
                    </a:lnTo>
                    <a:lnTo>
                      <a:pt x="821" y="8606"/>
                    </a:lnTo>
                    <a:lnTo>
                      <a:pt x="399" y="9924"/>
                    </a:lnTo>
                    <a:lnTo>
                      <a:pt x="1" y="11292"/>
                    </a:lnTo>
                    <a:lnTo>
                      <a:pt x="1493" y="11143"/>
                    </a:lnTo>
                    <a:lnTo>
                      <a:pt x="3010" y="11018"/>
                    </a:lnTo>
                    <a:lnTo>
                      <a:pt x="4527" y="10894"/>
                    </a:lnTo>
                    <a:lnTo>
                      <a:pt x="6045" y="10819"/>
                    </a:lnTo>
                    <a:lnTo>
                      <a:pt x="7587" y="10745"/>
                    </a:lnTo>
                    <a:lnTo>
                      <a:pt x="9104" y="10670"/>
                    </a:lnTo>
                    <a:lnTo>
                      <a:pt x="10671" y="10645"/>
                    </a:lnTo>
                    <a:lnTo>
                      <a:pt x="12213" y="10621"/>
                    </a:lnTo>
                    <a:lnTo>
                      <a:pt x="12213"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74;p15"/>
              <p:cNvSpPr/>
              <p:nvPr/>
            </p:nvSpPr>
            <p:spPr>
              <a:xfrm>
                <a:off x="2308928" y="960163"/>
                <a:ext cx="289243" cy="243080"/>
              </a:xfrm>
              <a:custGeom>
                <a:avLst/>
                <a:gdLst/>
                <a:ahLst/>
                <a:cxnLst/>
                <a:rect l="l" t="t" r="r" b="b"/>
                <a:pathLst>
                  <a:path w="14029" h="11790" extrusionOk="0">
                    <a:moveTo>
                      <a:pt x="1" y="0"/>
                    </a:moveTo>
                    <a:lnTo>
                      <a:pt x="51" y="1443"/>
                    </a:lnTo>
                    <a:lnTo>
                      <a:pt x="125" y="2886"/>
                    </a:lnTo>
                    <a:lnTo>
                      <a:pt x="250" y="4303"/>
                    </a:lnTo>
                    <a:lnTo>
                      <a:pt x="374" y="5696"/>
                    </a:lnTo>
                    <a:lnTo>
                      <a:pt x="548" y="7064"/>
                    </a:lnTo>
                    <a:lnTo>
                      <a:pt x="772" y="8432"/>
                    </a:lnTo>
                    <a:lnTo>
                      <a:pt x="996" y="9775"/>
                    </a:lnTo>
                    <a:lnTo>
                      <a:pt x="1269" y="11069"/>
                    </a:lnTo>
                    <a:lnTo>
                      <a:pt x="2836" y="11218"/>
                    </a:lnTo>
                    <a:lnTo>
                      <a:pt x="4403" y="11367"/>
                    </a:lnTo>
                    <a:lnTo>
                      <a:pt x="5995" y="11492"/>
                    </a:lnTo>
                    <a:lnTo>
                      <a:pt x="7587" y="11591"/>
                    </a:lnTo>
                    <a:lnTo>
                      <a:pt x="9179" y="11666"/>
                    </a:lnTo>
                    <a:lnTo>
                      <a:pt x="10795" y="11740"/>
                    </a:lnTo>
                    <a:lnTo>
                      <a:pt x="12412" y="11765"/>
                    </a:lnTo>
                    <a:lnTo>
                      <a:pt x="14029" y="11790"/>
                    </a:lnTo>
                    <a:lnTo>
                      <a:pt x="14029"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15"/>
              <p:cNvSpPr/>
              <p:nvPr/>
            </p:nvSpPr>
            <p:spPr>
              <a:xfrm>
                <a:off x="2166379" y="1207841"/>
                <a:ext cx="197454" cy="191825"/>
              </a:xfrm>
              <a:custGeom>
                <a:avLst/>
                <a:gdLst/>
                <a:ahLst/>
                <a:cxnLst/>
                <a:rect l="l" t="t" r="r" b="b"/>
                <a:pathLst>
                  <a:path w="9577" h="9304" extrusionOk="0">
                    <a:moveTo>
                      <a:pt x="0" y="1"/>
                    </a:moveTo>
                    <a:lnTo>
                      <a:pt x="448" y="722"/>
                    </a:lnTo>
                    <a:lnTo>
                      <a:pt x="921" y="1419"/>
                    </a:lnTo>
                    <a:lnTo>
                      <a:pt x="1393" y="2115"/>
                    </a:lnTo>
                    <a:lnTo>
                      <a:pt x="1916" y="2787"/>
                    </a:lnTo>
                    <a:lnTo>
                      <a:pt x="2438" y="3433"/>
                    </a:lnTo>
                    <a:lnTo>
                      <a:pt x="3010" y="4080"/>
                    </a:lnTo>
                    <a:lnTo>
                      <a:pt x="3582" y="4677"/>
                    </a:lnTo>
                    <a:lnTo>
                      <a:pt x="4179" y="5274"/>
                    </a:lnTo>
                    <a:lnTo>
                      <a:pt x="4801" y="5871"/>
                    </a:lnTo>
                    <a:lnTo>
                      <a:pt x="5423" y="6418"/>
                    </a:lnTo>
                    <a:lnTo>
                      <a:pt x="6069" y="6965"/>
                    </a:lnTo>
                    <a:lnTo>
                      <a:pt x="6741" y="7463"/>
                    </a:lnTo>
                    <a:lnTo>
                      <a:pt x="7437" y="7960"/>
                    </a:lnTo>
                    <a:lnTo>
                      <a:pt x="8134" y="8433"/>
                    </a:lnTo>
                    <a:lnTo>
                      <a:pt x="8855" y="8880"/>
                    </a:lnTo>
                    <a:lnTo>
                      <a:pt x="9576" y="9303"/>
                    </a:lnTo>
                    <a:lnTo>
                      <a:pt x="9129" y="8358"/>
                    </a:lnTo>
                    <a:lnTo>
                      <a:pt x="8681" y="7388"/>
                    </a:lnTo>
                    <a:lnTo>
                      <a:pt x="8258" y="6393"/>
                    </a:lnTo>
                    <a:lnTo>
                      <a:pt x="7860" y="5348"/>
                    </a:lnTo>
                    <a:lnTo>
                      <a:pt x="7487" y="4304"/>
                    </a:lnTo>
                    <a:lnTo>
                      <a:pt x="7139" y="3209"/>
                    </a:lnTo>
                    <a:lnTo>
                      <a:pt x="6815" y="2115"/>
                    </a:lnTo>
                    <a:lnTo>
                      <a:pt x="6492" y="971"/>
                    </a:lnTo>
                    <a:lnTo>
                      <a:pt x="4850" y="772"/>
                    </a:lnTo>
                    <a:lnTo>
                      <a:pt x="3234" y="523"/>
                    </a:lnTo>
                    <a:lnTo>
                      <a:pt x="1617" y="274"/>
                    </a:lnTo>
                    <a:lnTo>
                      <a:pt x="0"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15"/>
              <p:cNvSpPr/>
              <p:nvPr/>
            </p:nvSpPr>
            <p:spPr>
              <a:xfrm>
                <a:off x="2166379" y="477095"/>
                <a:ext cx="197454" cy="192320"/>
              </a:xfrm>
              <a:custGeom>
                <a:avLst/>
                <a:gdLst/>
                <a:ahLst/>
                <a:cxnLst/>
                <a:rect l="l" t="t" r="r" b="b"/>
                <a:pathLst>
                  <a:path w="9577" h="9328" extrusionOk="0">
                    <a:moveTo>
                      <a:pt x="9576" y="1"/>
                    </a:moveTo>
                    <a:lnTo>
                      <a:pt x="8855" y="423"/>
                    </a:lnTo>
                    <a:lnTo>
                      <a:pt x="8134" y="871"/>
                    </a:lnTo>
                    <a:lnTo>
                      <a:pt x="7437" y="1344"/>
                    </a:lnTo>
                    <a:lnTo>
                      <a:pt x="6741" y="1841"/>
                    </a:lnTo>
                    <a:lnTo>
                      <a:pt x="6069" y="2364"/>
                    </a:lnTo>
                    <a:lnTo>
                      <a:pt x="5423" y="2911"/>
                    </a:lnTo>
                    <a:lnTo>
                      <a:pt x="4801" y="3458"/>
                    </a:lnTo>
                    <a:lnTo>
                      <a:pt x="4179" y="4030"/>
                    </a:lnTo>
                    <a:lnTo>
                      <a:pt x="3582" y="4627"/>
                    </a:lnTo>
                    <a:lnTo>
                      <a:pt x="3010" y="5249"/>
                    </a:lnTo>
                    <a:lnTo>
                      <a:pt x="2438" y="5871"/>
                    </a:lnTo>
                    <a:lnTo>
                      <a:pt x="1916" y="6542"/>
                    </a:lnTo>
                    <a:lnTo>
                      <a:pt x="1393" y="7214"/>
                    </a:lnTo>
                    <a:lnTo>
                      <a:pt x="921" y="7885"/>
                    </a:lnTo>
                    <a:lnTo>
                      <a:pt x="448" y="8607"/>
                    </a:lnTo>
                    <a:lnTo>
                      <a:pt x="0" y="9328"/>
                    </a:lnTo>
                    <a:lnTo>
                      <a:pt x="1617" y="9054"/>
                    </a:lnTo>
                    <a:lnTo>
                      <a:pt x="3234" y="8781"/>
                    </a:lnTo>
                    <a:lnTo>
                      <a:pt x="4850" y="8557"/>
                    </a:lnTo>
                    <a:lnTo>
                      <a:pt x="6492" y="8333"/>
                    </a:lnTo>
                    <a:lnTo>
                      <a:pt x="6815" y="7214"/>
                    </a:lnTo>
                    <a:lnTo>
                      <a:pt x="7139" y="6094"/>
                    </a:lnTo>
                    <a:lnTo>
                      <a:pt x="7487" y="5025"/>
                    </a:lnTo>
                    <a:lnTo>
                      <a:pt x="7860" y="3955"/>
                    </a:lnTo>
                    <a:lnTo>
                      <a:pt x="8258" y="2936"/>
                    </a:lnTo>
                    <a:lnTo>
                      <a:pt x="8681" y="1916"/>
                    </a:lnTo>
                    <a:lnTo>
                      <a:pt x="9129" y="946"/>
                    </a:lnTo>
                    <a:lnTo>
                      <a:pt x="9576" y="1"/>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15"/>
              <p:cNvSpPr/>
              <p:nvPr/>
            </p:nvSpPr>
            <p:spPr>
              <a:xfrm>
                <a:off x="2092527" y="960163"/>
                <a:ext cx="197454" cy="223081"/>
              </a:xfrm>
              <a:custGeom>
                <a:avLst/>
                <a:gdLst/>
                <a:ahLst/>
                <a:cxnLst/>
                <a:rect l="l" t="t" r="r" b="b"/>
                <a:pathLst>
                  <a:path w="9577" h="10820" extrusionOk="0">
                    <a:moveTo>
                      <a:pt x="1" y="0"/>
                    </a:moveTo>
                    <a:lnTo>
                      <a:pt x="51" y="647"/>
                    </a:lnTo>
                    <a:lnTo>
                      <a:pt x="100" y="1269"/>
                    </a:lnTo>
                    <a:lnTo>
                      <a:pt x="150" y="1916"/>
                    </a:lnTo>
                    <a:lnTo>
                      <a:pt x="250" y="2537"/>
                    </a:lnTo>
                    <a:lnTo>
                      <a:pt x="324" y="3159"/>
                    </a:lnTo>
                    <a:lnTo>
                      <a:pt x="448" y="3781"/>
                    </a:lnTo>
                    <a:lnTo>
                      <a:pt x="573" y="4403"/>
                    </a:lnTo>
                    <a:lnTo>
                      <a:pt x="722" y="5000"/>
                    </a:lnTo>
                    <a:lnTo>
                      <a:pt x="871" y="5622"/>
                    </a:lnTo>
                    <a:lnTo>
                      <a:pt x="1045" y="6219"/>
                    </a:lnTo>
                    <a:lnTo>
                      <a:pt x="1220" y="6791"/>
                    </a:lnTo>
                    <a:lnTo>
                      <a:pt x="1419" y="7388"/>
                    </a:lnTo>
                    <a:lnTo>
                      <a:pt x="1841" y="8532"/>
                    </a:lnTo>
                    <a:lnTo>
                      <a:pt x="2339" y="9651"/>
                    </a:lnTo>
                    <a:lnTo>
                      <a:pt x="4130" y="9999"/>
                    </a:lnTo>
                    <a:lnTo>
                      <a:pt x="5920" y="10298"/>
                    </a:lnTo>
                    <a:lnTo>
                      <a:pt x="7761" y="10571"/>
                    </a:lnTo>
                    <a:lnTo>
                      <a:pt x="9577" y="10820"/>
                    </a:lnTo>
                    <a:lnTo>
                      <a:pt x="9328" y="9527"/>
                    </a:lnTo>
                    <a:lnTo>
                      <a:pt x="9104" y="8208"/>
                    </a:lnTo>
                    <a:lnTo>
                      <a:pt x="8930" y="6890"/>
                    </a:lnTo>
                    <a:lnTo>
                      <a:pt x="8756" y="5547"/>
                    </a:lnTo>
                    <a:lnTo>
                      <a:pt x="8631" y="4179"/>
                    </a:lnTo>
                    <a:lnTo>
                      <a:pt x="8532" y="2786"/>
                    </a:lnTo>
                    <a:lnTo>
                      <a:pt x="8457" y="1393"/>
                    </a:lnTo>
                    <a:lnTo>
                      <a:pt x="8408" y="0"/>
                    </a:lnTo>
                    <a:close/>
                  </a:path>
                </a:pathLst>
              </a:custGeom>
              <a:solidFill>
                <a:srgbClr val="2776EA">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15"/>
              <p:cNvSpPr/>
              <p:nvPr/>
            </p:nvSpPr>
            <p:spPr>
              <a:xfrm>
                <a:off x="954585" y="892465"/>
                <a:ext cx="1060502" cy="580506"/>
              </a:xfrm>
              <a:custGeom>
                <a:avLst/>
                <a:gdLst/>
                <a:ahLst/>
                <a:cxnLst/>
                <a:rect l="l" t="t" r="r" b="b"/>
                <a:pathLst>
                  <a:path w="51437" h="28156" extrusionOk="0">
                    <a:moveTo>
                      <a:pt x="24152" y="0"/>
                    </a:moveTo>
                    <a:lnTo>
                      <a:pt x="23555" y="25"/>
                    </a:lnTo>
                    <a:lnTo>
                      <a:pt x="22958" y="50"/>
                    </a:lnTo>
                    <a:lnTo>
                      <a:pt x="22386" y="125"/>
                    </a:lnTo>
                    <a:lnTo>
                      <a:pt x="21789" y="199"/>
                    </a:lnTo>
                    <a:lnTo>
                      <a:pt x="21242" y="299"/>
                    </a:lnTo>
                    <a:lnTo>
                      <a:pt x="20670" y="448"/>
                    </a:lnTo>
                    <a:lnTo>
                      <a:pt x="20122" y="597"/>
                    </a:lnTo>
                    <a:lnTo>
                      <a:pt x="19575" y="771"/>
                    </a:lnTo>
                    <a:lnTo>
                      <a:pt x="19053" y="970"/>
                    </a:lnTo>
                    <a:lnTo>
                      <a:pt x="18531" y="1169"/>
                    </a:lnTo>
                    <a:lnTo>
                      <a:pt x="18008" y="1418"/>
                    </a:lnTo>
                    <a:lnTo>
                      <a:pt x="17511" y="1667"/>
                    </a:lnTo>
                    <a:lnTo>
                      <a:pt x="17038" y="1940"/>
                    </a:lnTo>
                    <a:lnTo>
                      <a:pt x="16566" y="2214"/>
                    </a:lnTo>
                    <a:lnTo>
                      <a:pt x="16093" y="2537"/>
                    </a:lnTo>
                    <a:lnTo>
                      <a:pt x="15645" y="2861"/>
                    </a:lnTo>
                    <a:lnTo>
                      <a:pt x="15223" y="3209"/>
                    </a:lnTo>
                    <a:lnTo>
                      <a:pt x="14800" y="3557"/>
                    </a:lnTo>
                    <a:lnTo>
                      <a:pt x="14377" y="3955"/>
                    </a:lnTo>
                    <a:lnTo>
                      <a:pt x="13979" y="4328"/>
                    </a:lnTo>
                    <a:lnTo>
                      <a:pt x="13606" y="4751"/>
                    </a:lnTo>
                    <a:lnTo>
                      <a:pt x="13258" y="5174"/>
                    </a:lnTo>
                    <a:lnTo>
                      <a:pt x="12909" y="5597"/>
                    </a:lnTo>
                    <a:lnTo>
                      <a:pt x="12586" y="6044"/>
                    </a:lnTo>
                    <a:lnTo>
                      <a:pt x="12288" y="6517"/>
                    </a:lnTo>
                    <a:lnTo>
                      <a:pt x="11989" y="6989"/>
                    </a:lnTo>
                    <a:lnTo>
                      <a:pt x="11716" y="7487"/>
                    </a:lnTo>
                    <a:lnTo>
                      <a:pt x="11467" y="7984"/>
                    </a:lnTo>
                    <a:lnTo>
                      <a:pt x="11218" y="8482"/>
                    </a:lnTo>
                    <a:lnTo>
                      <a:pt x="11019" y="9004"/>
                    </a:lnTo>
                    <a:lnTo>
                      <a:pt x="10820" y="9551"/>
                    </a:lnTo>
                    <a:lnTo>
                      <a:pt x="10646" y="10098"/>
                    </a:lnTo>
                    <a:lnTo>
                      <a:pt x="9900" y="9999"/>
                    </a:lnTo>
                    <a:lnTo>
                      <a:pt x="9502" y="9949"/>
                    </a:lnTo>
                    <a:lnTo>
                      <a:pt x="8656" y="9949"/>
                    </a:lnTo>
                    <a:lnTo>
                      <a:pt x="8184" y="9999"/>
                    </a:lnTo>
                    <a:lnTo>
                      <a:pt x="7736" y="10049"/>
                    </a:lnTo>
                    <a:lnTo>
                      <a:pt x="7288" y="10123"/>
                    </a:lnTo>
                    <a:lnTo>
                      <a:pt x="6841" y="10248"/>
                    </a:lnTo>
                    <a:lnTo>
                      <a:pt x="6418" y="10347"/>
                    </a:lnTo>
                    <a:lnTo>
                      <a:pt x="5995" y="10496"/>
                    </a:lnTo>
                    <a:lnTo>
                      <a:pt x="5572" y="10670"/>
                    </a:lnTo>
                    <a:lnTo>
                      <a:pt x="5174" y="10845"/>
                    </a:lnTo>
                    <a:lnTo>
                      <a:pt x="4776" y="11044"/>
                    </a:lnTo>
                    <a:lnTo>
                      <a:pt x="4403" y="11267"/>
                    </a:lnTo>
                    <a:lnTo>
                      <a:pt x="4030" y="11516"/>
                    </a:lnTo>
                    <a:lnTo>
                      <a:pt x="3682" y="11765"/>
                    </a:lnTo>
                    <a:lnTo>
                      <a:pt x="3334" y="12038"/>
                    </a:lnTo>
                    <a:lnTo>
                      <a:pt x="2985" y="12312"/>
                    </a:lnTo>
                    <a:lnTo>
                      <a:pt x="2687" y="12611"/>
                    </a:lnTo>
                    <a:lnTo>
                      <a:pt x="2389" y="12934"/>
                    </a:lnTo>
                    <a:lnTo>
                      <a:pt x="2090" y="13257"/>
                    </a:lnTo>
                    <a:lnTo>
                      <a:pt x="1816" y="13605"/>
                    </a:lnTo>
                    <a:lnTo>
                      <a:pt x="1568" y="13954"/>
                    </a:lnTo>
                    <a:lnTo>
                      <a:pt x="1319" y="14327"/>
                    </a:lnTo>
                    <a:lnTo>
                      <a:pt x="1120" y="14725"/>
                    </a:lnTo>
                    <a:lnTo>
                      <a:pt x="921" y="15098"/>
                    </a:lnTo>
                    <a:lnTo>
                      <a:pt x="722" y="15521"/>
                    </a:lnTo>
                    <a:lnTo>
                      <a:pt x="573" y="15919"/>
                    </a:lnTo>
                    <a:lnTo>
                      <a:pt x="424" y="16341"/>
                    </a:lnTo>
                    <a:lnTo>
                      <a:pt x="299" y="16789"/>
                    </a:lnTo>
                    <a:lnTo>
                      <a:pt x="200" y="17212"/>
                    </a:lnTo>
                    <a:lnTo>
                      <a:pt x="125" y="17660"/>
                    </a:lnTo>
                    <a:lnTo>
                      <a:pt x="51" y="18132"/>
                    </a:lnTo>
                    <a:lnTo>
                      <a:pt x="26" y="18580"/>
                    </a:lnTo>
                    <a:lnTo>
                      <a:pt x="1" y="19052"/>
                    </a:lnTo>
                    <a:lnTo>
                      <a:pt x="26" y="19525"/>
                    </a:lnTo>
                    <a:lnTo>
                      <a:pt x="51" y="19998"/>
                    </a:lnTo>
                    <a:lnTo>
                      <a:pt x="125" y="20445"/>
                    </a:lnTo>
                    <a:lnTo>
                      <a:pt x="200" y="20893"/>
                    </a:lnTo>
                    <a:lnTo>
                      <a:pt x="299" y="21341"/>
                    </a:lnTo>
                    <a:lnTo>
                      <a:pt x="424" y="21764"/>
                    </a:lnTo>
                    <a:lnTo>
                      <a:pt x="573" y="22186"/>
                    </a:lnTo>
                    <a:lnTo>
                      <a:pt x="722" y="22609"/>
                    </a:lnTo>
                    <a:lnTo>
                      <a:pt x="921" y="23007"/>
                    </a:lnTo>
                    <a:lnTo>
                      <a:pt x="1120" y="23405"/>
                    </a:lnTo>
                    <a:lnTo>
                      <a:pt x="1319" y="23778"/>
                    </a:lnTo>
                    <a:lnTo>
                      <a:pt x="1568" y="24151"/>
                    </a:lnTo>
                    <a:lnTo>
                      <a:pt x="1816" y="24500"/>
                    </a:lnTo>
                    <a:lnTo>
                      <a:pt x="2090" y="24848"/>
                    </a:lnTo>
                    <a:lnTo>
                      <a:pt x="2389" y="25171"/>
                    </a:lnTo>
                    <a:lnTo>
                      <a:pt x="2687" y="25494"/>
                    </a:lnTo>
                    <a:lnTo>
                      <a:pt x="2985" y="25793"/>
                    </a:lnTo>
                    <a:lnTo>
                      <a:pt x="3334" y="26091"/>
                    </a:lnTo>
                    <a:lnTo>
                      <a:pt x="3682" y="26340"/>
                    </a:lnTo>
                    <a:lnTo>
                      <a:pt x="4030" y="26614"/>
                    </a:lnTo>
                    <a:lnTo>
                      <a:pt x="4403" y="26838"/>
                    </a:lnTo>
                    <a:lnTo>
                      <a:pt x="4776" y="27061"/>
                    </a:lnTo>
                    <a:lnTo>
                      <a:pt x="5174" y="27260"/>
                    </a:lnTo>
                    <a:lnTo>
                      <a:pt x="5572" y="27434"/>
                    </a:lnTo>
                    <a:lnTo>
                      <a:pt x="5995" y="27609"/>
                    </a:lnTo>
                    <a:lnTo>
                      <a:pt x="6418" y="27758"/>
                    </a:lnTo>
                    <a:lnTo>
                      <a:pt x="6841" y="27882"/>
                    </a:lnTo>
                    <a:lnTo>
                      <a:pt x="7288" y="27982"/>
                    </a:lnTo>
                    <a:lnTo>
                      <a:pt x="7736" y="28056"/>
                    </a:lnTo>
                    <a:lnTo>
                      <a:pt x="8184" y="28106"/>
                    </a:lnTo>
                    <a:lnTo>
                      <a:pt x="8656" y="28156"/>
                    </a:lnTo>
                    <a:lnTo>
                      <a:pt x="40518" y="28156"/>
                    </a:lnTo>
                    <a:lnTo>
                      <a:pt x="41239" y="28131"/>
                    </a:lnTo>
                    <a:lnTo>
                      <a:pt x="41960" y="28056"/>
                    </a:lnTo>
                    <a:lnTo>
                      <a:pt x="42682" y="27932"/>
                    </a:lnTo>
                    <a:lnTo>
                      <a:pt x="43378" y="27783"/>
                    </a:lnTo>
                    <a:lnTo>
                      <a:pt x="44050" y="27584"/>
                    </a:lnTo>
                    <a:lnTo>
                      <a:pt x="44696" y="27335"/>
                    </a:lnTo>
                    <a:lnTo>
                      <a:pt x="45343" y="27037"/>
                    </a:lnTo>
                    <a:lnTo>
                      <a:pt x="45965" y="26713"/>
                    </a:lnTo>
                    <a:lnTo>
                      <a:pt x="46537" y="26340"/>
                    </a:lnTo>
                    <a:lnTo>
                      <a:pt x="47109" y="25942"/>
                    </a:lnTo>
                    <a:lnTo>
                      <a:pt x="47656" y="25519"/>
                    </a:lnTo>
                    <a:lnTo>
                      <a:pt x="48154" y="25047"/>
                    </a:lnTo>
                    <a:lnTo>
                      <a:pt x="48626" y="24549"/>
                    </a:lnTo>
                    <a:lnTo>
                      <a:pt x="49074" y="24027"/>
                    </a:lnTo>
                    <a:lnTo>
                      <a:pt x="49497" y="23455"/>
                    </a:lnTo>
                    <a:lnTo>
                      <a:pt x="49870" y="22883"/>
                    </a:lnTo>
                    <a:lnTo>
                      <a:pt x="50218" y="22261"/>
                    </a:lnTo>
                    <a:lnTo>
                      <a:pt x="50541" y="21589"/>
                    </a:lnTo>
                    <a:lnTo>
                      <a:pt x="50815" y="20918"/>
                    </a:lnTo>
                    <a:lnTo>
                      <a:pt x="51039" y="20222"/>
                    </a:lnTo>
                    <a:lnTo>
                      <a:pt x="51213" y="19500"/>
                    </a:lnTo>
                    <a:lnTo>
                      <a:pt x="51337" y="18754"/>
                    </a:lnTo>
                    <a:lnTo>
                      <a:pt x="51412" y="17983"/>
                    </a:lnTo>
                    <a:lnTo>
                      <a:pt x="51437" y="17212"/>
                    </a:lnTo>
                    <a:lnTo>
                      <a:pt x="51437" y="16665"/>
                    </a:lnTo>
                    <a:lnTo>
                      <a:pt x="51387" y="16093"/>
                    </a:lnTo>
                    <a:lnTo>
                      <a:pt x="51312" y="15545"/>
                    </a:lnTo>
                    <a:lnTo>
                      <a:pt x="51238" y="15023"/>
                    </a:lnTo>
                    <a:lnTo>
                      <a:pt x="51113" y="14476"/>
                    </a:lnTo>
                    <a:lnTo>
                      <a:pt x="50964" y="13979"/>
                    </a:lnTo>
                    <a:lnTo>
                      <a:pt x="50790" y="13456"/>
                    </a:lnTo>
                    <a:lnTo>
                      <a:pt x="50591" y="12959"/>
                    </a:lnTo>
                    <a:lnTo>
                      <a:pt x="50367" y="12486"/>
                    </a:lnTo>
                    <a:lnTo>
                      <a:pt x="50118" y="12014"/>
                    </a:lnTo>
                    <a:lnTo>
                      <a:pt x="49870" y="11541"/>
                    </a:lnTo>
                    <a:lnTo>
                      <a:pt x="49571" y="11093"/>
                    </a:lnTo>
                    <a:lnTo>
                      <a:pt x="49273" y="10670"/>
                    </a:lnTo>
                    <a:lnTo>
                      <a:pt x="48949" y="10273"/>
                    </a:lnTo>
                    <a:lnTo>
                      <a:pt x="48601" y="9875"/>
                    </a:lnTo>
                    <a:lnTo>
                      <a:pt x="48253" y="9477"/>
                    </a:lnTo>
                    <a:lnTo>
                      <a:pt x="47855" y="9128"/>
                    </a:lnTo>
                    <a:lnTo>
                      <a:pt x="47457" y="8780"/>
                    </a:lnTo>
                    <a:lnTo>
                      <a:pt x="47059" y="8457"/>
                    </a:lnTo>
                    <a:lnTo>
                      <a:pt x="46636" y="8158"/>
                    </a:lnTo>
                    <a:lnTo>
                      <a:pt x="46189" y="7860"/>
                    </a:lnTo>
                    <a:lnTo>
                      <a:pt x="45716" y="7611"/>
                    </a:lnTo>
                    <a:lnTo>
                      <a:pt x="45243" y="7362"/>
                    </a:lnTo>
                    <a:lnTo>
                      <a:pt x="44771" y="7139"/>
                    </a:lnTo>
                    <a:lnTo>
                      <a:pt x="44273" y="6940"/>
                    </a:lnTo>
                    <a:lnTo>
                      <a:pt x="43751" y="6766"/>
                    </a:lnTo>
                    <a:lnTo>
                      <a:pt x="43254" y="6616"/>
                    </a:lnTo>
                    <a:lnTo>
                      <a:pt x="42707" y="6492"/>
                    </a:lnTo>
                    <a:lnTo>
                      <a:pt x="42184" y="6417"/>
                    </a:lnTo>
                    <a:lnTo>
                      <a:pt x="41637" y="6343"/>
                    </a:lnTo>
                    <a:lnTo>
                      <a:pt x="41065" y="6293"/>
                    </a:lnTo>
                    <a:lnTo>
                      <a:pt x="39971" y="6293"/>
                    </a:lnTo>
                    <a:lnTo>
                      <a:pt x="39423" y="6343"/>
                    </a:lnTo>
                    <a:lnTo>
                      <a:pt x="38901" y="6392"/>
                    </a:lnTo>
                    <a:lnTo>
                      <a:pt x="38354" y="6492"/>
                    </a:lnTo>
                    <a:lnTo>
                      <a:pt x="37856" y="6616"/>
                    </a:lnTo>
                    <a:lnTo>
                      <a:pt x="37334" y="6741"/>
                    </a:lnTo>
                    <a:lnTo>
                      <a:pt x="36837" y="6915"/>
                    </a:lnTo>
                    <a:lnTo>
                      <a:pt x="36364" y="7089"/>
                    </a:lnTo>
                    <a:lnTo>
                      <a:pt x="35892" y="6318"/>
                    </a:lnTo>
                    <a:lnTo>
                      <a:pt x="35344" y="5572"/>
                    </a:lnTo>
                    <a:lnTo>
                      <a:pt x="34772" y="4875"/>
                    </a:lnTo>
                    <a:lnTo>
                      <a:pt x="34175" y="4204"/>
                    </a:lnTo>
                    <a:lnTo>
                      <a:pt x="33504" y="3582"/>
                    </a:lnTo>
                    <a:lnTo>
                      <a:pt x="32807" y="2985"/>
                    </a:lnTo>
                    <a:lnTo>
                      <a:pt x="32086" y="2463"/>
                    </a:lnTo>
                    <a:lnTo>
                      <a:pt x="31315" y="1965"/>
                    </a:lnTo>
                    <a:lnTo>
                      <a:pt x="30917" y="1741"/>
                    </a:lnTo>
                    <a:lnTo>
                      <a:pt x="30494" y="1517"/>
                    </a:lnTo>
                    <a:lnTo>
                      <a:pt x="30096" y="1318"/>
                    </a:lnTo>
                    <a:lnTo>
                      <a:pt x="29673" y="1144"/>
                    </a:lnTo>
                    <a:lnTo>
                      <a:pt x="29251" y="970"/>
                    </a:lnTo>
                    <a:lnTo>
                      <a:pt x="28803" y="796"/>
                    </a:lnTo>
                    <a:lnTo>
                      <a:pt x="28355" y="647"/>
                    </a:lnTo>
                    <a:lnTo>
                      <a:pt x="27907" y="523"/>
                    </a:lnTo>
                    <a:lnTo>
                      <a:pt x="27460" y="398"/>
                    </a:lnTo>
                    <a:lnTo>
                      <a:pt x="27012" y="299"/>
                    </a:lnTo>
                    <a:lnTo>
                      <a:pt x="26540" y="224"/>
                    </a:lnTo>
                    <a:lnTo>
                      <a:pt x="26067" y="149"/>
                    </a:lnTo>
                    <a:lnTo>
                      <a:pt x="25594" y="75"/>
                    </a:lnTo>
                    <a:lnTo>
                      <a:pt x="25122" y="50"/>
                    </a:lnTo>
                    <a:lnTo>
                      <a:pt x="24624" y="25"/>
                    </a:lnTo>
                    <a:lnTo>
                      <a:pt x="24152" y="0"/>
                    </a:lnTo>
                    <a:close/>
                  </a:path>
                </a:pathLst>
              </a:custGeom>
              <a:solidFill>
                <a:srgbClr val="2776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9;p15"/>
              <p:cNvSpPr/>
              <p:nvPr/>
            </p:nvSpPr>
            <p:spPr>
              <a:xfrm>
                <a:off x="930009" y="3342660"/>
                <a:ext cx="3397352" cy="1389207"/>
              </a:xfrm>
              <a:custGeom>
                <a:avLst/>
                <a:gdLst/>
                <a:ahLst/>
                <a:cxnLst/>
                <a:rect l="l" t="t" r="r" b="b"/>
                <a:pathLst>
                  <a:path w="164780" h="67380" extrusionOk="0">
                    <a:moveTo>
                      <a:pt x="80164" y="1"/>
                    </a:moveTo>
                    <a:lnTo>
                      <a:pt x="79617" y="7761"/>
                    </a:lnTo>
                    <a:lnTo>
                      <a:pt x="61559" y="13108"/>
                    </a:lnTo>
                    <a:lnTo>
                      <a:pt x="61435" y="14004"/>
                    </a:lnTo>
                    <a:lnTo>
                      <a:pt x="61087" y="16392"/>
                    </a:lnTo>
                    <a:lnTo>
                      <a:pt x="60539" y="19849"/>
                    </a:lnTo>
                    <a:lnTo>
                      <a:pt x="60216" y="21839"/>
                    </a:lnTo>
                    <a:lnTo>
                      <a:pt x="59868" y="23903"/>
                    </a:lnTo>
                    <a:lnTo>
                      <a:pt x="59470" y="26042"/>
                    </a:lnTo>
                    <a:lnTo>
                      <a:pt x="59072" y="28156"/>
                    </a:lnTo>
                    <a:lnTo>
                      <a:pt x="58649" y="30196"/>
                    </a:lnTo>
                    <a:lnTo>
                      <a:pt x="58201" y="32111"/>
                    </a:lnTo>
                    <a:lnTo>
                      <a:pt x="57953" y="33031"/>
                    </a:lnTo>
                    <a:lnTo>
                      <a:pt x="57729" y="33877"/>
                    </a:lnTo>
                    <a:lnTo>
                      <a:pt x="57505" y="34648"/>
                    </a:lnTo>
                    <a:lnTo>
                      <a:pt x="57256" y="35394"/>
                    </a:lnTo>
                    <a:lnTo>
                      <a:pt x="57032" y="36041"/>
                    </a:lnTo>
                    <a:lnTo>
                      <a:pt x="56809" y="36613"/>
                    </a:lnTo>
                    <a:lnTo>
                      <a:pt x="56560" y="37110"/>
                    </a:lnTo>
                    <a:lnTo>
                      <a:pt x="56336" y="37483"/>
                    </a:lnTo>
                    <a:lnTo>
                      <a:pt x="56261" y="37608"/>
                    </a:lnTo>
                    <a:lnTo>
                      <a:pt x="56137" y="37732"/>
                    </a:lnTo>
                    <a:lnTo>
                      <a:pt x="55839" y="37981"/>
                    </a:lnTo>
                    <a:lnTo>
                      <a:pt x="55441" y="38230"/>
                    </a:lnTo>
                    <a:lnTo>
                      <a:pt x="54943" y="38503"/>
                    </a:lnTo>
                    <a:lnTo>
                      <a:pt x="54371" y="38802"/>
                    </a:lnTo>
                    <a:lnTo>
                      <a:pt x="53700" y="39100"/>
                    </a:lnTo>
                    <a:lnTo>
                      <a:pt x="52953" y="39399"/>
                    </a:lnTo>
                    <a:lnTo>
                      <a:pt x="52157" y="39722"/>
                    </a:lnTo>
                    <a:lnTo>
                      <a:pt x="51262" y="40045"/>
                    </a:lnTo>
                    <a:lnTo>
                      <a:pt x="50317" y="40369"/>
                    </a:lnTo>
                    <a:lnTo>
                      <a:pt x="48253" y="41040"/>
                    </a:lnTo>
                    <a:lnTo>
                      <a:pt x="45964" y="41737"/>
                    </a:lnTo>
                    <a:lnTo>
                      <a:pt x="43527" y="42458"/>
                    </a:lnTo>
                    <a:lnTo>
                      <a:pt x="40940" y="43179"/>
                    </a:lnTo>
                    <a:lnTo>
                      <a:pt x="38229" y="43900"/>
                    </a:lnTo>
                    <a:lnTo>
                      <a:pt x="35493" y="44622"/>
                    </a:lnTo>
                    <a:lnTo>
                      <a:pt x="32707" y="45318"/>
                    </a:lnTo>
                    <a:lnTo>
                      <a:pt x="27186" y="46686"/>
                    </a:lnTo>
                    <a:lnTo>
                      <a:pt x="21987" y="47905"/>
                    </a:lnTo>
                    <a:lnTo>
                      <a:pt x="21266" y="48079"/>
                    </a:lnTo>
                    <a:lnTo>
                      <a:pt x="20545" y="48278"/>
                    </a:lnTo>
                    <a:lnTo>
                      <a:pt x="19848" y="48502"/>
                    </a:lnTo>
                    <a:lnTo>
                      <a:pt x="19127" y="48726"/>
                    </a:lnTo>
                    <a:lnTo>
                      <a:pt x="18431" y="48974"/>
                    </a:lnTo>
                    <a:lnTo>
                      <a:pt x="17759" y="49248"/>
                    </a:lnTo>
                    <a:lnTo>
                      <a:pt x="17063" y="49522"/>
                    </a:lnTo>
                    <a:lnTo>
                      <a:pt x="16391" y="49845"/>
                    </a:lnTo>
                    <a:lnTo>
                      <a:pt x="15720" y="50143"/>
                    </a:lnTo>
                    <a:lnTo>
                      <a:pt x="15073" y="50492"/>
                    </a:lnTo>
                    <a:lnTo>
                      <a:pt x="14426" y="50840"/>
                    </a:lnTo>
                    <a:lnTo>
                      <a:pt x="13804" y="51188"/>
                    </a:lnTo>
                    <a:lnTo>
                      <a:pt x="13158" y="51586"/>
                    </a:lnTo>
                    <a:lnTo>
                      <a:pt x="12561" y="51959"/>
                    </a:lnTo>
                    <a:lnTo>
                      <a:pt x="11939" y="52382"/>
                    </a:lnTo>
                    <a:lnTo>
                      <a:pt x="11342" y="52805"/>
                    </a:lnTo>
                    <a:lnTo>
                      <a:pt x="10770" y="53252"/>
                    </a:lnTo>
                    <a:lnTo>
                      <a:pt x="10198" y="53700"/>
                    </a:lnTo>
                    <a:lnTo>
                      <a:pt x="9626" y="54173"/>
                    </a:lnTo>
                    <a:lnTo>
                      <a:pt x="9079" y="54670"/>
                    </a:lnTo>
                    <a:lnTo>
                      <a:pt x="8531" y="55168"/>
                    </a:lnTo>
                    <a:lnTo>
                      <a:pt x="8009" y="55665"/>
                    </a:lnTo>
                    <a:lnTo>
                      <a:pt x="7487" y="56187"/>
                    </a:lnTo>
                    <a:lnTo>
                      <a:pt x="6989" y="56735"/>
                    </a:lnTo>
                    <a:lnTo>
                      <a:pt x="6517" y="57282"/>
                    </a:lnTo>
                    <a:lnTo>
                      <a:pt x="6044" y="57854"/>
                    </a:lnTo>
                    <a:lnTo>
                      <a:pt x="5572" y="58426"/>
                    </a:lnTo>
                    <a:lnTo>
                      <a:pt x="5124" y="59023"/>
                    </a:lnTo>
                    <a:lnTo>
                      <a:pt x="4701" y="59620"/>
                    </a:lnTo>
                    <a:lnTo>
                      <a:pt x="4278" y="60242"/>
                    </a:lnTo>
                    <a:lnTo>
                      <a:pt x="3880" y="60863"/>
                    </a:lnTo>
                    <a:lnTo>
                      <a:pt x="3482" y="61485"/>
                    </a:lnTo>
                    <a:lnTo>
                      <a:pt x="0" y="67380"/>
                    </a:lnTo>
                    <a:lnTo>
                      <a:pt x="164779" y="67380"/>
                    </a:lnTo>
                    <a:lnTo>
                      <a:pt x="161297" y="61485"/>
                    </a:lnTo>
                    <a:lnTo>
                      <a:pt x="160924" y="60863"/>
                    </a:lnTo>
                    <a:lnTo>
                      <a:pt x="160501" y="60242"/>
                    </a:lnTo>
                    <a:lnTo>
                      <a:pt x="160103" y="59620"/>
                    </a:lnTo>
                    <a:lnTo>
                      <a:pt x="159656" y="59023"/>
                    </a:lnTo>
                    <a:lnTo>
                      <a:pt x="159208" y="58426"/>
                    </a:lnTo>
                    <a:lnTo>
                      <a:pt x="158760" y="57854"/>
                    </a:lnTo>
                    <a:lnTo>
                      <a:pt x="158288" y="57282"/>
                    </a:lnTo>
                    <a:lnTo>
                      <a:pt x="157790" y="56735"/>
                    </a:lnTo>
                    <a:lnTo>
                      <a:pt x="157293" y="56187"/>
                    </a:lnTo>
                    <a:lnTo>
                      <a:pt x="156770" y="55665"/>
                    </a:lnTo>
                    <a:lnTo>
                      <a:pt x="156248" y="55168"/>
                    </a:lnTo>
                    <a:lnTo>
                      <a:pt x="155701" y="54670"/>
                    </a:lnTo>
                    <a:lnTo>
                      <a:pt x="155154" y="54173"/>
                    </a:lnTo>
                    <a:lnTo>
                      <a:pt x="154607" y="53700"/>
                    </a:lnTo>
                    <a:lnTo>
                      <a:pt x="154034" y="53252"/>
                    </a:lnTo>
                    <a:lnTo>
                      <a:pt x="153438" y="52805"/>
                    </a:lnTo>
                    <a:lnTo>
                      <a:pt x="152841" y="52382"/>
                    </a:lnTo>
                    <a:lnTo>
                      <a:pt x="152244" y="51959"/>
                    </a:lnTo>
                    <a:lnTo>
                      <a:pt x="151622" y="51586"/>
                    </a:lnTo>
                    <a:lnTo>
                      <a:pt x="151000" y="51188"/>
                    </a:lnTo>
                    <a:lnTo>
                      <a:pt x="150353" y="50840"/>
                    </a:lnTo>
                    <a:lnTo>
                      <a:pt x="149707" y="50492"/>
                    </a:lnTo>
                    <a:lnTo>
                      <a:pt x="149060" y="50143"/>
                    </a:lnTo>
                    <a:lnTo>
                      <a:pt x="148388" y="49845"/>
                    </a:lnTo>
                    <a:lnTo>
                      <a:pt x="147717" y="49522"/>
                    </a:lnTo>
                    <a:lnTo>
                      <a:pt x="147045" y="49248"/>
                    </a:lnTo>
                    <a:lnTo>
                      <a:pt x="146349" y="48974"/>
                    </a:lnTo>
                    <a:lnTo>
                      <a:pt x="145652" y="48726"/>
                    </a:lnTo>
                    <a:lnTo>
                      <a:pt x="144956" y="48502"/>
                    </a:lnTo>
                    <a:lnTo>
                      <a:pt x="144235" y="48278"/>
                    </a:lnTo>
                    <a:lnTo>
                      <a:pt x="143513" y="48079"/>
                    </a:lnTo>
                    <a:lnTo>
                      <a:pt x="142792" y="47905"/>
                    </a:lnTo>
                    <a:lnTo>
                      <a:pt x="137594" y="46686"/>
                    </a:lnTo>
                    <a:lnTo>
                      <a:pt x="132072" y="45318"/>
                    </a:lnTo>
                    <a:lnTo>
                      <a:pt x="129311" y="44622"/>
                    </a:lnTo>
                    <a:lnTo>
                      <a:pt x="126551" y="43900"/>
                    </a:lnTo>
                    <a:lnTo>
                      <a:pt x="123864" y="43179"/>
                    </a:lnTo>
                    <a:lnTo>
                      <a:pt x="121278" y="42458"/>
                    </a:lnTo>
                    <a:lnTo>
                      <a:pt x="118815" y="41737"/>
                    </a:lnTo>
                    <a:lnTo>
                      <a:pt x="116552" y="41040"/>
                    </a:lnTo>
                    <a:lnTo>
                      <a:pt x="114463" y="40369"/>
                    </a:lnTo>
                    <a:lnTo>
                      <a:pt x="113517" y="40045"/>
                    </a:lnTo>
                    <a:lnTo>
                      <a:pt x="112647" y="39722"/>
                    </a:lnTo>
                    <a:lnTo>
                      <a:pt x="111826" y="39399"/>
                    </a:lnTo>
                    <a:lnTo>
                      <a:pt x="111080" y="39100"/>
                    </a:lnTo>
                    <a:lnTo>
                      <a:pt x="110433" y="38802"/>
                    </a:lnTo>
                    <a:lnTo>
                      <a:pt x="109836" y="38503"/>
                    </a:lnTo>
                    <a:lnTo>
                      <a:pt x="109364" y="38230"/>
                    </a:lnTo>
                    <a:lnTo>
                      <a:pt x="108966" y="37981"/>
                    </a:lnTo>
                    <a:lnTo>
                      <a:pt x="108643" y="37732"/>
                    </a:lnTo>
                    <a:lnTo>
                      <a:pt x="108543" y="37608"/>
                    </a:lnTo>
                    <a:lnTo>
                      <a:pt x="108444" y="37483"/>
                    </a:lnTo>
                    <a:lnTo>
                      <a:pt x="108220" y="37110"/>
                    </a:lnTo>
                    <a:lnTo>
                      <a:pt x="107996" y="36613"/>
                    </a:lnTo>
                    <a:lnTo>
                      <a:pt x="107747" y="36041"/>
                    </a:lnTo>
                    <a:lnTo>
                      <a:pt x="107523" y="35394"/>
                    </a:lnTo>
                    <a:lnTo>
                      <a:pt x="107299" y="34648"/>
                    </a:lnTo>
                    <a:lnTo>
                      <a:pt x="107051" y="33877"/>
                    </a:lnTo>
                    <a:lnTo>
                      <a:pt x="106827" y="33031"/>
                    </a:lnTo>
                    <a:lnTo>
                      <a:pt x="106603" y="32111"/>
                    </a:lnTo>
                    <a:lnTo>
                      <a:pt x="106155" y="30196"/>
                    </a:lnTo>
                    <a:lnTo>
                      <a:pt x="105732" y="28156"/>
                    </a:lnTo>
                    <a:lnTo>
                      <a:pt x="105310" y="26042"/>
                    </a:lnTo>
                    <a:lnTo>
                      <a:pt x="104912" y="23903"/>
                    </a:lnTo>
                    <a:lnTo>
                      <a:pt x="104563" y="21839"/>
                    </a:lnTo>
                    <a:lnTo>
                      <a:pt x="104240" y="19849"/>
                    </a:lnTo>
                    <a:lnTo>
                      <a:pt x="103718" y="16392"/>
                    </a:lnTo>
                    <a:lnTo>
                      <a:pt x="103370" y="14004"/>
                    </a:lnTo>
                    <a:lnTo>
                      <a:pt x="103245" y="13108"/>
                    </a:lnTo>
                    <a:lnTo>
                      <a:pt x="88844" y="8855"/>
                    </a:lnTo>
                    <a:lnTo>
                      <a:pt x="89391" y="1195"/>
                    </a:lnTo>
                    <a:lnTo>
                      <a:pt x="80164" y="1"/>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80;p15"/>
              <p:cNvSpPr/>
              <p:nvPr/>
            </p:nvSpPr>
            <p:spPr>
              <a:xfrm>
                <a:off x="1934081" y="2035016"/>
                <a:ext cx="1389207" cy="1967652"/>
              </a:xfrm>
              <a:custGeom>
                <a:avLst/>
                <a:gdLst/>
                <a:ahLst/>
                <a:cxnLst/>
                <a:rect l="l" t="t" r="r" b="b"/>
                <a:pathLst>
                  <a:path w="67380" h="95436" extrusionOk="0">
                    <a:moveTo>
                      <a:pt x="33478" y="0"/>
                    </a:moveTo>
                    <a:lnTo>
                      <a:pt x="32857" y="25"/>
                    </a:lnTo>
                    <a:lnTo>
                      <a:pt x="31862" y="75"/>
                    </a:lnTo>
                    <a:lnTo>
                      <a:pt x="30519" y="174"/>
                    </a:lnTo>
                    <a:lnTo>
                      <a:pt x="29748" y="249"/>
                    </a:lnTo>
                    <a:lnTo>
                      <a:pt x="28902" y="348"/>
                    </a:lnTo>
                    <a:lnTo>
                      <a:pt x="28006" y="497"/>
                    </a:lnTo>
                    <a:lnTo>
                      <a:pt x="27061" y="647"/>
                    </a:lnTo>
                    <a:lnTo>
                      <a:pt x="26042" y="846"/>
                    </a:lnTo>
                    <a:lnTo>
                      <a:pt x="24997" y="1070"/>
                    </a:lnTo>
                    <a:lnTo>
                      <a:pt x="23903" y="1318"/>
                    </a:lnTo>
                    <a:lnTo>
                      <a:pt x="22758" y="1617"/>
                    </a:lnTo>
                    <a:lnTo>
                      <a:pt x="21589" y="1965"/>
                    </a:lnTo>
                    <a:lnTo>
                      <a:pt x="20396" y="2363"/>
                    </a:lnTo>
                    <a:lnTo>
                      <a:pt x="19202" y="2786"/>
                    </a:lnTo>
                    <a:lnTo>
                      <a:pt x="17958" y="3283"/>
                    </a:lnTo>
                    <a:lnTo>
                      <a:pt x="16739" y="3830"/>
                    </a:lnTo>
                    <a:lnTo>
                      <a:pt x="15496" y="4427"/>
                    </a:lnTo>
                    <a:lnTo>
                      <a:pt x="14252" y="5099"/>
                    </a:lnTo>
                    <a:lnTo>
                      <a:pt x="13630" y="5447"/>
                    </a:lnTo>
                    <a:lnTo>
                      <a:pt x="13008" y="5820"/>
                    </a:lnTo>
                    <a:lnTo>
                      <a:pt x="12387" y="6193"/>
                    </a:lnTo>
                    <a:lnTo>
                      <a:pt x="11790" y="6616"/>
                    </a:lnTo>
                    <a:lnTo>
                      <a:pt x="11168" y="7014"/>
                    </a:lnTo>
                    <a:lnTo>
                      <a:pt x="10571" y="7462"/>
                    </a:lnTo>
                    <a:lnTo>
                      <a:pt x="9974" y="7909"/>
                    </a:lnTo>
                    <a:lnTo>
                      <a:pt x="9377" y="8382"/>
                    </a:lnTo>
                    <a:lnTo>
                      <a:pt x="8780" y="8879"/>
                    </a:lnTo>
                    <a:lnTo>
                      <a:pt x="8208" y="9402"/>
                    </a:lnTo>
                    <a:lnTo>
                      <a:pt x="7636" y="9924"/>
                    </a:lnTo>
                    <a:lnTo>
                      <a:pt x="7064" y="10471"/>
                    </a:lnTo>
                    <a:lnTo>
                      <a:pt x="6517" y="11043"/>
                    </a:lnTo>
                    <a:lnTo>
                      <a:pt x="5970" y="11640"/>
                    </a:lnTo>
                    <a:lnTo>
                      <a:pt x="5422" y="12237"/>
                    </a:lnTo>
                    <a:lnTo>
                      <a:pt x="4900" y="12884"/>
                    </a:lnTo>
                    <a:lnTo>
                      <a:pt x="4403" y="13531"/>
                    </a:lnTo>
                    <a:lnTo>
                      <a:pt x="3880" y="14202"/>
                    </a:lnTo>
                    <a:lnTo>
                      <a:pt x="3632" y="14774"/>
                    </a:lnTo>
                    <a:lnTo>
                      <a:pt x="3333" y="15471"/>
                    </a:lnTo>
                    <a:lnTo>
                      <a:pt x="2960" y="16466"/>
                    </a:lnTo>
                    <a:lnTo>
                      <a:pt x="2537" y="17759"/>
                    </a:lnTo>
                    <a:lnTo>
                      <a:pt x="2313" y="18505"/>
                    </a:lnTo>
                    <a:lnTo>
                      <a:pt x="2065" y="19351"/>
                    </a:lnTo>
                    <a:lnTo>
                      <a:pt x="1841" y="20246"/>
                    </a:lnTo>
                    <a:lnTo>
                      <a:pt x="1617" y="21216"/>
                    </a:lnTo>
                    <a:lnTo>
                      <a:pt x="1393" y="22261"/>
                    </a:lnTo>
                    <a:lnTo>
                      <a:pt x="1169" y="23380"/>
                    </a:lnTo>
                    <a:lnTo>
                      <a:pt x="945" y="24574"/>
                    </a:lnTo>
                    <a:lnTo>
                      <a:pt x="771" y="25842"/>
                    </a:lnTo>
                    <a:lnTo>
                      <a:pt x="572" y="27186"/>
                    </a:lnTo>
                    <a:lnTo>
                      <a:pt x="423" y="28603"/>
                    </a:lnTo>
                    <a:lnTo>
                      <a:pt x="274" y="30096"/>
                    </a:lnTo>
                    <a:lnTo>
                      <a:pt x="174" y="31663"/>
                    </a:lnTo>
                    <a:lnTo>
                      <a:pt x="75" y="33304"/>
                    </a:lnTo>
                    <a:lnTo>
                      <a:pt x="25" y="35020"/>
                    </a:lnTo>
                    <a:lnTo>
                      <a:pt x="0" y="36836"/>
                    </a:lnTo>
                    <a:lnTo>
                      <a:pt x="25" y="38701"/>
                    </a:lnTo>
                    <a:lnTo>
                      <a:pt x="75" y="40642"/>
                    </a:lnTo>
                    <a:lnTo>
                      <a:pt x="174" y="42681"/>
                    </a:lnTo>
                    <a:lnTo>
                      <a:pt x="324" y="44770"/>
                    </a:lnTo>
                    <a:lnTo>
                      <a:pt x="498" y="46959"/>
                    </a:lnTo>
                    <a:lnTo>
                      <a:pt x="746" y="49223"/>
                    </a:lnTo>
                    <a:lnTo>
                      <a:pt x="1045" y="51561"/>
                    </a:lnTo>
                    <a:lnTo>
                      <a:pt x="1468" y="59719"/>
                    </a:lnTo>
                    <a:lnTo>
                      <a:pt x="1791" y="65663"/>
                    </a:lnTo>
                    <a:lnTo>
                      <a:pt x="1915" y="67852"/>
                    </a:lnTo>
                    <a:lnTo>
                      <a:pt x="1990" y="69071"/>
                    </a:lnTo>
                    <a:lnTo>
                      <a:pt x="2065" y="69270"/>
                    </a:lnTo>
                    <a:lnTo>
                      <a:pt x="2214" y="69568"/>
                    </a:lnTo>
                    <a:lnTo>
                      <a:pt x="2438" y="69966"/>
                    </a:lnTo>
                    <a:lnTo>
                      <a:pt x="2761" y="70464"/>
                    </a:lnTo>
                    <a:lnTo>
                      <a:pt x="3607" y="71682"/>
                    </a:lnTo>
                    <a:lnTo>
                      <a:pt x="4726" y="73150"/>
                    </a:lnTo>
                    <a:lnTo>
                      <a:pt x="6044" y="74866"/>
                    </a:lnTo>
                    <a:lnTo>
                      <a:pt x="7537" y="76731"/>
                    </a:lnTo>
                    <a:lnTo>
                      <a:pt x="9153" y="78721"/>
                    </a:lnTo>
                    <a:lnTo>
                      <a:pt x="10845" y="80786"/>
                    </a:lnTo>
                    <a:lnTo>
                      <a:pt x="12611" y="82850"/>
                    </a:lnTo>
                    <a:lnTo>
                      <a:pt x="14376" y="84865"/>
                    </a:lnTo>
                    <a:lnTo>
                      <a:pt x="16093" y="86805"/>
                    </a:lnTo>
                    <a:lnTo>
                      <a:pt x="17734" y="88596"/>
                    </a:lnTo>
                    <a:lnTo>
                      <a:pt x="19251" y="90187"/>
                    </a:lnTo>
                    <a:lnTo>
                      <a:pt x="19948" y="90884"/>
                    </a:lnTo>
                    <a:lnTo>
                      <a:pt x="20619" y="91530"/>
                    </a:lnTo>
                    <a:lnTo>
                      <a:pt x="21216" y="92078"/>
                    </a:lnTo>
                    <a:lnTo>
                      <a:pt x="21764" y="92575"/>
                    </a:lnTo>
                    <a:lnTo>
                      <a:pt x="22261" y="92948"/>
                    </a:lnTo>
                    <a:lnTo>
                      <a:pt x="22684" y="93247"/>
                    </a:lnTo>
                    <a:lnTo>
                      <a:pt x="23057" y="93495"/>
                    </a:lnTo>
                    <a:lnTo>
                      <a:pt x="23480" y="93694"/>
                    </a:lnTo>
                    <a:lnTo>
                      <a:pt x="23903" y="93893"/>
                    </a:lnTo>
                    <a:lnTo>
                      <a:pt x="24325" y="94092"/>
                    </a:lnTo>
                    <a:lnTo>
                      <a:pt x="24773" y="94266"/>
                    </a:lnTo>
                    <a:lnTo>
                      <a:pt x="25221" y="94416"/>
                    </a:lnTo>
                    <a:lnTo>
                      <a:pt x="26116" y="94689"/>
                    </a:lnTo>
                    <a:lnTo>
                      <a:pt x="27036" y="94913"/>
                    </a:lnTo>
                    <a:lnTo>
                      <a:pt x="27957" y="95087"/>
                    </a:lnTo>
                    <a:lnTo>
                      <a:pt x="28852" y="95212"/>
                    </a:lnTo>
                    <a:lnTo>
                      <a:pt x="29723" y="95311"/>
                    </a:lnTo>
                    <a:lnTo>
                      <a:pt x="30543" y="95386"/>
                    </a:lnTo>
                    <a:lnTo>
                      <a:pt x="31290" y="95411"/>
                    </a:lnTo>
                    <a:lnTo>
                      <a:pt x="31961" y="95435"/>
                    </a:lnTo>
                    <a:lnTo>
                      <a:pt x="33379" y="95435"/>
                    </a:lnTo>
                    <a:lnTo>
                      <a:pt x="33702" y="95411"/>
                    </a:lnTo>
                    <a:lnTo>
                      <a:pt x="34001" y="95435"/>
                    </a:lnTo>
                    <a:lnTo>
                      <a:pt x="35418" y="95435"/>
                    </a:lnTo>
                    <a:lnTo>
                      <a:pt x="36090" y="95411"/>
                    </a:lnTo>
                    <a:lnTo>
                      <a:pt x="36861" y="95386"/>
                    </a:lnTo>
                    <a:lnTo>
                      <a:pt x="37657" y="95311"/>
                    </a:lnTo>
                    <a:lnTo>
                      <a:pt x="38527" y="95212"/>
                    </a:lnTo>
                    <a:lnTo>
                      <a:pt x="39423" y="95087"/>
                    </a:lnTo>
                    <a:lnTo>
                      <a:pt x="40343" y="94913"/>
                    </a:lnTo>
                    <a:lnTo>
                      <a:pt x="41263" y="94689"/>
                    </a:lnTo>
                    <a:lnTo>
                      <a:pt x="42184" y="94416"/>
                    </a:lnTo>
                    <a:lnTo>
                      <a:pt x="42631" y="94266"/>
                    </a:lnTo>
                    <a:lnTo>
                      <a:pt x="43054" y="94092"/>
                    </a:lnTo>
                    <a:lnTo>
                      <a:pt x="43502" y="93893"/>
                    </a:lnTo>
                    <a:lnTo>
                      <a:pt x="43925" y="93694"/>
                    </a:lnTo>
                    <a:lnTo>
                      <a:pt x="44323" y="93495"/>
                    </a:lnTo>
                    <a:lnTo>
                      <a:pt x="44721" y="93247"/>
                    </a:lnTo>
                    <a:lnTo>
                      <a:pt x="45143" y="92948"/>
                    </a:lnTo>
                    <a:lnTo>
                      <a:pt x="45616" y="92575"/>
                    </a:lnTo>
                    <a:lnTo>
                      <a:pt x="46163" y="92078"/>
                    </a:lnTo>
                    <a:lnTo>
                      <a:pt x="46785" y="91530"/>
                    </a:lnTo>
                    <a:lnTo>
                      <a:pt x="47432" y="90884"/>
                    </a:lnTo>
                    <a:lnTo>
                      <a:pt x="48128" y="90187"/>
                    </a:lnTo>
                    <a:lnTo>
                      <a:pt x="49645" y="88596"/>
                    </a:lnTo>
                    <a:lnTo>
                      <a:pt x="51287" y="86805"/>
                    </a:lnTo>
                    <a:lnTo>
                      <a:pt x="53028" y="84865"/>
                    </a:lnTo>
                    <a:lnTo>
                      <a:pt x="54769" y="82850"/>
                    </a:lnTo>
                    <a:lnTo>
                      <a:pt x="56535" y="80786"/>
                    </a:lnTo>
                    <a:lnTo>
                      <a:pt x="58251" y="78721"/>
                    </a:lnTo>
                    <a:lnTo>
                      <a:pt x="59868" y="76731"/>
                    </a:lnTo>
                    <a:lnTo>
                      <a:pt x="61360" y="74866"/>
                    </a:lnTo>
                    <a:lnTo>
                      <a:pt x="62678" y="73150"/>
                    </a:lnTo>
                    <a:lnTo>
                      <a:pt x="63773" y="71682"/>
                    </a:lnTo>
                    <a:lnTo>
                      <a:pt x="64618" y="70464"/>
                    </a:lnTo>
                    <a:lnTo>
                      <a:pt x="64942" y="69966"/>
                    </a:lnTo>
                    <a:lnTo>
                      <a:pt x="65191" y="69568"/>
                    </a:lnTo>
                    <a:lnTo>
                      <a:pt x="65340" y="69270"/>
                    </a:lnTo>
                    <a:lnTo>
                      <a:pt x="65390" y="69071"/>
                    </a:lnTo>
                    <a:lnTo>
                      <a:pt x="65489" y="67852"/>
                    </a:lnTo>
                    <a:lnTo>
                      <a:pt x="65613" y="65663"/>
                    </a:lnTo>
                    <a:lnTo>
                      <a:pt x="65937" y="59719"/>
                    </a:lnTo>
                    <a:lnTo>
                      <a:pt x="66335" y="51561"/>
                    </a:lnTo>
                    <a:lnTo>
                      <a:pt x="66633" y="49223"/>
                    </a:lnTo>
                    <a:lnTo>
                      <a:pt x="66882" y="46959"/>
                    </a:lnTo>
                    <a:lnTo>
                      <a:pt x="67081" y="44770"/>
                    </a:lnTo>
                    <a:lnTo>
                      <a:pt x="67205" y="42681"/>
                    </a:lnTo>
                    <a:lnTo>
                      <a:pt x="67305" y="40642"/>
                    </a:lnTo>
                    <a:lnTo>
                      <a:pt x="67379" y="38701"/>
                    </a:lnTo>
                    <a:lnTo>
                      <a:pt x="67379" y="36836"/>
                    </a:lnTo>
                    <a:lnTo>
                      <a:pt x="67354" y="35020"/>
                    </a:lnTo>
                    <a:lnTo>
                      <a:pt x="67305" y="33304"/>
                    </a:lnTo>
                    <a:lnTo>
                      <a:pt x="67230" y="31663"/>
                    </a:lnTo>
                    <a:lnTo>
                      <a:pt x="67106" y="30096"/>
                    </a:lnTo>
                    <a:lnTo>
                      <a:pt x="66956" y="28603"/>
                    </a:lnTo>
                    <a:lnTo>
                      <a:pt x="66807" y="27186"/>
                    </a:lnTo>
                    <a:lnTo>
                      <a:pt x="66633" y="25842"/>
                    </a:lnTo>
                    <a:lnTo>
                      <a:pt x="66434" y="24574"/>
                    </a:lnTo>
                    <a:lnTo>
                      <a:pt x="66235" y="23380"/>
                    </a:lnTo>
                    <a:lnTo>
                      <a:pt x="66011" y="22261"/>
                    </a:lnTo>
                    <a:lnTo>
                      <a:pt x="65787" y="21216"/>
                    </a:lnTo>
                    <a:lnTo>
                      <a:pt x="65539" y="20246"/>
                    </a:lnTo>
                    <a:lnTo>
                      <a:pt x="65315" y="19351"/>
                    </a:lnTo>
                    <a:lnTo>
                      <a:pt x="65091" y="18505"/>
                    </a:lnTo>
                    <a:lnTo>
                      <a:pt x="64867" y="17759"/>
                    </a:lnTo>
                    <a:lnTo>
                      <a:pt x="64444" y="16466"/>
                    </a:lnTo>
                    <a:lnTo>
                      <a:pt x="64071" y="15471"/>
                    </a:lnTo>
                    <a:lnTo>
                      <a:pt x="63773" y="14774"/>
                    </a:lnTo>
                    <a:lnTo>
                      <a:pt x="63499" y="14202"/>
                    </a:lnTo>
                    <a:lnTo>
                      <a:pt x="63002" y="13531"/>
                    </a:lnTo>
                    <a:lnTo>
                      <a:pt x="62479" y="12884"/>
                    </a:lnTo>
                    <a:lnTo>
                      <a:pt x="61957" y="12237"/>
                    </a:lnTo>
                    <a:lnTo>
                      <a:pt x="61410" y="11640"/>
                    </a:lnTo>
                    <a:lnTo>
                      <a:pt x="60888" y="11043"/>
                    </a:lnTo>
                    <a:lnTo>
                      <a:pt x="60316" y="10471"/>
                    </a:lnTo>
                    <a:lnTo>
                      <a:pt x="59744" y="9924"/>
                    </a:lnTo>
                    <a:lnTo>
                      <a:pt x="59171" y="9402"/>
                    </a:lnTo>
                    <a:lnTo>
                      <a:pt x="58599" y="8879"/>
                    </a:lnTo>
                    <a:lnTo>
                      <a:pt x="58002" y="8382"/>
                    </a:lnTo>
                    <a:lnTo>
                      <a:pt x="57430" y="7909"/>
                    </a:lnTo>
                    <a:lnTo>
                      <a:pt x="56833" y="7462"/>
                    </a:lnTo>
                    <a:lnTo>
                      <a:pt x="56212" y="7014"/>
                    </a:lnTo>
                    <a:lnTo>
                      <a:pt x="55615" y="6616"/>
                    </a:lnTo>
                    <a:lnTo>
                      <a:pt x="54993" y="6193"/>
                    </a:lnTo>
                    <a:lnTo>
                      <a:pt x="54371" y="5820"/>
                    </a:lnTo>
                    <a:lnTo>
                      <a:pt x="53774" y="5447"/>
                    </a:lnTo>
                    <a:lnTo>
                      <a:pt x="53152" y="5099"/>
                    </a:lnTo>
                    <a:lnTo>
                      <a:pt x="51909" y="4427"/>
                    </a:lnTo>
                    <a:lnTo>
                      <a:pt x="50665" y="3830"/>
                    </a:lnTo>
                    <a:lnTo>
                      <a:pt x="49422" y="3283"/>
                    </a:lnTo>
                    <a:lnTo>
                      <a:pt x="48203" y="2786"/>
                    </a:lnTo>
                    <a:lnTo>
                      <a:pt x="46984" y="2363"/>
                    </a:lnTo>
                    <a:lnTo>
                      <a:pt x="45790" y="1965"/>
                    </a:lnTo>
                    <a:lnTo>
                      <a:pt x="44621" y="1617"/>
                    </a:lnTo>
                    <a:lnTo>
                      <a:pt x="43502" y="1318"/>
                    </a:lnTo>
                    <a:lnTo>
                      <a:pt x="42408" y="1070"/>
                    </a:lnTo>
                    <a:lnTo>
                      <a:pt x="41338" y="846"/>
                    </a:lnTo>
                    <a:lnTo>
                      <a:pt x="40343" y="647"/>
                    </a:lnTo>
                    <a:lnTo>
                      <a:pt x="39373" y="497"/>
                    </a:lnTo>
                    <a:lnTo>
                      <a:pt x="38478" y="348"/>
                    </a:lnTo>
                    <a:lnTo>
                      <a:pt x="37632" y="249"/>
                    </a:lnTo>
                    <a:lnTo>
                      <a:pt x="36861" y="174"/>
                    </a:lnTo>
                    <a:lnTo>
                      <a:pt x="35543" y="75"/>
                    </a:lnTo>
                    <a:lnTo>
                      <a:pt x="34548" y="25"/>
                    </a:lnTo>
                    <a:lnTo>
                      <a:pt x="33901" y="0"/>
                    </a:lnTo>
                    <a:lnTo>
                      <a:pt x="33702" y="25"/>
                    </a:lnTo>
                    <a:lnTo>
                      <a:pt x="33478" y="0"/>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15"/>
              <p:cNvSpPr/>
              <p:nvPr/>
            </p:nvSpPr>
            <p:spPr>
              <a:xfrm>
                <a:off x="3280198" y="2814976"/>
                <a:ext cx="130777" cy="429256"/>
              </a:xfrm>
              <a:custGeom>
                <a:avLst/>
                <a:gdLst/>
                <a:ahLst/>
                <a:cxnLst/>
                <a:rect l="l" t="t" r="r" b="b"/>
                <a:pathLst>
                  <a:path w="6343" h="20820" extrusionOk="0">
                    <a:moveTo>
                      <a:pt x="3681" y="1"/>
                    </a:moveTo>
                    <a:lnTo>
                      <a:pt x="3432" y="51"/>
                    </a:lnTo>
                    <a:lnTo>
                      <a:pt x="3209" y="125"/>
                    </a:lnTo>
                    <a:lnTo>
                      <a:pt x="2960" y="250"/>
                    </a:lnTo>
                    <a:lnTo>
                      <a:pt x="2736" y="399"/>
                    </a:lnTo>
                    <a:lnTo>
                      <a:pt x="2512" y="548"/>
                    </a:lnTo>
                    <a:lnTo>
                      <a:pt x="2313" y="747"/>
                    </a:lnTo>
                    <a:lnTo>
                      <a:pt x="2089" y="946"/>
                    </a:lnTo>
                    <a:lnTo>
                      <a:pt x="1691" y="1394"/>
                    </a:lnTo>
                    <a:lnTo>
                      <a:pt x="1318" y="1891"/>
                    </a:lnTo>
                    <a:lnTo>
                      <a:pt x="995" y="2389"/>
                    </a:lnTo>
                    <a:lnTo>
                      <a:pt x="696" y="2886"/>
                    </a:lnTo>
                    <a:lnTo>
                      <a:pt x="473" y="3359"/>
                    </a:lnTo>
                    <a:lnTo>
                      <a:pt x="124" y="4080"/>
                    </a:lnTo>
                    <a:lnTo>
                      <a:pt x="0" y="4354"/>
                    </a:lnTo>
                    <a:lnTo>
                      <a:pt x="398" y="20819"/>
                    </a:lnTo>
                    <a:lnTo>
                      <a:pt x="3756" y="16964"/>
                    </a:lnTo>
                    <a:lnTo>
                      <a:pt x="3930" y="16392"/>
                    </a:lnTo>
                    <a:lnTo>
                      <a:pt x="4402" y="14900"/>
                    </a:lnTo>
                    <a:lnTo>
                      <a:pt x="4701" y="13880"/>
                    </a:lnTo>
                    <a:lnTo>
                      <a:pt x="4999" y="12736"/>
                    </a:lnTo>
                    <a:lnTo>
                      <a:pt x="5323" y="11467"/>
                    </a:lnTo>
                    <a:lnTo>
                      <a:pt x="5621" y="10149"/>
                    </a:lnTo>
                    <a:lnTo>
                      <a:pt x="5895" y="8781"/>
                    </a:lnTo>
                    <a:lnTo>
                      <a:pt x="6119" y="7413"/>
                    </a:lnTo>
                    <a:lnTo>
                      <a:pt x="6193" y="6717"/>
                    </a:lnTo>
                    <a:lnTo>
                      <a:pt x="6268" y="6070"/>
                    </a:lnTo>
                    <a:lnTo>
                      <a:pt x="6318" y="5398"/>
                    </a:lnTo>
                    <a:lnTo>
                      <a:pt x="6342" y="4776"/>
                    </a:lnTo>
                    <a:lnTo>
                      <a:pt x="6342" y="4155"/>
                    </a:lnTo>
                    <a:lnTo>
                      <a:pt x="6318" y="3583"/>
                    </a:lnTo>
                    <a:lnTo>
                      <a:pt x="6243" y="3035"/>
                    </a:lnTo>
                    <a:lnTo>
                      <a:pt x="6168" y="2513"/>
                    </a:lnTo>
                    <a:lnTo>
                      <a:pt x="6044" y="2040"/>
                    </a:lnTo>
                    <a:lnTo>
                      <a:pt x="5870" y="1618"/>
                    </a:lnTo>
                    <a:lnTo>
                      <a:pt x="5696" y="1220"/>
                    </a:lnTo>
                    <a:lnTo>
                      <a:pt x="5571" y="1046"/>
                    </a:lnTo>
                    <a:lnTo>
                      <a:pt x="5447" y="896"/>
                    </a:lnTo>
                    <a:lnTo>
                      <a:pt x="5198" y="623"/>
                    </a:lnTo>
                    <a:lnTo>
                      <a:pt x="4950" y="399"/>
                    </a:lnTo>
                    <a:lnTo>
                      <a:pt x="4676" y="225"/>
                    </a:lnTo>
                    <a:lnTo>
                      <a:pt x="4427" y="100"/>
                    </a:lnTo>
                    <a:lnTo>
                      <a:pt x="4179" y="26"/>
                    </a:lnTo>
                    <a:lnTo>
                      <a:pt x="3930" y="1"/>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82;p15"/>
              <p:cNvSpPr/>
              <p:nvPr/>
            </p:nvSpPr>
            <p:spPr>
              <a:xfrm>
                <a:off x="1846395" y="2814976"/>
                <a:ext cx="131292" cy="429256"/>
              </a:xfrm>
              <a:custGeom>
                <a:avLst/>
                <a:gdLst/>
                <a:ahLst/>
                <a:cxnLst/>
                <a:rect l="l" t="t" r="r" b="b"/>
                <a:pathLst>
                  <a:path w="6368" h="20820" extrusionOk="0">
                    <a:moveTo>
                      <a:pt x="2413" y="1"/>
                    </a:moveTo>
                    <a:lnTo>
                      <a:pt x="2164" y="26"/>
                    </a:lnTo>
                    <a:lnTo>
                      <a:pt x="1915" y="100"/>
                    </a:lnTo>
                    <a:lnTo>
                      <a:pt x="1667" y="225"/>
                    </a:lnTo>
                    <a:lnTo>
                      <a:pt x="1418" y="399"/>
                    </a:lnTo>
                    <a:lnTo>
                      <a:pt x="1169" y="623"/>
                    </a:lnTo>
                    <a:lnTo>
                      <a:pt x="895" y="896"/>
                    </a:lnTo>
                    <a:lnTo>
                      <a:pt x="771" y="1046"/>
                    </a:lnTo>
                    <a:lnTo>
                      <a:pt x="672" y="1220"/>
                    </a:lnTo>
                    <a:lnTo>
                      <a:pt x="473" y="1618"/>
                    </a:lnTo>
                    <a:lnTo>
                      <a:pt x="323" y="2040"/>
                    </a:lnTo>
                    <a:lnTo>
                      <a:pt x="199" y="2513"/>
                    </a:lnTo>
                    <a:lnTo>
                      <a:pt x="100" y="3035"/>
                    </a:lnTo>
                    <a:lnTo>
                      <a:pt x="50" y="3583"/>
                    </a:lnTo>
                    <a:lnTo>
                      <a:pt x="25" y="4155"/>
                    </a:lnTo>
                    <a:lnTo>
                      <a:pt x="0" y="4776"/>
                    </a:lnTo>
                    <a:lnTo>
                      <a:pt x="25" y="5398"/>
                    </a:lnTo>
                    <a:lnTo>
                      <a:pt x="75" y="6070"/>
                    </a:lnTo>
                    <a:lnTo>
                      <a:pt x="149" y="6717"/>
                    </a:lnTo>
                    <a:lnTo>
                      <a:pt x="224" y="7413"/>
                    </a:lnTo>
                    <a:lnTo>
                      <a:pt x="448" y="8781"/>
                    </a:lnTo>
                    <a:lnTo>
                      <a:pt x="721" y="10149"/>
                    </a:lnTo>
                    <a:lnTo>
                      <a:pt x="1020" y="11467"/>
                    </a:lnTo>
                    <a:lnTo>
                      <a:pt x="1343" y="12736"/>
                    </a:lnTo>
                    <a:lnTo>
                      <a:pt x="1642" y="13880"/>
                    </a:lnTo>
                    <a:lnTo>
                      <a:pt x="1940" y="14900"/>
                    </a:lnTo>
                    <a:lnTo>
                      <a:pt x="2413" y="16392"/>
                    </a:lnTo>
                    <a:lnTo>
                      <a:pt x="2587" y="16964"/>
                    </a:lnTo>
                    <a:lnTo>
                      <a:pt x="5945" y="20819"/>
                    </a:lnTo>
                    <a:lnTo>
                      <a:pt x="6367" y="4354"/>
                    </a:lnTo>
                    <a:lnTo>
                      <a:pt x="6243" y="4080"/>
                    </a:lnTo>
                    <a:lnTo>
                      <a:pt x="5895" y="3359"/>
                    </a:lnTo>
                    <a:lnTo>
                      <a:pt x="5646" y="2886"/>
                    </a:lnTo>
                    <a:lnTo>
                      <a:pt x="5348" y="2389"/>
                    </a:lnTo>
                    <a:lnTo>
                      <a:pt x="5024" y="1891"/>
                    </a:lnTo>
                    <a:lnTo>
                      <a:pt x="4651" y="1394"/>
                    </a:lnTo>
                    <a:lnTo>
                      <a:pt x="4253" y="946"/>
                    </a:lnTo>
                    <a:lnTo>
                      <a:pt x="4054" y="747"/>
                    </a:lnTo>
                    <a:lnTo>
                      <a:pt x="3830" y="548"/>
                    </a:lnTo>
                    <a:lnTo>
                      <a:pt x="3607" y="399"/>
                    </a:lnTo>
                    <a:lnTo>
                      <a:pt x="3383" y="250"/>
                    </a:lnTo>
                    <a:lnTo>
                      <a:pt x="3134" y="125"/>
                    </a:lnTo>
                    <a:lnTo>
                      <a:pt x="2910" y="51"/>
                    </a:lnTo>
                    <a:lnTo>
                      <a:pt x="2661" y="1"/>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15"/>
              <p:cNvSpPr/>
              <p:nvPr/>
            </p:nvSpPr>
            <p:spPr>
              <a:xfrm>
                <a:off x="2155101" y="3728805"/>
                <a:ext cx="947683" cy="464121"/>
              </a:xfrm>
              <a:custGeom>
                <a:avLst/>
                <a:gdLst/>
                <a:ahLst/>
                <a:cxnLst/>
                <a:rect l="l" t="t" r="r" b="b"/>
                <a:pathLst>
                  <a:path w="45965" h="22511" extrusionOk="0">
                    <a:moveTo>
                      <a:pt x="1294" y="1"/>
                    </a:moveTo>
                    <a:lnTo>
                      <a:pt x="697" y="3682"/>
                    </a:lnTo>
                    <a:lnTo>
                      <a:pt x="348" y="5671"/>
                    </a:lnTo>
                    <a:lnTo>
                      <a:pt x="0" y="7661"/>
                    </a:lnTo>
                    <a:lnTo>
                      <a:pt x="1766" y="9751"/>
                    </a:lnTo>
                    <a:lnTo>
                      <a:pt x="3532" y="11815"/>
                    </a:lnTo>
                    <a:lnTo>
                      <a:pt x="5273" y="13755"/>
                    </a:lnTo>
                    <a:lnTo>
                      <a:pt x="6940" y="15571"/>
                    </a:lnTo>
                    <a:lnTo>
                      <a:pt x="8482" y="17187"/>
                    </a:lnTo>
                    <a:lnTo>
                      <a:pt x="9203" y="17909"/>
                    </a:lnTo>
                    <a:lnTo>
                      <a:pt x="9875" y="18555"/>
                    </a:lnTo>
                    <a:lnTo>
                      <a:pt x="10471" y="19127"/>
                    </a:lnTo>
                    <a:lnTo>
                      <a:pt x="11044" y="19600"/>
                    </a:lnTo>
                    <a:lnTo>
                      <a:pt x="11516" y="19998"/>
                    </a:lnTo>
                    <a:lnTo>
                      <a:pt x="11964" y="20296"/>
                    </a:lnTo>
                    <a:lnTo>
                      <a:pt x="12337" y="20545"/>
                    </a:lnTo>
                    <a:lnTo>
                      <a:pt x="12760" y="20744"/>
                    </a:lnTo>
                    <a:lnTo>
                      <a:pt x="13183" y="20968"/>
                    </a:lnTo>
                    <a:lnTo>
                      <a:pt x="13605" y="21142"/>
                    </a:lnTo>
                    <a:lnTo>
                      <a:pt x="14053" y="21316"/>
                    </a:lnTo>
                    <a:lnTo>
                      <a:pt x="14501" y="21465"/>
                    </a:lnTo>
                    <a:lnTo>
                      <a:pt x="15396" y="21739"/>
                    </a:lnTo>
                    <a:lnTo>
                      <a:pt x="16316" y="21963"/>
                    </a:lnTo>
                    <a:lnTo>
                      <a:pt x="17237" y="22137"/>
                    </a:lnTo>
                    <a:lnTo>
                      <a:pt x="18132" y="22261"/>
                    </a:lnTo>
                    <a:lnTo>
                      <a:pt x="19003" y="22361"/>
                    </a:lnTo>
                    <a:lnTo>
                      <a:pt x="19823" y="22435"/>
                    </a:lnTo>
                    <a:lnTo>
                      <a:pt x="20570" y="22460"/>
                    </a:lnTo>
                    <a:lnTo>
                      <a:pt x="21241" y="22485"/>
                    </a:lnTo>
                    <a:lnTo>
                      <a:pt x="21838" y="22510"/>
                    </a:lnTo>
                    <a:lnTo>
                      <a:pt x="22659" y="22485"/>
                    </a:lnTo>
                    <a:lnTo>
                      <a:pt x="22982" y="22460"/>
                    </a:lnTo>
                    <a:lnTo>
                      <a:pt x="23281" y="22485"/>
                    </a:lnTo>
                    <a:lnTo>
                      <a:pt x="24126" y="22510"/>
                    </a:lnTo>
                    <a:lnTo>
                      <a:pt x="24698" y="22485"/>
                    </a:lnTo>
                    <a:lnTo>
                      <a:pt x="25370" y="22460"/>
                    </a:lnTo>
                    <a:lnTo>
                      <a:pt x="26141" y="22435"/>
                    </a:lnTo>
                    <a:lnTo>
                      <a:pt x="26937" y="22361"/>
                    </a:lnTo>
                    <a:lnTo>
                      <a:pt x="27807" y="22261"/>
                    </a:lnTo>
                    <a:lnTo>
                      <a:pt x="28703" y="22137"/>
                    </a:lnTo>
                    <a:lnTo>
                      <a:pt x="29623" y="21963"/>
                    </a:lnTo>
                    <a:lnTo>
                      <a:pt x="30543" y="21739"/>
                    </a:lnTo>
                    <a:lnTo>
                      <a:pt x="31464" y="21465"/>
                    </a:lnTo>
                    <a:lnTo>
                      <a:pt x="31911" y="21316"/>
                    </a:lnTo>
                    <a:lnTo>
                      <a:pt x="32334" y="21142"/>
                    </a:lnTo>
                    <a:lnTo>
                      <a:pt x="32782" y="20968"/>
                    </a:lnTo>
                    <a:lnTo>
                      <a:pt x="33205" y="20744"/>
                    </a:lnTo>
                    <a:lnTo>
                      <a:pt x="33603" y="20545"/>
                    </a:lnTo>
                    <a:lnTo>
                      <a:pt x="34001" y="20296"/>
                    </a:lnTo>
                    <a:lnTo>
                      <a:pt x="34423" y="19998"/>
                    </a:lnTo>
                    <a:lnTo>
                      <a:pt x="34921" y="19600"/>
                    </a:lnTo>
                    <a:lnTo>
                      <a:pt x="35468" y="19127"/>
                    </a:lnTo>
                    <a:lnTo>
                      <a:pt x="36090" y="18555"/>
                    </a:lnTo>
                    <a:lnTo>
                      <a:pt x="36737" y="17909"/>
                    </a:lnTo>
                    <a:lnTo>
                      <a:pt x="37458" y="17187"/>
                    </a:lnTo>
                    <a:lnTo>
                      <a:pt x="39000" y="15571"/>
                    </a:lnTo>
                    <a:lnTo>
                      <a:pt x="40666" y="13755"/>
                    </a:lnTo>
                    <a:lnTo>
                      <a:pt x="42407" y="11815"/>
                    </a:lnTo>
                    <a:lnTo>
                      <a:pt x="44173" y="9751"/>
                    </a:lnTo>
                    <a:lnTo>
                      <a:pt x="45964" y="7661"/>
                    </a:lnTo>
                    <a:lnTo>
                      <a:pt x="45591" y="5671"/>
                    </a:lnTo>
                    <a:lnTo>
                      <a:pt x="45243" y="3682"/>
                    </a:lnTo>
                    <a:lnTo>
                      <a:pt x="44646" y="1"/>
                    </a:lnTo>
                    <a:lnTo>
                      <a:pt x="43029" y="1891"/>
                    </a:lnTo>
                    <a:lnTo>
                      <a:pt x="41437" y="3707"/>
                    </a:lnTo>
                    <a:lnTo>
                      <a:pt x="39871" y="5423"/>
                    </a:lnTo>
                    <a:lnTo>
                      <a:pt x="38403" y="6990"/>
                    </a:lnTo>
                    <a:lnTo>
                      <a:pt x="37060" y="8383"/>
                    </a:lnTo>
                    <a:lnTo>
                      <a:pt x="36438" y="9004"/>
                    </a:lnTo>
                    <a:lnTo>
                      <a:pt x="35841" y="9576"/>
                    </a:lnTo>
                    <a:lnTo>
                      <a:pt x="35319" y="10049"/>
                    </a:lnTo>
                    <a:lnTo>
                      <a:pt x="34821" y="10472"/>
                    </a:lnTo>
                    <a:lnTo>
                      <a:pt x="34374" y="10820"/>
                    </a:lnTo>
                    <a:lnTo>
                      <a:pt x="34001" y="11094"/>
                    </a:lnTo>
                    <a:lnTo>
                      <a:pt x="33603" y="11342"/>
                    </a:lnTo>
                    <a:lnTo>
                      <a:pt x="33205" y="11541"/>
                    </a:lnTo>
                    <a:lnTo>
                      <a:pt x="32782" y="11740"/>
                    </a:lnTo>
                    <a:lnTo>
                      <a:pt x="32334" y="11939"/>
                    </a:lnTo>
                    <a:lnTo>
                      <a:pt x="31911" y="12113"/>
                    </a:lnTo>
                    <a:lnTo>
                      <a:pt x="31464" y="12263"/>
                    </a:lnTo>
                    <a:lnTo>
                      <a:pt x="30543" y="12536"/>
                    </a:lnTo>
                    <a:lnTo>
                      <a:pt x="29623" y="12760"/>
                    </a:lnTo>
                    <a:lnTo>
                      <a:pt x="28703" y="12934"/>
                    </a:lnTo>
                    <a:lnTo>
                      <a:pt x="27807" y="13059"/>
                    </a:lnTo>
                    <a:lnTo>
                      <a:pt x="26937" y="13158"/>
                    </a:lnTo>
                    <a:lnTo>
                      <a:pt x="26141" y="13233"/>
                    </a:lnTo>
                    <a:lnTo>
                      <a:pt x="25370" y="13258"/>
                    </a:lnTo>
                    <a:lnTo>
                      <a:pt x="24698" y="13282"/>
                    </a:lnTo>
                    <a:lnTo>
                      <a:pt x="23281" y="13282"/>
                    </a:lnTo>
                    <a:lnTo>
                      <a:pt x="22982" y="13258"/>
                    </a:lnTo>
                    <a:lnTo>
                      <a:pt x="22659" y="13282"/>
                    </a:lnTo>
                    <a:lnTo>
                      <a:pt x="21241" y="13282"/>
                    </a:lnTo>
                    <a:lnTo>
                      <a:pt x="20570" y="13258"/>
                    </a:lnTo>
                    <a:lnTo>
                      <a:pt x="19823" y="13233"/>
                    </a:lnTo>
                    <a:lnTo>
                      <a:pt x="19003" y="13158"/>
                    </a:lnTo>
                    <a:lnTo>
                      <a:pt x="18132" y="13059"/>
                    </a:lnTo>
                    <a:lnTo>
                      <a:pt x="17237" y="12934"/>
                    </a:lnTo>
                    <a:lnTo>
                      <a:pt x="16316" y="12760"/>
                    </a:lnTo>
                    <a:lnTo>
                      <a:pt x="15396" y="12536"/>
                    </a:lnTo>
                    <a:lnTo>
                      <a:pt x="14501" y="12263"/>
                    </a:lnTo>
                    <a:lnTo>
                      <a:pt x="14053" y="12113"/>
                    </a:lnTo>
                    <a:lnTo>
                      <a:pt x="13605" y="11939"/>
                    </a:lnTo>
                    <a:lnTo>
                      <a:pt x="13183" y="11740"/>
                    </a:lnTo>
                    <a:lnTo>
                      <a:pt x="12760" y="11541"/>
                    </a:lnTo>
                    <a:lnTo>
                      <a:pt x="12337" y="11342"/>
                    </a:lnTo>
                    <a:lnTo>
                      <a:pt x="11964" y="11094"/>
                    </a:lnTo>
                    <a:lnTo>
                      <a:pt x="11566" y="10820"/>
                    </a:lnTo>
                    <a:lnTo>
                      <a:pt x="11143" y="10472"/>
                    </a:lnTo>
                    <a:lnTo>
                      <a:pt x="10646" y="10049"/>
                    </a:lnTo>
                    <a:lnTo>
                      <a:pt x="10098" y="9576"/>
                    </a:lnTo>
                    <a:lnTo>
                      <a:pt x="9526" y="9004"/>
                    </a:lnTo>
                    <a:lnTo>
                      <a:pt x="8880" y="8383"/>
                    </a:lnTo>
                    <a:lnTo>
                      <a:pt x="7537" y="6990"/>
                    </a:lnTo>
                    <a:lnTo>
                      <a:pt x="6069" y="5423"/>
                    </a:lnTo>
                    <a:lnTo>
                      <a:pt x="4527" y="3707"/>
                    </a:lnTo>
                    <a:lnTo>
                      <a:pt x="2910" y="1891"/>
                    </a:lnTo>
                    <a:lnTo>
                      <a:pt x="129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15"/>
              <p:cNvSpPr/>
              <p:nvPr/>
            </p:nvSpPr>
            <p:spPr>
              <a:xfrm>
                <a:off x="2097661" y="2136021"/>
                <a:ext cx="1062049" cy="738993"/>
              </a:xfrm>
              <a:custGeom>
                <a:avLst/>
                <a:gdLst/>
                <a:ahLst/>
                <a:cxnLst/>
                <a:rect l="l" t="t" r="r" b="b"/>
                <a:pathLst>
                  <a:path w="51512" h="35843" extrusionOk="0">
                    <a:moveTo>
                      <a:pt x="24450" y="1"/>
                    </a:moveTo>
                    <a:lnTo>
                      <a:pt x="23530" y="51"/>
                    </a:lnTo>
                    <a:lnTo>
                      <a:pt x="22410" y="125"/>
                    </a:lnTo>
                    <a:lnTo>
                      <a:pt x="21067" y="274"/>
                    </a:lnTo>
                    <a:lnTo>
                      <a:pt x="20346" y="399"/>
                    </a:lnTo>
                    <a:lnTo>
                      <a:pt x="19600" y="523"/>
                    </a:lnTo>
                    <a:lnTo>
                      <a:pt x="18804" y="672"/>
                    </a:lnTo>
                    <a:lnTo>
                      <a:pt x="17983" y="847"/>
                    </a:lnTo>
                    <a:lnTo>
                      <a:pt x="17162" y="1046"/>
                    </a:lnTo>
                    <a:lnTo>
                      <a:pt x="16292" y="1269"/>
                    </a:lnTo>
                    <a:lnTo>
                      <a:pt x="15421" y="1543"/>
                    </a:lnTo>
                    <a:lnTo>
                      <a:pt x="14526" y="1841"/>
                    </a:lnTo>
                    <a:lnTo>
                      <a:pt x="13606" y="2190"/>
                    </a:lnTo>
                    <a:lnTo>
                      <a:pt x="12710" y="2563"/>
                    </a:lnTo>
                    <a:lnTo>
                      <a:pt x="11790" y="2986"/>
                    </a:lnTo>
                    <a:lnTo>
                      <a:pt x="10895" y="3433"/>
                    </a:lnTo>
                    <a:lnTo>
                      <a:pt x="9974" y="3931"/>
                    </a:lnTo>
                    <a:lnTo>
                      <a:pt x="9079" y="4478"/>
                    </a:lnTo>
                    <a:lnTo>
                      <a:pt x="8208" y="5100"/>
                    </a:lnTo>
                    <a:lnTo>
                      <a:pt x="7338" y="5746"/>
                    </a:lnTo>
                    <a:lnTo>
                      <a:pt x="6492" y="6443"/>
                    </a:lnTo>
                    <a:lnTo>
                      <a:pt x="5671" y="7189"/>
                    </a:lnTo>
                    <a:lnTo>
                      <a:pt x="5273" y="7587"/>
                    </a:lnTo>
                    <a:lnTo>
                      <a:pt x="4875" y="8010"/>
                    </a:lnTo>
                    <a:lnTo>
                      <a:pt x="4478" y="8433"/>
                    </a:lnTo>
                    <a:lnTo>
                      <a:pt x="4104" y="8880"/>
                    </a:lnTo>
                    <a:lnTo>
                      <a:pt x="3731" y="9328"/>
                    </a:lnTo>
                    <a:lnTo>
                      <a:pt x="3383" y="9801"/>
                    </a:lnTo>
                    <a:lnTo>
                      <a:pt x="3010" y="10298"/>
                    </a:lnTo>
                    <a:lnTo>
                      <a:pt x="2687" y="10796"/>
                    </a:lnTo>
                    <a:lnTo>
                      <a:pt x="2339" y="11318"/>
                    </a:lnTo>
                    <a:lnTo>
                      <a:pt x="2040" y="11865"/>
                    </a:lnTo>
                    <a:lnTo>
                      <a:pt x="1717" y="12412"/>
                    </a:lnTo>
                    <a:lnTo>
                      <a:pt x="1418" y="12984"/>
                    </a:lnTo>
                    <a:lnTo>
                      <a:pt x="1070" y="13755"/>
                    </a:lnTo>
                    <a:lnTo>
                      <a:pt x="772" y="14502"/>
                    </a:lnTo>
                    <a:lnTo>
                      <a:pt x="523" y="15273"/>
                    </a:lnTo>
                    <a:lnTo>
                      <a:pt x="299" y="16019"/>
                    </a:lnTo>
                    <a:lnTo>
                      <a:pt x="150" y="16765"/>
                    </a:lnTo>
                    <a:lnTo>
                      <a:pt x="50" y="17536"/>
                    </a:lnTo>
                    <a:lnTo>
                      <a:pt x="1" y="18282"/>
                    </a:lnTo>
                    <a:lnTo>
                      <a:pt x="25" y="19028"/>
                    </a:lnTo>
                    <a:lnTo>
                      <a:pt x="75" y="19774"/>
                    </a:lnTo>
                    <a:lnTo>
                      <a:pt x="175" y="20496"/>
                    </a:lnTo>
                    <a:lnTo>
                      <a:pt x="324" y="21242"/>
                    </a:lnTo>
                    <a:lnTo>
                      <a:pt x="548" y="21963"/>
                    </a:lnTo>
                    <a:lnTo>
                      <a:pt x="796" y="22685"/>
                    </a:lnTo>
                    <a:lnTo>
                      <a:pt x="1120" y="23431"/>
                    </a:lnTo>
                    <a:lnTo>
                      <a:pt x="1468" y="24127"/>
                    </a:lnTo>
                    <a:lnTo>
                      <a:pt x="1891" y="24848"/>
                    </a:lnTo>
                    <a:lnTo>
                      <a:pt x="2289" y="25445"/>
                    </a:lnTo>
                    <a:lnTo>
                      <a:pt x="2687" y="26017"/>
                    </a:lnTo>
                    <a:lnTo>
                      <a:pt x="3134" y="26589"/>
                    </a:lnTo>
                    <a:lnTo>
                      <a:pt x="3607" y="27162"/>
                    </a:lnTo>
                    <a:lnTo>
                      <a:pt x="4129" y="27709"/>
                    </a:lnTo>
                    <a:lnTo>
                      <a:pt x="4652" y="28231"/>
                    </a:lnTo>
                    <a:lnTo>
                      <a:pt x="5199" y="28753"/>
                    </a:lnTo>
                    <a:lnTo>
                      <a:pt x="5796" y="29251"/>
                    </a:lnTo>
                    <a:lnTo>
                      <a:pt x="6393" y="29748"/>
                    </a:lnTo>
                    <a:lnTo>
                      <a:pt x="7039" y="30221"/>
                    </a:lnTo>
                    <a:lnTo>
                      <a:pt x="7686" y="30669"/>
                    </a:lnTo>
                    <a:lnTo>
                      <a:pt x="8358" y="31116"/>
                    </a:lnTo>
                    <a:lnTo>
                      <a:pt x="9054" y="31564"/>
                    </a:lnTo>
                    <a:lnTo>
                      <a:pt x="9750" y="31962"/>
                    </a:lnTo>
                    <a:lnTo>
                      <a:pt x="10472" y="32360"/>
                    </a:lnTo>
                    <a:lnTo>
                      <a:pt x="11218" y="32733"/>
                    </a:lnTo>
                    <a:lnTo>
                      <a:pt x="11989" y="33081"/>
                    </a:lnTo>
                    <a:lnTo>
                      <a:pt x="12760" y="33429"/>
                    </a:lnTo>
                    <a:lnTo>
                      <a:pt x="13556" y="33753"/>
                    </a:lnTo>
                    <a:lnTo>
                      <a:pt x="14352" y="34051"/>
                    </a:lnTo>
                    <a:lnTo>
                      <a:pt x="15148" y="34325"/>
                    </a:lnTo>
                    <a:lnTo>
                      <a:pt x="15969" y="34574"/>
                    </a:lnTo>
                    <a:lnTo>
                      <a:pt x="16814" y="34797"/>
                    </a:lnTo>
                    <a:lnTo>
                      <a:pt x="17635" y="35021"/>
                    </a:lnTo>
                    <a:lnTo>
                      <a:pt x="18481" y="35195"/>
                    </a:lnTo>
                    <a:lnTo>
                      <a:pt x="19326" y="35369"/>
                    </a:lnTo>
                    <a:lnTo>
                      <a:pt x="20197" y="35519"/>
                    </a:lnTo>
                    <a:lnTo>
                      <a:pt x="21042" y="35618"/>
                    </a:lnTo>
                    <a:lnTo>
                      <a:pt x="21888" y="35718"/>
                    </a:lnTo>
                    <a:lnTo>
                      <a:pt x="22759" y="35792"/>
                    </a:lnTo>
                    <a:lnTo>
                      <a:pt x="23629" y="35817"/>
                    </a:lnTo>
                    <a:lnTo>
                      <a:pt x="24475" y="35842"/>
                    </a:lnTo>
                    <a:lnTo>
                      <a:pt x="25097" y="35817"/>
                    </a:lnTo>
                    <a:lnTo>
                      <a:pt x="25694" y="35817"/>
                    </a:lnTo>
                    <a:lnTo>
                      <a:pt x="25768" y="35792"/>
                    </a:lnTo>
                    <a:lnTo>
                      <a:pt x="25843" y="35817"/>
                    </a:lnTo>
                    <a:lnTo>
                      <a:pt x="26440" y="35817"/>
                    </a:lnTo>
                    <a:lnTo>
                      <a:pt x="27037" y="35842"/>
                    </a:lnTo>
                    <a:lnTo>
                      <a:pt x="27907" y="35817"/>
                    </a:lnTo>
                    <a:lnTo>
                      <a:pt x="28753" y="35792"/>
                    </a:lnTo>
                    <a:lnTo>
                      <a:pt x="29623" y="35718"/>
                    </a:lnTo>
                    <a:lnTo>
                      <a:pt x="30469" y="35618"/>
                    </a:lnTo>
                    <a:lnTo>
                      <a:pt x="31340" y="35519"/>
                    </a:lnTo>
                    <a:lnTo>
                      <a:pt x="32185" y="35369"/>
                    </a:lnTo>
                    <a:lnTo>
                      <a:pt x="33031" y="35195"/>
                    </a:lnTo>
                    <a:lnTo>
                      <a:pt x="33877" y="35021"/>
                    </a:lnTo>
                    <a:lnTo>
                      <a:pt x="34722" y="34797"/>
                    </a:lnTo>
                    <a:lnTo>
                      <a:pt x="35543" y="34574"/>
                    </a:lnTo>
                    <a:lnTo>
                      <a:pt x="36364" y="34325"/>
                    </a:lnTo>
                    <a:lnTo>
                      <a:pt x="37185" y="34051"/>
                    </a:lnTo>
                    <a:lnTo>
                      <a:pt x="37981" y="33753"/>
                    </a:lnTo>
                    <a:lnTo>
                      <a:pt x="38752" y="33429"/>
                    </a:lnTo>
                    <a:lnTo>
                      <a:pt x="39523" y="33081"/>
                    </a:lnTo>
                    <a:lnTo>
                      <a:pt x="40294" y="32733"/>
                    </a:lnTo>
                    <a:lnTo>
                      <a:pt x="41040" y="32360"/>
                    </a:lnTo>
                    <a:lnTo>
                      <a:pt x="41761" y="31962"/>
                    </a:lnTo>
                    <a:lnTo>
                      <a:pt x="42482" y="31564"/>
                    </a:lnTo>
                    <a:lnTo>
                      <a:pt x="43179" y="31116"/>
                    </a:lnTo>
                    <a:lnTo>
                      <a:pt x="43850" y="30693"/>
                    </a:lnTo>
                    <a:lnTo>
                      <a:pt x="44497" y="30221"/>
                    </a:lnTo>
                    <a:lnTo>
                      <a:pt x="45119" y="29748"/>
                    </a:lnTo>
                    <a:lnTo>
                      <a:pt x="45716" y="29251"/>
                    </a:lnTo>
                    <a:lnTo>
                      <a:pt x="46313" y="28753"/>
                    </a:lnTo>
                    <a:lnTo>
                      <a:pt x="46860" y="28231"/>
                    </a:lnTo>
                    <a:lnTo>
                      <a:pt x="47407" y="27709"/>
                    </a:lnTo>
                    <a:lnTo>
                      <a:pt x="47905" y="27162"/>
                    </a:lnTo>
                    <a:lnTo>
                      <a:pt x="48377" y="26589"/>
                    </a:lnTo>
                    <a:lnTo>
                      <a:pt x="48825" y="26017"/>
                    </a:lnTo>
                    <a:lnTo>
                      <a:pt x="49248" y="25445"/>
                    </a:lnTo>
                    <a:lnTo>
                      <a:pt x="49621" y="24848"/>
                    </a:lnTo>
                    <a:lnTo>
                      <a:pt x="50044" y="24152"/>
                    </a:lnTo>
                    <a:lnTo>
                      <a:pt x="50417" y="23431"/>
                    </a:lnTo>
                    <a:lnTo>
                      <a:pt x="50715" y="22709"/>
                    </a:lnTo>
                    <a:lnTo>
                      <a:pt x="50989" y="21963"/>
                    </a:lnTo>
                    <a:lnTo>
                      <a:pt x="51188" y="21242"/>
                    </a:lnTo>
                    <a:lnTo>
                      <a:pt x="51337" y="20496"/>
                    </a:lnTo>
                    <a:lnTo>
                      <a:pt x="51461" y="19774"/>
                    </a:lnTo>
                    <a:lnTo>
                      <a:pt x="51511" y="19028"/>
                    </a:lnTo>
                    <a:lnTo>
                      <a:pt x="51511" y="18282"/>
                    </a:lnTo>
                    <a:lnTo>
                      <a:pt x="51461" y="17536"/>
                    </a:lnTo>
                    <a:lnTo>
                      <a:pt x="51362" y="16765"/>
                    </a:lnTo>
                    <a:lnTo>
                      <a:pt x="51213" y="16019"/>
                    </a:lnTo>
                    <a:lnTo>
                      <a:pt x="51014" y="15273"/>
                    </a:lnTo>
                    <a:lnTo>
                      <a:pt x="50765" y="14502"/>
                    </a:lnTo>
                    <a:lnTo>
                      <a:pt x="50442" y="13755"/>
                    </a:lnTo>
                    <a:lnTo>
                      <a:pt x="50093" y="12984"/>
                    </a:lnTo>
                    <a:lnTo>
                      <a:pt x="49795" y="12412"/>
                    </a:lnTo>
                    <a:lnTo>
                      <a:pt x="49496" y="11865"/>
                    </a:lnTo>
                    <a:lnTo>
                      <a:pt x="49173" y="11318"/>
                    </a:lnTo>
                    <a:lnTo>
                      <a:pt x="48850" y="10796"/>
                    </a:lnTo>
                    <a:lnTo>
                      <a:pt x="48502" y="10298"/>
                    </a:lnTo>
                    <a:lnTo>
                      <a:pt x="48153" y="9801"/>
                    </a:lnTo>
                    <a:lnTo>
                      <a:pt x="47780" y="9328"/>
                    </a:lnTo>
                    <a:lnTo>
                      <a:pt x="47407" y="8880"/>
                    </a:lnTo>
                    <a:lnTo>
                      <a:pt x="47034" y="8433"/>
                    </a:lnTo>
                    <a:lnTo>
                      <a:pt x="46661" y="8010"/>
                    </a:lnTo>
                    <a:lnTo>
                      <a:pt x="46263" y="7587"/>
                    </a:lnTo>
                    <a:lnTo>
                      <a:pt x="45865" y="7189"/>
                    </a:lnTo>
                    <a:lnTo>
                      <a:pt x="45044" y="6443"/>
                    </a:lnTo>
                    <a:lnTo>
                      <a:pt x="44174" y="5746"/>
                    </a:lnTo>
                    <a:lnTo>
                      <a:pt x="43328" y="5100"/>
                    </a:lnTo>
                    <a:lnTo>
                      <a:pt x="42433" y="4478"/>
                    </a:lnTo>
                    <a:lnTo>
                      <a:pt x="41537" y="3931"/>
                    </a:lnTo>
                    <a:lnTo>
                      <a:pt x="40642" y="3433"/>
                    </a:lnTo>
                    <a:lnTo>
                      <a:pt x="39722" y="2986"/>
                    </a:lnTo>
                    <a:lnTo>
                      <a:pt x="38826" y="2563"/>
                    </a:lnTo>
                    <a:lnTo>
                      <a:pt x="37906" y="2190"/>
                    </a:lnTo>
                    <a:lnTo>
                      <a:pt x="37011" y="1841"/>
                    </a:lnTo>
                    <a:lnTo>
                      <a:pt x="36115" y="1543"/>
                    </a:lnTo>
                    <a:lnTo>
                      <a:pt x="35220" y="1269"/>
                    </a:lnTo>
                    <a:lnTo>
                      <a:pt x="34374" y="1046"/>
                    </a:lnTo>
                    <a:lnTo>
                      <a:pt x="33528" y="847"/>
                    </a:lnTo>
                    <a:lnTo>
                      <a:pt x="32708" y="672"/>
                    </a:lnTo>
                    <a:lnTo>
                      <a:pt x="31912" y="523"/>
                    </a:lnTo>
                    <a:lnTo>
                      <a:pt x="31166" y="399"/>
                    </a:lnTo>
                    <a:lnTo>
                      <a:pt x="30444" y="274"/>
                    </a:lnTo>
                    <a:lnTo>
                      <a:pt x="29126" y="125"/>
                    </a:lnTo>
                    <a:lnTo>
                      <a:pt x="27982" y="51"/>
                    </a:lnTo>
                    <a:lnTo>
                      <a:pt x="27062"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15"/>
              <p:cNvSpPr/>
              <p:nvPr/>
            </p:nvSpPr>
            <p:spPr>
              <a:xfrm>
                <a:off x="2636107" y="2307826"/>
                <a:ext cx="421030" cy="461028"/>
              </a:xfrm>
              <a:custGeom>
                <a:avLst/>
                <a:gdLst/>
                <a:ahLst/>
                <a:cxnLst/>
                <a:rect l="l" t="t" r="r" b="b"/>
                <a:pathLst>
                  <a:path w="20421" h="22361" extrusionOk="0">
                    <a:moveTo>
                      <a:pt x="14874" y="0"/>
                    </a:moveTo>
                    <a:lnTo>
                      <a:pt x="14899" y="274"/>
                    </a:lnTo>
                    <a:lnTo>
                      <a:pt x="14899" y="572"/>
                    </a:lnTo>
                    <a:lnTo>
                      <a:pt x="14874" y="871"/>
                    </a:lnTo>
                    <a:lnTo>
                      <a:pt x="14799" y="1144"/>
                    </a:lnTo>
                    <a:lnTo>
                      <a:pt x="14725" y="1443"/>
                    </a:lnTo>
                    <a:lnTo>
                      <a:pt x="14625" y="1716"/>
                    </a:lnTo>
                    <a:lnTo>
                      <a:pt x="14526" y="1965"/>
                    </a:lnTo>
                    <a:lnTo>
                      <a:pt x="14377" y="2214"/>
                    </a:lnTo>
                    <a:lnTo>
                      <a:pt x="14153" y="2537"/>
                    </a:lnTo>
                    <a:lnTo>
                      <a:pt x="14775" y="2736"/>
                    </a:lnTo>
                    <a:lnTo>
                      <a:pt x="15347" y="2960"/>
                    </a:lnTo>
                    <a:lnTo>
                      <a:pt x="15919" y="3258"/>
                    </a:lnTo>
                    <a:lnTo>
                      <a:pt x="16441" y="3582"/>
                    </a:lnTo>
                    <a:lnTo>
                      <a:pt x="16938" y="3930"/>
                    </a:lnTo>
                    <a:lnTo>
                      <a:pt x="17411" y="4328"/>
                    </a:lnTo>
                    <a:lnTo>
                      <a:pt x="17834" y="4751"/>
                    </a:lnTo>
                    <a:lnTo>
                      <a:pt x="18207" y="5223"/>
                    </a:lnTo>
                    <a:lnTo>
                      <a:pt x="18257" y="5348"/>
                    </a:lnTo>
                    <a:lnTo>
                      <a:pt x="18257" y="5472"/>
                    </a:lnTo>
                    <a:lnTo>
                      <a:pt x="18232" y="5596"/>
                    </a:lnTo>
                    <a:lnTo>
                      <a:pt x="18132" y="5721"/>
                    </a:lnTo>
                    <a:lnTo>
                      <a:pt x="18033" y="5771"/>
                    </a:lnTo>
                    <a:lnTo>
                      <a:pt x="17834" y="5771"/>
                    </a:lnTo>
                    <a:lnTo>
                      <a:pt x="17759" y="5746"/>
                    </a:lnTo>
                    <a:lnTo>
                      <a:pt x="17685" y="5696"/>
                    </a:lnTo>
                    <a:lnTo>
                      <a:pt x="17635" y="5621"/>
                    </a:lnTo>
                    <a:lnTo>
                      <a:pt x="17262" y="5198"/>
                    </a:lnTo>
                    <a:lnTo>
                      <a:pt x="16864" y="4776"/>
                    </a:lnTo>
                    <a:lnTo>
                      <a:pt x="16416" y="4403"/>
                    </a:lnTo>
                    <a:lnTo>
                      <a:pt x="15919" y="4079"/>
                    </a:lnTo>
                    <a:lnTo>
                      <a:pt x="15396" y="3781"/>
                    </a:lnTo>
                    <a:lnTo>
                      <a:pt x="14849" y="3507"/>
                    </a:lnTo>
                    <a:lnTo>
                      <a:pt x="14252" y="3308"/>
                    </a:lnTo>
                    <a:lnTo>
                      <a:pt x="13655" y="3134"/>
                    </a:lnTo>
                    <a:lnTo>
                      <a:pt x="13158" y="3607"/>
                    </a:lnTo>
                    <a:lnTo>
                      <a:pt x="12660" y="4079"/>
                    </a:lnTo>
                    <a:lnTo>
                      <a:pt x="12461" y="4253"/>
                    </a:lnTo>
                    <a:lnTo>
                      <a:pt x="11989" y="4676"/>
                    </a:lnTo>
                    <a:lnTo>
                      <a:pt x="11566" y="5149"/>
                    </a:lnTo>
                    <a:lnTo>
                      <a:pt x="11367" y="5373"/>
                    </a:lnTo>
                    <a:lnTo>
                      <a:pt x="11168" y="5646"/>
                    </a:lnTo>
                    <a:lnTo>
                      <a:pt x="11019" y="5895"/>
                    </a:lnTo>
                    <a:lnTo>
                      <a:pt x="10895" y="6169"/>
                    </a:lnTo>
                    <a:lnTo>
                      <a:pt x="10820" y="6367"/>
                    </a:lnTo>
                    <a:lnTo>
                      <a:pt x="10770" y="6591"/>
                    </a:lnTo>
                    <a:lnTo>
                      <a:pt x="10696" y="7014"/>
                    </a:lnTo>
                    <a:lnTo>
                      <a:pt x="10646" y="7462"/>
                    </a:lnTo>
                    <a:lnTo>
                      <a:pt x="10621" y="7934"/>
                    </a:lnTo>
                    <a:lnTo>
                      <a:pt x="10621" y="8009"/>
                    </a:lnTo>
                    <a:lnTo>
                      <a:pt x="11143" y="8059"/>
                    </a:lnTo>
                    <a:lnTo>
                      <a:pt x="11666" y="8158"/>
                    </a:lnTo>
                    <a:lnTo>
                      <a:pt x="12188" y="8332"/>
                    </a:lnTo>
                    <a:lnTo>
                      <a:pt x="12660" y="8531"/>
                    </a:lnTo>
                    <a:lnTo>
                      <a:pt x="13108" y="8805"/>
                    </a:lnTo>
                    <a:lnTo>
                      <a:pt x="13506" y="9103"/>
                    </a:lnTo>
                    <a:lnTo>
                      <a:pt x="13705" y="9278"/>
                    </a:lnTo>
                    <a:lnTo>
                      <a:pt x="13879" y="9477"/>
                    </a:lnTo>
                    <a:lnTo>
                      <a:pt x="14053" y="9651"/>
                    </a:lnTo>
                    <a:lnTo>
                      <a:pt x="14203" y="9874"/>
                    </a:lnTo>
                    <a:lnTo>
                      <a:pt x="14277" y="9999"/>
                    </a:lnTo>
                    <a:lnTo>
                      <a:pt x="14277" y="10123"/>
                    </a:lnTo>
                    <a:lnTo>
                      <a:pt x="14227" y="10272"/>
                    </a:lnTo>
                    <a:lnTo>
                      <a:pt x="14128" y="10372"/>
                    </a:lnTo>
                    <a:lnTo>
                      <a:pt x="14028" y="10422"/>
                    </a:lnTo>
                    <a:lnTo>
                      <a:pt x="13854" y="10422"/>
                    </a:lnTo>
                    <a:lnTo>
                      <a:pt x="13755" y="10397"/>
                    </a:lnTo>
                    <a:lnTo>
                      <a:pt x="13705" y="10347"/>
                    </a:lnTo>
                    <a:lnTo>
                      <a:pt x="13630" y="10272"/>
                    </a:lnTo>
                    <a:lnTo>
                      <a:pt x="13357" y="9949"/>
                    </a:lnTo>
                    <a:lnTo>
                      <a:pt x="13034" y="9651"/>
                    </a:lnTo>
                    <a:lnTo>
                      <a:pt x="12685" y="9377"/>
                    </a:lnTo>
                    <a:lnTo>
                      <a:pt x="12312" y="9153"/>
                    </a:lnTo>
                    <a:lnTo>
                      <a:pt x="11914" y="8979"/>
                    </a:lnTo>
                    <a:lnTo>
                      <a:pt x="11467" y="8855"/>
                    </a:lnTo>
                    <a:lnTo>
                      <a:pt x="11044" y="8755"/>
                    </a:lnTo>
                    <a:lnTo>
                      <a:pt x="10571" y="8705"/>
                    </a:lnTo>
                    <a:lnTo>
                      <a:pt x="10546" y="9054"/>
                    </a:lnTo>
                    <a:lnTo>
                      <a:pt x="10472" y="9427"/>
                    </a:lnTo>
                    <a:lnTo>
                      <a:pt x="10397" y="9750"/>
                    </a:lnTo>
                    <a:lnTo>
                      <a:pt x="10273" y="10049"/>
                    </a:lnTo>
                    <a:lnTo>
                      <a:pt x="10123" y="10347"/>
                    </a:lnTo>
                    <a:lnTo>
                      <a:pt x="9949" y="10646"/>
                    </a:lnTo>
                    <a:lnTo>
                      <a:pt x="9750" y="10919"/>
                    </a:lnTo>
                    <a:lnTo>
                      <a:pt x="9527" y="11193"/>
                    </a:lnTo>
                    <a:lnTo>
                      <a:pt x="9278" y="11466"/>
                    </a:lnTo>
                    <a:lnTo>
                      <a:pt x="9029" y="11715"/>
                    </a:lnTo>
                    <a:lnTo>
                      <a:pt x="9228" y="12063"/>
                    </a:lnTo>
                    <a:lnTo>
                      <a:pt x="9452" y="12411"/>
                    </a:lnTo>
                    <a:lnTo>
                      <a:pt x="9726" y="12735"/>
                    </a:lnTo>
                    <a:lnTo>
                      <a:pt x="10024" y="13033"/>
                    </a:lnTo>
                    <a:lnTo>
                      <a:pt x="10347" y="13332"/>
                    </a:lnTo>
                    <a:lnTo>
                      <a:pt x="10696" y="13580"/>
                    </a:lnTo>
                    <a:lnTo>
                      <a:pt x="11069" y="13829"/>
                    </a:lnTo>
                    <a:lnTo>
                      <a:pt x="11467" y="14028"/>
                    </a:lnTo>
                    <a:lnTo>
                      <a:pt x="11591" y="14128"/>
                    </a:lnTo>
                    <a:lnTo>
                      <a:pt x="11666" y="14252"/>
                    </a:lnTo>
                    <a:lnTo>
                      <a:pt x="11666" y="14376"/>
                    </a:lnTo>
                    <a:lnTo>
                      <a:pt x="11641" y="14526"/>
                    </a:lnTo>
                    <a:lnTo>
                      <a:pt x="11591" y="14600"/>
                    </a:lnTo>
                    <a:lnTo>
                      <a:pt x="11516" y="14675"/>
                    </a:lnTo>
                    <a:lnTo>
                      <a:pt x="11417" y="14700"/>
                    </a:lnTo>
                    <a:lnTo>
                      <a:pt x="11317" y="14725"/>
                    </a:lnTo>
                    <a:lnTo>
                      <a:pt x="11243" y="14700"/>
                    </a:lnTo>
                    <a:lnTo>
                      <a:pt x="11168" y="14675"/>
                    </a:lnTo>
                    <a:lnTo>
                      <a:pt x="10745" y="14451"/>
                    </a:lnTo>
                    <a:lnTo>
                      <a:pt x="10322" y="14202"/>
                    </a:lnTo>
                    <a:lnTo>
                      <a:pt x="9949" y="13904"/>
                    </a:lnTo>
                    <a:lnTo>
                      <a:pt x="9576" y="13605"/>
                    </a:lnTo>
                    <a:lnTo>
                      <a:pt x="9253" y="13257"/>
                    </a:lnTo>
                    <a:lnTo>
                      <a:pt x="8954" y="12909"/>
                    </a:lnTo>
                    <a:lnTo>
                      <a:pt x="8681" y="12536"/>
                    </a:lnTo>
                    <a:lnTo>
                      <a:pt x="8457" y="12138"/>
                    </a:lnTo>
                    <a:lnTo>
                      <a:pt x="8159" y="12337"/>
                    </a:lnTo>
                    <a:lnTo>
                      <a:pt x="7835" y="12511"/>
                    </a:lnTo>
                    <a:lnTo>
                      <a:pt x="7537" y="12660"/>
                    </a:lnTo>
                    <a:lnTo>
                      <a:pt x="7213" y="12785"/>
                    </a:lnTo>
                    <a:lnTo>
                      <a:pt x="6865" y="12909"/>
                    </a:lnTo>
                    <a:lnTo>
                      <a:pt x="6517" y="13008"/>
                    </a:lnTo>
                    <a:lnTo>
                      <a:pt x="6169" y="13083"/>
                    </a:lnTo>
                    <a:lnTo>
                      <a:pt x="5821" y="13133"/>
                    </a:lnTo>
                    <a:lnTo>
                      <a:pt x="5721" y="13307"/>
                    </a:lnTo>
                    <a:lnTo>
                      <a:pt x="5597" y="13481"/>
                    </a:lnTo>
                    <a:lnTo>
                      <a:pt x="5447" y="13655"/>
                    </a:lnTo>
                    <a:lnTo>
                      <a:pt x="5298" y="13804"/>
                    </a:lnTo>
                    <a:lnTo>
                      <a:pt x="5124" y="13954"/>
                    </a:lnTo>
                    <a:lnTo>
                      <a:pt x="4950" y="14103"/>
                    </a:lnTo>
                    <a:lnTo>
                      <a:pt x="4751" y="14227"/>
                    </a:lnTo>
                    <a:lnTo>
                      <a:pt x="4527" y="14327"/>
                    </a:lnTo>
                    <a:lnTo>
                      <a:pt x="4104" y="14501"/>
                    </a:lnTo>
                    <a:lnTo>
                      <a:pt x="3632" y="14625"/>
                    </a:lnTo>
                    <a:lnTo>
                      <a:pt x="3134" y="14700"/>
                    </a:lnTo>
                    <a:lnTo>
                      <a:pt x="2612" y="14725"/>
                    </a:lnTo>
                    <a:lnTo>
                      <a:pt x="2139" y="14725"/>
                    </a:lnTo>
                    <a:lnTo>
                      <a:pt x="1791" y="14700"/>
                    </a:lnTo>
                    <a:lnTo>
                      <a:pt x="1443" y="14650"/>
                    </a:lnTo>
                    <a:lnTo>
                      <a:pt x="1145" y="14575"/>
                    </a:lnTo>
                    <a:lnTo>
                      <a:pt x="821" y="14501"/>
                    </a:lnTo>
                    <a:lnTo>
                      <a:pt x="548" y="14401"/>
                    </a:lnTo>
                    <a:lnTo>
                      <a:pt x="274" y="14277"/>
                    </a:lnTo>
                    <a:lnTo>
                      <a:pt x="0" y="14153"/>
                    </a:lnTo>
                    <a:lnTo>
                      <a:pt x="0" y="14501"/>
                    </a:lnTo>
                    <a:lnTo>
                      <a:pt x="0" y="14849"/>
                    </a:lnTo>
                    <a:lnTo>
                      <a:pt x="25" y="15222"/>
                    </a:lnTo>
                    <a:lnTo>
                      <a:pt x="75" y="15570"/>
                    </a:lnTo>
                    <a:lnTo>
                      <a:pt x="150" y="15918"/>
                    </a:lnTo>
                    <a:lnTo>
                      <a:pt x="175" y="15943"/>
                    </a:lnTo>
                    <a:lnTo>
                      <a:pt x="349" y="16192"/>
                    </a:lnTo>
                    <a:lnTo>
                      <a:pt x="523" y="16441"/>
                    </a:lnTo>
                    <a:lnTo>
                      <a:pt x="722" y="16640"/>
                    </a:lnTo>
                    <a:lnTo>
                      <a:pt x="946" y="16864"/>
                    </a:lnTo>
                    <a:lnTo>
                      <a:pt x="1169" y="17038"/>
                    </a:lnTo>
                    <a:lnTo>
                      <a:pt x="1393" y="17212"/>
                    </a:lnTo>
                    <a:lnTo>
                      <a:pt x="1642" y="17386"/>
                    </a:lnTo>
                    <a:lnTo>
                      <a:pt x="1891" y="17510"/>
                    </a:lnTo>
                    <a:lnTo>
                      <a:pt x="2139" y="17635"/>
                    </a:lnTo>
                    <a:lnTo>
                      <a:pt x="2388" y="17734"/>
                    </a:lnTo>
                    <a:lnTo>
                      <a:pt x="2662" y="17834"/>
                    </a:lnTo>
                    <a:lnTo>
                      <a:pt x="2910" y="17883"/>
                    </a:lnTo>
                    <a:lnTo>
                      <a:pt x="3184" y="17933"/>
                    </a:lnTo>
                    <a:lnTo>
                      <a:pt x="3458" y="17958"/>
                    </a:lnTo>
                    <a:lnTo>
                      <a:pt x="4129" y="17958"/>
                    </a:lnTo>
                    <a:lnTo>
                      <a:pt x="4229" y="18033"/>
                    </a:lnTo>
                    <a:lnTo>
                      <a:pt x="4328" y="18132"/>
                    </a:lnTo>
                    <a:lnTo>
                      <a:pt x="4378" y="18256"/>
                    </a:lnTo>
                    <a:lnTo>
                      <a:pt x="4353" y="18406"/>
                    </a:lnTo>
                    <a:lnTo>
                      <a:pt x="4303" y="18530"/>
                    </a:lnTo>
                    <a:lnTo>
                      <a:pt x="4204" y="18605"/>
                    </a:lnTo>
                    <a:lnTo>
                      <a:pt x="4055" y="18654"/>
                    </a:lnTo>
                    <a:lnTo>
                      <a:pt x="3607" y="18679"/>
                    </a:lnTo>
                    <a:lnTo>
                      <a:pt x="3209" y="18654"/>
                    </a:lnTo>
                    <a:lnTo>
                      <a:pt x="2836" y="18605"/>
                    </a:lnTo>
                    <a:lnTo>
                      <a:pt x="2463" y="18530"/>
                    </a:lnTo>
                    <a:lnTo>
                      <a:pt x="2115" y="18406"/>
                    </a:lnTo>
                    <a:lnTo>
                      <a:pt x="1741" y="18256"/>
                    </a:lnTo>
                    <a:lnTo>
                      <a:pt x="1393" y="18082"/>
                    </a:lnTo>
                    <a:lnTo>
                      <a:pt x="1070" y="17859"/>
                    </a:lnTo>
                    <a:lnTo>
                      <a:pt x="747" y="17610"/>
                    </a:lnTo>
                    <a:lnTo>
                      <a:pt x="995" y="18107"/>
                    </a:lnTo>
                    <a:lnTo>
                      <a:pt x="1294" y="18555"/>
                    </a:lnTo>
                    <a:lnTo>
                      <a:pt x="1617" y="19003"/>
                    </a:lnTo>
                    <a:lnTo>
                      <a:pt x="1965" y="19425"/>
                    </a:lnTo>
                    <a:lnTo>
                      <a:pt x="2363" y="19823"/>
                    </a:lnTo>
                    <a:lnTo>
                      <a:pt x="2786" y="20197"/>
                    </a:lnTo>
                    <a:lnTo>
                      <a:pt x="3234" y="20570"/>
                    </a:lnTo>
                    <a:lnTo>
                      <a:pt x="3706" y="20893"/>
                    </a:lnTo>
                    <a:lnTo>
                      <a:pt x="4179" y="21191"/>
                    </a:lnTo>
                    <a:lnTo>
                      <a:pt x="4701" y="21465"/>
                    </a:lnTo>
                    <a:lnTo>
                      <a:pt x="5248" y="21689"/>
                    </a:lnTo>
                    <a:lnTo>
                      <a:pt x="5796" y="21888"/>
                    </a:lnTo>
                    <a:lnTo>
                      <a:pt x="6368" y="22062"/>
                    </a:lnTo>
                    <a:lnTo>
                      <a:pt x="6940" y="22211"/>
                    </a:lnTo>
                    <a:lnTo>
                      <a:pt x="7562" y="22286"/>
                    </a:lnTo>
                    <a:lnTo>
                      <a:pt x="8159" y="22360"/>
                    </a:lnTo>
                    <a:lnTo>
                      <a:pt x="8208" y="22360"/>
                    </a:lnTo>
                    <a:lnTo>
                      <a:pt x="8034" y="22211"/>
                    </a:lnTo>
                    <a:lnTo>
                      <a:pt x="7885" y="22087"/>
                    </a:lnTo>
                    <a:lnTo>
                      <a:pt x="7711" y="21838"/>
                    </a:lnTo>
                    <a:lnTo>
                      <a:pt x="7562" y="21589"/>
                    </a:lnTo>
                    <a:lnTo>
                      <a:pt x="7462" y="21341"/>
                    </a:lnTo>
                    <a:lnTo>
                      <a:pt x="7388" y="21067"/>
                    </a:lnTo>
                    <a:lnTo>
                      <a:pt x="7338" y="20793"/>
                    </a:lnTo>
                    <a:lnTo>
                      <a:pt x="7338" y="20520"/>
                    </a:lnTo>
                    <a:lnTo>
                      <a:pt x="7363" y="20246"/>
                    </a:lnTo>
                    <a:lnTo>
                      <a:pt x="7437" y="19973"/>
                    </a:lnTo>
                    <a:lnTo>
                      <a:pt x="7512" y="19848"/>
                    </a:lnTo>
                    <a:lnTo>
                      <a:pt x="7611" y="19749"/>
                    </a:lnTo>
                    <a:lnTo>
                      <a:pt x="7736" y="19724"/>
                    </a:lnTo>
                    <a:lnTo>
                      <a:pt x="7810" y="19724"/>
                    </a:lnTo>
                    <a:lnTo>
                      <a:pt x="7885" y="19749"/>
                    </a:lnTo>
                    <a:lnTo>
                      <a:pt x="8009" y="19799"/>
                    </a:lnTo>
                    <a:lnTo>
                      <a:pt x="8084" y="19923"/>
                    </a:lnTo>
                    <a:lnTo>
                      <a:pt x="8134" y="20047"/>
                    </a:lnTo>
                    <a:lnTo>
                      <a:pt x="8109" y="20172"/>
                    </a:lnTo>
                    <a:lnTo>
                      <a:pt x="8059" y="20371"/>
                    </a:lnTo>
                    <a:lnTo>
                      <a:pt x="8059" y="20545"/>
                    </a:lnTo>
                    <a:lnTo>
                      <a:pt x="8059" y="20744"/>
                    </a:lnTo>
                    <a:lnTo>
                      <a:pt x="8084" y="20918"/>
                    </a:lnTo>
                    <a:lnTo>
                      <a:pt x="8134" y="21117"/>
                    </a:lnTo>
                    <a:lnTo>
                      <a:pt x="8208" y="21291"/>
                    </a:lnTo>
                    <a:lnTo>
                      <a:pt x="8308" y="21440"/>
                    </a:lnTo>
                    <a:lnTo>
                      <a:pt x="8432" y="21614"/>
                    </a:lnTo>
                    <a:lnTo>
                      <a:pt x="8606" y="21788"/>
                    </a:lnTo>
                    <a:lnTo>
                      <a:pt x="8780" y="21913"/>
                    </a:lnTo>
                    <a:lnTo>
                      <a:pt x="8954" y="22012"/>
                    </a:lnTo>
                    <a:lnTo>
                      <a:pt x="9153" y="22112"/>
                    </a:lnTo>
                    <a:lnTo>
                      <a:pt x="9352" y="22161"/>
                    </a:lnTo>
                    <a:lnTo>
                      <a:pt x="9551" y="22211"/>
                    </a:lnTo>
                    <a:lnTo>
                      <a:pt x="9900" y="22261"/>
                    </a:lnTo>
                    <a:lnTo>
                      <a:pt x="10621" y="22137"/>
                    </a:lnTo>
                    <a:lnTo>
                      <a:pt x="11292" y="21962"/>
                    </a:lnTo>
                    <a:lnTo>
                      <a:pt x="11989" y="21739"/>
                    </a:lnTo>
                    <a:lnTo>
                      <a:pt x="12636" y="21490"/>
                    </a:lnTo>
                    <a:lnTo>
                      <a:pt x="13282" y="21191"/>
                    </a:lnTo>
                    <a:lnTo>
                      <a:pt x="13879" y="20843"/>
                    </a:lnTo>
                    <a:lnTo>
                      <a:pt x="14476" y="20445"/>
                    </a:lnTo>
                    <a:lnTo>
                      <a:pt x="15023" y="20022"/>
                    </a:lnTo>
                    <a:lnTo>
                      <a:pt x="14650" y="19948"/>
                    </a:lnTo>
                    <a:lnTo>
                      <a:pt x="14277" y="19873"/>
                    </a:lnTo>
                    <a:lnTo>
                      <a:pt x="13904" y="19749"/>
                    </a:lnTo>
                    <a:lnTo>
                      <a:pt x="13556" y="19624"/>
                    </a:lnTo>
                    <a:lnTo>
                      <a:pt x="13232" y="19450"/>
                    </a:lnTo>
                    <a:lnTo>
                      <a:pt x="12909" y="19251"/>
                    </a:lnTo>
                    <a:lnTo>
                      <a:pt x="12611" y="19052"/>
                    </a:lnTo>
                    <a:lnTo>
                      <a:pt x="12337" y="18804"/>
                    </a:lnTo>
                    <a:lnTo>
                      <a:pt x="12262" y="18704"/>
                    </a:lnTo>
                    <a:lnTo>
                      <a:pt x="12238" y="18555"/>
                    </a:lnTo>
                    <a:lnTo>
                      <a:pt x="12262" y="18431"/>
                    </a:lnTo>
                    <a:lnTo>
                      <a:pt x="12337" y="18306"/>
                    </a:lnTo>
                    <a:lnTo>
                      <a:pt x="12437" y="18232"/>
                    </a:lnTo>
                    <a:lnTo>
                      <a:pt x="12586" y="18207"/>
                    </a:lnTo>
                    <a:lnTo>
                      <a:pt x="12710" y="18232"/>
                    </a:lnTo>
                    <a:lnTo>
                      <a:pt x="12835" y="18281"/>
                    </a:lnTo>
                    <a:lnTo>
                      <a:pt x="13133" y="18555"/>
                    </a:lnTo>
                    <a:lnTo>
                      <a:pt x="13481" y="18779"/>
                    </a:lnTo>
                    <a:lnTo>
                      <a:pt x="13854" y="18953"/>
                    </a:lnTo>
                    <a:lnTo>
                      <a:pt x="14252" y="19127"/>
                    </a:lnTo>
                    <a:lnTo>
                      <a:pt x="14650" y="19227"/>
                    </a:lnTo>
                    <a:lnTo>
                      <a:pt x="15073" y="19326"/>
                    </a:lnTo>
                    <a:lnTo>
                      <a:pt x="15521" y="19351"/>
                    </a:lnTo>
                    <a:lnTo>
                      <a:pt x="16068" y="19351"/>
                    </a:lnTo>
                    <a:lnTo>
                      <a:pt x="16416" y="19227"/>
                    </a:lnTo>
                    <a:lnTo>
                      <a:pt x="16789" y="19077"/>
                    </a:lnTo>
                    <a:lnTo>
                      <a:pt x="17137" y="18903"/>
                    </a:lnTo>
                    <a:lnTo>
                      <a:pt x="17461" y="18704"/>
                    </a:lnTo>
                    <a:lnTo>
                      <a:pt x="17784" y="18505"/>
                    </a:lnTo>
                    <a:lnTo>
                      <a:pt x="18083" y="18306"/>
                    </a:lnTo>
                    <a:lnTo>
                      <a:pt x="18381" y="18058"/>
                    </a:lnTo>
                    <a:lnTo>
                      <a:pt x="18655" y="17834"/>
                    </a:lnTo>
                    <a:lnTo>
                      <a:pt x="18903" y="17560"/>
                    </a:lnTo>
                    <a:lnTo>
                      <a:pt x="19152" y="17311"/>
                    </a:lnTo>
                    <a:lnTo>
                      <a:pt x="19351" y="17038"/>
                    </a:lnTo>
                    <a:lnTo>
                      <a:pt x="19575" y="16739"/>
                    </a:lnTo>
                    <a:lnTo>
                      <a:pt x="19749" y="16441"/>
                    </a:lnTo>
                    <a:lnTo>
                      <a:pt x="19923" y="16142"/>
                    </a:lnTo>
                    <a:lnTo>
                      <a:pt x="20048" y="15819"/>
                    </a:lnTo>
                    <a:lnTo>
                      <a:pt x="20172" y="15496"/>
                    </a:lnTo>
                    <a:lnTo>
                      <a:pt x="20246" y="15247"/>
                    </a:lnTo>
                    <a:lnTo>
                      <a:pt x="20321" y="14998"/>
                    </a:lnTo>
                    <a:lnTo>
                      <a:pt x="20396" y="14476"/>
                    </a:lnTo>
                    <a:lnTo>
                      <a:pt x="20147" y="14700"/>
                    </a:lnTo>
                    <a:lnTo>
                      <a:pt x="19849" y="14899"/>
                    </a:lnTo>
                    <a:lnTo>
                      <a:pt x="19525" y="15098"/>
                    </a:lnTo>
                    <a:lnTo>
                      <a:pt x="19202" y="15247"/>
                    </a:lnTo>
                    <a:lnTo>
                      <a:pt x="18754" y="15421"/>
                    </a:lnTo>
                    <a:lnTo>
                      <a:pt x="18306" y="15521"/>
                    </a:lnTo>
                    <a:lnTo>
                      <a:pt x="17859" y="15595"/>
                    </a:lnTo>
                    <a:lnTo>
                      <a:pt x="17386" y="15620"/>
                    </a:lnTo>
                    <a:lnTo>
                      <a:pt x="17113" y="15620"/>
                    </a:lnTo>
                    <a:lnTo>
                      <a:pt x="16814" y="15570"/>
                    </a:lnTo>
                    <a:lnTo>
                      <a:pt x="16516" y="15545"/>
                    </a:lnTo>
                    <a:lnTo>
                      <a:pt x="16242" y="15471"/>
                    </a:lnTo>
                    <a:lnTo>
                      <a:pt x="16118" y="15396"/>
                    </a:lnTo>
                    <a:lnTo>
                      <a:pt x="16018" y="15297"/>
                    </a:lnTo>
                    <a:lnTo>
                      <a:pt x="15968" y="15172"/>
                    </a:lnTo>
                    <a:lnTo>
                      <a:pt x="15993" y="15023"/>
                    </a:lnTo>
                    <a:lnTo>
                      <a:pt x="16043" y="14899"/>
                    </a:lnTo>
                    <a:lnTo>
                      <a:pt x="16143" y="14824"/>
                    </a:lnTo>
                    <a:lnTo>
                      <a:pt x="16267" y="14774"/>
                    </a:lnTo>
                    <a:lnTo>
                      <a:pt x="16416" y="14774"/>
                    </a:lnTo>
                    <a:lnTo>
                      <a:pt x="16739" y="14849"/>
                    </a:lnTo>
                    <a:lnTo>
                      <a:pt x="17038" y="14899"/>
                    </a:lnTo>
                    <a:lnTo>
                      <a:pt x="17685" y="14899"/>
                    </a:lnTo>
                    <a:lnTo>
                      <a:pt x="18008" y="14849"/>
                    </a:lnTo>
                    <a:lnTo>
                      <a:pt x="18306" y="14799"/>
                    </a:lnTo>
                    <a:lnTo>
                      <a:pt x="18605" y="14700"/>
                    </a:lnTo>
                    <a:lnTo>
                      <a:pt x="18903" y="14600"/>
                    </a:lnTo>
                    <a:lnTo>
                      <a:pt x="19177" y="14476"/>
                    </a:lnTo>
                    <a:lnTo>
                      <a:pt x="19426" y="14327"/>
                    </a:lnTo>
                    <a:lnTo>
                      <a:pt x="19650" y="14177"/>
                    </a:lnTo>
                    <a:lnTo>
                      <a:pt x="19849" y="14003"/>
                    </a:lnTo>
                    <a:lnTo>
                      <a:pt x="20023" y="13829"/>
                    </a:lnTo>
                    <a:lnTo>
                      <a:pt x="20172" y="13630"/>
                    </a:lnTo>
                    <a:lnTo>
                      <a:pt x="20321" y="13431"/>
                    </a:lnTo>
                    <a:lnTo>
                      <a:pt x="20421" y="13232"/>
                    </a:lnTo>
                    <a:lnTo>
                      <a:pt x="20371" y="12834"/>
                    </a:lnTo>
                    <a:lnTo>
                      <a:pt x="20271" y="12461"/>
                    </a:lnTo>
                    <a:lnTo>
                      <a:pt x="20172" y="12088"/>
                    </a:lnTo>
                    <a:lnTo>
                      <a:pt x="20023" y="11740"/>
                    </a:lnTo>
                    <a:lnTo>
                      <a:pt x="19873" y="11392"/>
                    </a:lnTo>
                    <a:lnTo>
                      <a:pt x="19674" y="11068"/>
                    </a:lnTo>
                    <a:lnTo>
                      <a:pt x="19475" y="10745"/>
                    </a:lnTo>
                    <a:lnTo>
                      <a:pt x="19227" y="10422"/>
                    </a:lnTo>
                    <a:lnTo>
                      <a:pt x="18729" y="11019"/>
                    </a:lnTo>
                    <a:lnTo>
                      <a:pt x="18456" y="11292"/>
                    </a:lnTo>
                    <a:lnTo>
                      <a:pt x="18157" y="11591"/>
                    </a:lnTo>
                    <a:lnTo>
                      <a:pt x="17834" y="11839"/>
                    </a:lnTo>
                    <a:lnTo>
                      <a:pt x="17511" y="12088"/>
                    </a:lnTo>
                    <a:lnTo>
                      <a:pt x="17162" y="12312"/>
                    </a:lnTo>
                    <a:lnTo>
                      <a:pt x="16764" y="12511"/>
                    </a:lnTo>
                    <a:lnTo>
                      <a:pt x="16317" y="12685"/>
                    </a:lnTo>
                    <a:lnTo>
                      <a:pt x="15819" y="12834"/>
                    </a:lnTo>
                    <a:lnTo>
                      <a:pt x="15297" y="12934"/>
                    </a:lnTo>
                    <a:lnTo>
                      <a:pt x="15048" y="12959"/>
                    </a:lnTo>
                    <a:lnTo>
                      <a:pt x="14675" y="12959"/>
                    </a:lnTo>
                    <a:lnTo>
                      <a:pt x="14650" y="13332"/>
                    </a:lnTo>
                    <a:lnTo>
                      <a:pt x="14600" y="13705"/>
                    </a:lnTo>
                    <a:lnTo>
                      <a:pt x="14501" y="14078"/>
                    </a:lnTo>
                    <a:lnTo>
                      <a:pt x="14377" y="14451"/>
                    </a:lnTo>
                    <a:lnTo>
                      <a:pt x="14203" y="14799"/>
                    </a:lnTo>
                    <a:lnTo>
                      <a:pt x="14004" y="15147"/>
                    </a:lnTo>
                    <a:lnTo>
                      <a:pt x="13780" y="15471"/>
                    </a:lnTo>
                    <a:lnTo>
                      <a:pt x="13531" y="15794"/>
                    </a:lnTo>
                    <a:lnTo>
                      <a:pt x="13730" y="15943"/>
                    </a:lnTo>
                    <a:lnTo>
                      <a:pt x="13979" y="16117"/>
                    </a:lnTo>
                    <a:lnTo>
                      <a:pt x="14227" y="16267"/>
                    </a:lnTo>
                    <a:lnTo>
                      <a:pt x="14501" y="16391"/>
                    </a:lnTo>
                    <a:lnTo>
                      <a:pt x="14775" y="16491"/>
                    </a:lnTo>
                    <a:lnTo>
                      <a:pt x="15048" y="16590"/>
                    </a:lnTo>
                    <a:lnTo>
                      <a:pt x="15347" y="16665"/>
                    </a:lnTo>
                    <a:lnTo>
                      <a:pt x="15645" y="16714"/>
                    </a:lnTo>
                    <a:lnTo>
                      <a:pt x="15769" y="16764"/>
                    </a:lnTo>
                    <a:lnTo>
                      <a:pt x="15869" y="16839"/>
                    </a:lnTo>
                    <a:lnTo>
                      <a:pt x="15919" y="16963"/>
                    </a:lnTo>
                    <a:lnTo>
                      <a:pt x="15944" y="17112"/>
                    </a:lnTo>
                    <a:lnTo>
                      <a:pt x="15894" y="17237"/>
                    </a:lnTo>
                    <a:lnTo>
                      <a:pt x="15819" y="17336"/>
                    </a:lnTo>
                    <a:lnTo>
                      <a:pt x="15720" y="17386"/>
                    </a:lnTo>
                    <a:lnTo>
                      <a:pt x="15595" y="17411"/>
                    </a:lnTo>
                    <a:lnTo>
                      <a:pt x="15546" y="17411"/>
                    </a:lnTo>
                    <a:lnTo>
                      <a:pt x="15173" y="17361"/>
                    </a:lnTo>
                    <a:lnTo>
                      <a:pt x="14824" y="17262"/>
                    </a:lnTo>
                    <a:lnTo>
                      <a:pt x="14476" y="17162"/>
                    </a:lnTo>
                    <a:lnTo>
                      <a:pt x="14153" y="17013"/>
                    </a:lnTo>
                    <a:lnTo>
                      <a:pt x="13854" y="16864"/>
                    </a:lnTo>
                    <a:lnTo>
                      <a:pt x="13556" y="16690"/>
                    </a:lnTo>
                    <a:lnTo>
                      <a:pt x="13257" y="16491"/>
                    </a:lnTo>
                    <a:lnTo>
                      <a:pt x="13009" y="16267"/>
                    </a:lnTo>
                    <a:lnTo>
                      <a:pt x="12611" y="16565"/>
                    </a:lnTo>
                    <a:lnTo>
                      <a:pt x="12213" y="16814"/>
                    </a:lnTo>
                    <a:lnTo>
                      <a:pt x="11790" y="17013"/>
                    </a:lnTo>
                    <a:lnTo>
                      <a:pt x="11342" y="17212"/>
                    </a:lnTo>
                    <a:lnTo>
                      <a:pt x="10870" y="17336"/>
                    </a:lnTo>
                    <a:lnTo>
                      <a:pt x="10397" y="17436"/>
                    </a:lnTo>
                    <a:lnTo>
                      <a:pt x="10273" y="17660"/>
                    </a:lnTo>
                    <a:lnTo>
                      <a:pt x="10173" y="17883"/>
                    </a:lnTo>
                    <a:lnTo>
                      <a:pt x="10123" y="18132"/>
                    </a:lnTo>
                    <a:lnTo>
                      <a:pt x="10099" y="18381"/>
                    </a:lnTo>
                    <a:lnTo>
                      <a:pt x="10123" y="18630"/>
                    </a:lnTo>
                    <a:lnTo>
                      <a:pt x="10198" y="18853"/>
                    </a:lnTo>
                    <a:lnTo>
                      <a:pt x="10298" y="19077"/>
                    </a:lnTo>
                    <a:lnTo>
                      <a:pt x="10447" y="19301"/>
                    </a:lnTo>
                    <a:lnTo>
                      <a:pt x="10521" y="19425"/>
                    </a:lnTo>
                    <a:lnTo>
                      <a:pt x="10521" y="19550"/>
                    </a:lnTo>
                    <a:lnTo>
                      <a:pt x="10497" y="19699"/>
                    </a:lnTo>
                    <a:lnTo>
                      <a:pt x="10397" y="19799"/>
                    </a:lnTo>
                    <a:lnTo>
                      <a:pt x="10298" y="19873"/>
                    </a:lnTo>
                    <a:lnTo>
                      <a:pt x="10099" y="19873"/>
                    </a:lnTo>
                    <a:lnTo>
                      <a:pt x="10024" y="19848"/>
                    </a:lnTo>
                    <a:lnTo>
                      <a:pt x="9974" y="19823"/>
                    </a:lnTo>
                    <a:lnTo>
                      <a:pt x="9900" y="19749"/>
                    </a:lnTo>
                    <a:lnTo>
                      <a:pt x="9726" y="19525"/>
                    </a:lnTo>
                    <a:lnTo>
                      <a:pt x="9601" y="19251"/>
                    </a:lnTo>
                    <a:lnTo>
                      <a:pt x="9477" y="18978"/>
                    </a:lnTo>
                    <a:lnTo>
                      <a:pt x="9427" y="18704"/>
                    </a:lnTo>
                    <a:lnTo>
                      <a:pt x="9402" y="18431"/>
                    </a:lnTo>
                    <a:lnTo>
                      <a:pt x="9402" y="18132"/>
                    </a:lnTo>
                    <a:lnTo>
                      <a:pt x="9452" y="17859"/>
                    </a:lnTo>
                    <a:lnTo>
                      <a:pt x="9527" y="17585"/>
                    </a:lnTo>
                    <a:lnTo>
                      <a:pt x="9527" y="17585"/>
                    </a:lnTo>
                    <a:lnTo>
                      <a:pt x="9352" y="17610"/>
                    </a:lnTo>
                    <a:lnTo>
                      <a:pt x="8581" y="17734"/>
                    </a:lnTo>
                    <a:lnTo>
                      <a:pt x="8208" y="17784"/>
                    </a:lnTo>
                    <a:lnTo>
                      <a:pt x="7835" y="17883"/>
                    </a:lnTo>
                    <a:lnTo>
                      <a:pt x="7487" y="17983"/>
                    </a:lnTo>
                    <a:lnTo>
                      <a:pt x="7114" y="18132"/>
                    </a:lnTo>
                    <a:lnTo>
                      <a:pt x="6766" y="18306"/>
                    </a:lnTo>
                    <a:lnTo>
                      <a:pt x="6467" y="18530"/>
                    </a:lnTo>
                    <a:lnTo>
                      <a:pt x="6194" y="18754"/>
                    </a:lnTo>
                    <a:lnTo>
                      <a:pt x="6094" y="18878"/>
                    </a:lnTo>
                    <a:lnTo>
                      <a:pt x="5995" y="19028"/>
                    </a:lnTo>
                    <a:lnTo>
                      <a:pt x="5920" y="19152"/>
                    </a:lnTo>
                    <a:lnTo>
                      <a:pt x="5845" y="19301"/>
                    </a:lnTo>
                    <a:lnTo>
                      <a:pt x="5821" y="19450"/>
                    </a:lnTo>
                    <a:lnTo>
                      <a:pt x="5796" y="19600"/>
                    </a:lnTo>
                    <a:lnTo>
                      <a:pt x="5771" y="19724"/>
                    </a:lnTo>
                    <a:lnTo>
                      <a:pt x="5696" y="19848"/>
                    </a:lnTo>
                    <a:lnTo>
                      <a:pt x="5572" y="19923"/>
                    </a:lnTo>
                    <a:lnTo>
                      <a:pt x="5447" y="19948"/>
                    </a:lnTo>
                    <a:lnTo>
                      <a:pt x="5423" y="19948"/>
                    </a:lnTo>
                    <a:lnTo>
                      <a:pt x="5298" y="19898"/>
                    </a:lnTo>
                    <a:lnTo>
                      <a:pt x="5174" y="19823"/>
                    </a:lnTo>
                    <a:lnTo>
                      <a:pt x="5099" y="19724"/>
                    </a:lnTo>
                    <a:lnTo>
                      <a:pt x="5099" y="19575"/>
                    </a:lnTo>
                    <a:lnTo>
                      <a:pt x="5099" y="19376"/>
                    </a:lnTo>
                    <a:lnTo>
                      <a:pt x="5149" y="19177"/>
                    </a:lnTo>
                    <a:lnTo>
                      <a:pt x="5199" y="19003"/>
                    </a:lnTo>
                    <a:lnTo>
                      <a:pt x="5273" y="18829"/>
                    </a:lnTo>
                    <a:lnTo>
                      <a:pt x="5373" y="18654"/>
                    </a:lnTo>
                    <a:lnTo>
                      <a:pt x="5497" y="18505"/>
                    </a:lnTo>
                    <a:lnTo>
                      <a:pt x="5622" y="18356"/>
                    </a:lnTo>
                    <a:lnTo>
                      <a:pt x="5746" y="18207"/>
                    </a:lnTo>
                    <a:lnTo>
                      <a:pt x="6044" y="17933"/>
                    </a:lnTo>
                    <a:lnTo>
                      <a:pt x="6393" y="17709"/>
                    </a:lnTo>
                    <a:lnTo>
                      <a:pt x="6766" y="17510"/>
                    </a:lnTo>
                    <a:lnTo>
                      <a:pt x="7139" y="17361"/>
                    </a:lnTo>
                    <a:lnTo>
                      <a:pt x="6865" y="17237"/>
                    </a:lnTo>
                    <a:lnTo>
                      <a:pt x="6517" y="17087"/>
                    </a:lnTo>
                    <a:lnTo>
                      <a:pt x="6268" y="16938"/>
                    </a:lnTo>
                    <a:lnTo>
                      <a:pt x="6020" y="16789"/>
                    </a:lnTo>
                    <a:lnTo>
                      <a:pt x="5796" y="16590"/>
                    </a:lnTo>
                    <a:lnTo>
                      <a:pt x="5572" y="16391"/>
                    </a:lnTo>
                    <a:lnTo>
                      <a:pt x="5373" y="16167"/>
                    </a:lnTo>
                    <a:lnTo>
                      <a:pt x="5199" y="15943"/>
                    </a:lnTo>
                    <a:lnTo>
                      <a:pt x="5050" y="15695"/>
                    </a:lnTo>
                    <a:lnTo>
                      <a:pt x="4950" y="15471"/>
                    </a:lnTo>
                    <a:lnTo>
                      <a:pt x="4925" y="15322"/>
                    </a:lnTo>
                    <a:lnTo>
                      <a:pt x="4950" y="15197"/>
                    </a:lnTo>
                    <a:lnTo>
                      <a:pt x="5025" y="15073"/>
                    </a:lnTo>
                    <a:lnTo>
                      <a:pt x="5149" y="14998"/>
                    </a:lnTo>
                    <a:lnTo>
                      <a:pt x="5298" y="14973"/>
                    </a:lnTo>
                    <a:lnTo>
                      <a:pt x="5423" y="14998"/>
                    </a:lnTo>
                    <a:lnTo>
                      <a:pt x="5547" y="15098"/>
                    </a:lnTo>
                    <a:lnTo>
                      <a:pt x="5622" y="15197"/>
                    </a:lnTo>
                    <a:lnTo>
                      <a:pt x="5696" y="15396"/>
                    </a:lnTo>
                    <a:lnTo>
                      <a:pt x="5796" y="15570"/>
                    </a:lnTo>
                    <a:lnTo>
                      <a:pt x="5945" y="15744"/>
                    </a:lnTo>
                    <a:lnTo>
                      <a:pt x="6094" y="15894"/>
                    </a:lnTo>
                    <a:lnTo>
                      <a:pt x="6268" y="16068"/>
                    </a:lnTo>
                    <a:lnTo>
                      <a:pt x="6442" y="16217"/>
                    </a:lnTo>
                    <a:lnTo>
                      <a:pt x="6641" y="16341"/>
                    </a:lnTo>
                    <a:lnTo>
                      <a:pt x="6840" y="16441"/>
                    </a:lnTo>
                    <a:lnTo>
                      <a:pt x="7213" y="16615"/>
                    </a:lnTo>
                    <a:lnTo>
                      <a:pt x="7537" y="16739"/>
                    </a:lnTo>
                    <a:lnTo>
                      <a:pt x="7910" y="16839"/>
                    </a:lnTo>
                    <a:lnTo>
                      <a:pt x="8457" y="16963"/>
                    </a:lnTo>
                    <a:lnTo>
                      <a:pt x="8557" y="17013"/>
                    </a:lnTo>
                    <a:lnTo>
                      <a:pt x="9253" y="16889"/>
                    </a:lnTo>
                    <a:lnTo>
                      <a:pt x="10198" y="16739"/>
                    </a:lnTo>
                    <a:lnTo>
                      <a:pt x="10671" y="16665"/>
                    </a:lnTo>
                    <a:lnTo>
                      <a:pt x="11118" y="16515"/>
                    </a:lnTo>
                    <a:lnTo>
                      <a:pt x="11417" y="16416"/>
                    </a:lnTo>
                    <a:lnTo>
                      <a:pt x="11715" y="16267"/>
                    </a:lnTo>
                    <a:lnTo>
                      <a:pt x="12014" y="16117"/>
                    </a:lnTo>
                    <a:lnTo>
                      <a:pt x="12287" y="15943"/>
                    </a:lnTo>
                    <a:lnTo>
                      <a:pt x="12536" y="15744"/>
                    </a:lnTo>
                    <a:lnTo>
                      <a:pt x="12785" y="15521"/>
                    </a:lnTo>
                    <a:lnTo>
                      <a:pt x="12984" y="15297"/>
                    </a:lnTo>
                    <a:lnTo>
                      <a:pt x="13183" y="15073"/>
                    </a:lnTo>
                    <a:lnTo>
                      <a:pt x="13382" y="14824"/>
                    </a:lnTo>
                    <a:lnTo>
                      <a:pt x="13531" y="14551"/>
                    </a:lnTo>
                    <a:lnTo>
                      <a:pt x="13655" y="14277"/>
                    </a:lnTo>
                    <a:lnTo>
                      <a:pt x="13780" y="14003"/>
                    </a:lnTo>
                    <a:lnTo>
                      <a:pt x="13854" y="13730"/>
                    </a:lnTo>
                    <a:lnTo>
                      <a:pt x="13929" y="13431"/>
                    </a:lnTo>
                    <a:lnTo>
                      <a:pt x="13954" y="13158"/>
                    </a:lnTo>
                    <a:lnTo>
                      <a:pt x="13954" y="12859"/>
                    </a:lnTo>
                    <a:lnTo>
                      <a:pt x="13630" y="12785"/>
                    </a:lnTo>
                    <a:lnTo>
                      <a:pt x="13282" y="12660"/>
                    </a:lnTo>
                    <a:lnTo>
                      <a:pt x="12984" y="12511"/>
                    </a:lnTo>
                    <a:lnTo>
                      <a:pt x="12685" y="12312"/>
                    </a:lnTo>
                    <a:lnTo>
                      <a:pt x="12586" y="12213"/>
                    </a:lnTo>
                    <a:lnTo>
                      <a:pt x="12536" y="12088"/>
                    </a:lnTo>
                    <a:lnTo>
                      <a:pt x="12561" y="11939"/>
                    </a:lnTo>
                    <a:lnTo>
                      <a:pt x="12611" y="11815"/>
                    </a:lnTo>
                    <a:lnTo>
                      <a:pt x="12735" y="11715"/>
                    </a:lnTo>
                    <a:lnTo>
                      <a:pt x="12859" y="11690"/>
                    </a:lnTo>
                    <a:lnTo>
                      <a:pt x="12984" y="11690"/>
                    </a:lnTo>
                    <a:lnTo>
                      <a:pt x="13108" y="11740"/>
                    </a:lnTo>
                    <a:lnTo>
                      <a:pt x="13282" y="11864"/>
                    </a:lnTo>
                    <a:lnTo>
                      <a:pt x="13481" y="11964"/>
                    </a:lnTo>
                    <a:lnTo>
                      <a:pt x="13680" y="12063"/>
                    </a:lnTo>
                    <a:lnTo>
                      <a:pt x="13879" y="12113"/>
                    </a:lnTo>
                    <a:lnTo>
                      <a:pt x="14103" y="12188"/>
                    </a:lnTo>
                    <a:lnTo>
                      <a:pt x="14327" y="12213"/>
                    </a:lnTo>
                    <a:lnTo>
                      <a:pt x="14775" y="12237"/>
                    </a:lnTo>
                    <a:lnTo>
                      <a:pt x="15222" y="12213"/>
                    </a:lnTo>
                    <a:lnTo>
                      <a:pt x="15670" y="12138"/>
                    </a:lnTo>
                    <a:lnTo>
                      <a:pt x="16093" y="12014"/>
                    </a:lnTo>
                    <a:lnTo>
                      <a:pt x="16466" y="11864"/>
                    </a:lnTo>
                    <a:lnTo>
                      <a:pt x="16814" y="11690"/>
                    </a:lnTo>
                    <a:lnTo>
                      <a:pt x="17113" y="11491"/>
                    </a:lnTo>
                    <a:lnTo>
                      <a:pt x="17411" y="11267"/>
                    </a:lnTo>
                    <a:lnTo>
                      <a:pt x="17685" y="11043"/>
                    </a:lnTo>
                    <a:lnTo>
                      <a:pt x="17958" y="10795"/>
                    </a:lnTo>
                    <a:lnTo>
                      <a:pt x="18207" y="10521"/>
                    </a:lnTo>
                    <a:lnTo>
                      <a:pt x="18655" y="9999"/>
                    </a:lnTo>
                    <a:lnTo>
                      <a:pt x="18306" y="9601"/>
                    </a:lnTo>
                    <a:lnTo>
                      <a:pt x="17933" y="9228"/>
                    </a:lnTo>
                    <a:lnTo>
                      <a:pt x="17511" y="8904"/>
                    </a:lnTo>
                    <a:lnTo>
                      <a:pt x="17063" y="8606"/>
                    </a:lnTo>
                    <a:lnTo>
                      <a:pt x="16590" y="8357"/>
                    </a:lnTo>
                    <a:lnTo>
                      <a:pt x="16068" y="8133"/>
                    </a:lnTo>
                    <a:lnTo>
                      <a:pt x="15546" y="7934"/>
                    </a:lnTo>
                    <a:lnTo>
                      <a:pt x="14998" y="7810"/>
                    </a:lnTo>
                    <a:lnTo>
                      <a:pt x="14874" y="7760"/>
                    </a:lnTo>
                    <a:lnTo>
                      <a:pt x="14775" y="7661"/>
                    </a:lnTo>
                    <a:lnTo>
                      <a:pt x="14725" y="7536"/>
                    </a:lnTo>
                    <a:lnTo>
                      <a:pt x="14725" y="7387"/>
                    </a:lnTo>
                    <a:lnTo>
                      <a:pt x="14775" y="7263"/>
                    </a:lnTo>
                    <a:lnTo>
                      <a:pt x="14874" y="7163"/>
                    </a:lnTo>
                    <a:lnTo>
                      <a:pt x="14998" y="7114"/>
                    </a:lnTo>
                    <a:lnTo>
                      <a:pt x="15148" y="7114"/>
                    </a:lnTo>
                    <a:lnTo>
                      <a:pt x="15720" y="7263"/>
                    </a:lnTo>
                    <a:lnTo>
                      <a:pt x="16267" y="7437"/>
                    </a:lnTo>
                    <a:lnTo>
                      <a:pt x="16814" y="7661"/>
                    </a:lnTo>
                    <a:lnTo>
                      <a:pt x="17336" y="7934"/>
                    </a:lnTo>
                    <a:lnTo>
                      <a:pt x="17809" y="8258"/>
                    </a:lnTo>
                    <a:lnTo>
                      <a:pt x="18257" y="8581"/>
                    </a:lnTo>
                    <a:lnTo>
                      <a:pt x="18680" y="8954"/>
                    </a:lnTo>
                    <a:lnTo>
                      <a:pt x="19053" y="9377"/>
                    </a:lnTo>
                    <a:lnTo>
                      <a:pt x="19202" y="9029"/>
                    </a:lnTo>
                    <a:lnTo>
                      <a:pt x="19351" y="8705"/>
                    </a:lnTo>
                    <a:lnTo>
                      <a:pt x="19451" y="8357"/>
                    </a:lnTo>
                    <a:lnTo>
                      <a:pt x="19550" y="8009"/>
                    </a:lnTo>
                    <a:lnTo>
                      <a:pt x="19625" y="7661"/>
                    </a:lnTo>
                    <a:lnTo>
                      <a:pt x="19674" y="7313"/>
                    </a:lnTo>
                    <a:lnTo>
                      <a:pt x="19724" y="6964"/>
                    </a:lnTo>
                    <a:lnTo>
                      <a:pt x="19724" y="6616"/>
                    </a:lnTo>
                    <a:lnTo>
                      <a:pt x="19724" y="6268"/>
                    </a:lnTo>
                    <a:lnTo>
                      <a:pt x="19699" y="5920"/>
                    </a:lnTo>
                    <a:lnTo>
                      <a:pt x="19674" y="5547"/>
                    </a:lnTo>
                    <a:lnTo>
                      <a:pt x="19600" y="5198"/>
                    </a:lnTo>
                    <a:lnTo>
                      <a:pt x="19525" y="4850"/>
                    </a:lnTo>
                    <a:lnTo>
                      <a:pt x="19426" y="4527"/>
                    </a:lnTo>
                    <a:lnTo>
                      <a:pt x="19301" y="4179"/>
                    </a:lnTo>
                    <a:lnTo>
                      <a:pt x="19152" y="3855"/>
                    </a:lnTo>
                    <a:lnTo>
                      <a:pt x="18978" y="3532"/>
                    </a:lnTo>
                    <a:lnTo>
                      <a:pt x="18804" y="3234"/>
                    </a:lnTo>
                    <a:lnTo>
                      <a:pt x="18630" y="2935"/>
                    </a:lnTo>
                    <a:lnTo>
                      <a:pt x="18406" y="2661"/>
                    </a:lnTo>
                    <a:lnTo>
                      <a:pt x="18182" y="2363"/>
                    </a:lnTo>
                    <a:lnTo>
                      <a:pt x="17958" y="2089"/>
                    </a:lnTo>
                    <a:lnTo>
                      <a:pt x="17685" y="1841"/>
                    </a:lnTo>
                    <a:lnTo>
                      <a:pt x="17436" y="1592"/>
                    </a:lnTo>
                    <a:lnTo>
                      <a:pt x="17137" y="1343"/>
                    </a:lnTo>
                    <a:lnTo>
                      <a:pt x="16864" y="1119"/>
                    </a:lnTo>
                    <a:lnTo>
                      <a:pt x="16541" y="896"/>
                    </a:lnTo>
                    <a:lnTo>
                      <a:pt x="16242" y="697"/>
                    </a:lnTo>
                    <a:lnTo>
                      <a:pt x="15894" y="498"/>
                    </a:lnTo>
                    <a:lnTo>
                      <a:pt x="15570" y="323"/>
                    </a:lnTo>
                    <a:lnTo>
                      <a:pt x="15222" y="149"/>
                    </a:lnTo>
                    <a:lnTo>
                      <a:pt x="1487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15"/>
              <p:cNvSpPr/>
              <p:nvPr/>
            </p:nvSpPr>
            <p:spPr>
              <a:xfrm>
                <a:off x="2636107" y="2212429"/>
                <a:ext cx="292830" cy="384640"/>
              </a:xfrm>
              <a:custGeom>
                <a:avLst/>
                <a:gdLst/>
                <a:ahLst/>
                <a:cxnLst/>
                <a:rect l="l" t="t" r="r" b="b"/>
                <a:pathLst>
                  <a:path w="14203" h="18656" extrusionOk="0">
                    <a:moveTo>
                      <a:pt x="4826" y="1"/>
                    </a:moveTo>
                    <a:lnTo>
                      <a:pt x="4453" y="26"/>
                    </a:lnTo>
                    <a:lnTo>
                      <a:pt x="4104" y="76"/>
                    </a:lnTo>
                    <a:lnTo>
                      <a:pt x="3756" y="125"/>
                    </a:lnTo>
                    <a:lnTo>
                      <a:pt x="3433" y="200"/>
                    </a:lnTo>
                    <a:lnTo>
                      <a:pt x="3109" y="299"/>
                    </a:lnTo>
                    <a:lnTo>
                      <a:pt x="2786" y="399"/>
                    </a:lnTo>
                    <a:lnTo>
                      <a:pt x="2488" y="523"/>
                    </a:lnTo>
                    <a:lnTo>
                      <a:pt x="2115" y="722"/>
                    </a:lnTo>
                    <a:lnTo>
                      <a:pt x="1791" y="971"/>
                    </a:lnTo>
                    <a:lnTo>
                      <a:pt x="1518" y="1220"/>
                    </a:lnTo>
                    <a:lnTo>
                      <a:pt x="1294" y="1493"/>
                    </a:lnTo>
                    <a:lnTo>
                      <a:pt x="1095" y="1792"/>
                    </a:lnTo>
                    <a:lnTo>
                      <a:pt x="946" y="2115"/>
                    </a:lnTo>
                    <a:lnTo>
                      <a:pt x="821" y="2438"/>
                    </a:lnTo>
                    <a:lnTo>
                      <a:pt x="722" y="2762"/>
                    </a:lnTo>
                    <a:lnTo>
                      <a:pt x="1169" y="2538"/>
                    </a:lnTo>
                    <a:lnTo>
                      <a:pt x="1642" y="2339"/>
                    </a:lnTo>
                    <a:lnTo>
                      <a:pt x="2139" y="2190"/>
                    </a:lnTo>
                    <a:lnTo>
                      <a:pt x="2637" y="2040"/>
                    </a:lnTo>
                    <a:lnTo>
                      <a:pt x="3159" y="1916"/>
                    </a:lnTo>
                    <a:lnTo>
                      <a:pt x="3657" y="1841"/>
                    </a:lnTo>
                    <a:lnTo>
                      <a:pt x="4179" y="1767"/>
                    </a:lnTo>
                    <a:lnTo>
                      <a:pt x="4726" y="1742"/>
                    </a:lnTo>
                    <a:lnTo>
                      <a:pt x="5248" y="1717"/>
                    </a:lnTo>
                    <a:lnTo>
                      <a:pt x="5796" y="1742"/>
                    </a:lnTo>
                    <a:lnTo>
                      <a:pt x="6318" y="1792"/>
                    </a:lnTo>
                    <a:lnTo>
                      <a:pt x="6840" y="1866"/>
                    </a:lnTo>
                    <a:lnTo>
                      <a:pt x="7388" y="1966"/>
                    </a:lnTo>
                    <a:lnTo>
                      <a:pt x="7910" y="2090"/>
                    </a:lnTo>
                    <a:lnTo>
                      <a:pt x="8432" y="2264"/>
                    </a:lnTo>
                    <a:lnTo>
                      <a:pt x="8954" y="2438"/>
                    </a:lnTo>
                    <a:lnTo>
                      <a:pt x="9079" y="2513"/>
                    </a:lnTo>
                    <a:lnTo>
                      <a:pt x="9153" y="2637"/>
                    </a:lnTo>
                    <a:lnTo>
                      <a:pt x="9178" y="2762"/>
                    </a:lnTo>
                    <a:lnTo>
                      <a:pt x="9153" y="2911"/>
                    </a:lnTo>
                    <a:lnTo>
                      <a:pt x="9079" y="3010"/>
                    </a:lnTo>
                    <a:lnTo>
                      <a:pt x="8954" y="3110"/>
                    </a:lnTo>
                    <a:lnTo>
                      <a:pt x="8830" y="3135"/>
                    </a:lnTo>
                    <a:lnTo>
                      <a:pt x="8681" y="3110"/>
                    </a:lnTo>
                    <a:lnTo>
                      <a:pt x="8159" y="2911"/>
                    </a:lnTo>
                    <a:lnTo>
                      <a:pt x="7636" y="2762"/>
                    </a:lnTo>
                    <a:lnTo>
                      <a:pt x="7089" y="2637"/>
                    </a:lnTo>
                    <a:lnTo>
                      <a:pt x="6542" y="2538"/>
                    </a:lnTo>
                    <a:lnTo>
                      <a:pt x="6020" y="2463"/>
                    </a:lnTo>
                    <a:lnTo>
                      <a:pt x="5472" y="2438"/>
                    </a:lnTo>
                    <a:lnTo>
                      <a:pt x="4925" y="2438"/>
                    </a:lnTo>
                    <a:lnTo>
                      <a:pt x="4403" y="2463"/>
                    </a:lnTo>
                    <a:lnTo>
                      <a:pt x="3856" y="2513"/>
                    </a:lnTo>
                    <a:lnTo>
                      <a:pt x="3333" y="2612"/>
                    </a:lnTo>
                    <a:lnTo>
                      <a:pt x="2811" y="2712"/>
                    </a:lnTo>
                    <a:lnTo>
                      <a:pt x="2314" y="2861"/>
                    </a:lnTo>
                    <a:lnTo>
                      <a:pt x="1816" y="3035"/>
                    </a:lnTo>
                    <a:lnTo>
                      <a:pt x="1344" y="3234"/>
                    </a:lnTo>
                    <a:lnTo>
                      <a:pt x="871" y="3483"/>
                    </a:lnTo>
                    <a:lnTo>
                      <a:pt x="423" y="3732"/>
                    </a:lnTo>
                    <a:lnTo>
                      <a:pt x="274" y="4378"/>
                    </a:lnTo>
                    <a:lnTo>
                      <a:pt x="125" y="5000"/>
                    </a:lnTo>
                    <a:lnTo>
                      <a:pt x="50" y="5622"/>
                    </a:lnTo>
                    <a:lnTo>
                      <a:pt x="0" y="5945"/>
                    </a:lnTo>
                    <a:lnTo>
                      <a:pt x="0" y="6244"/>
                    </a:lnTo>
                    <a:lnTo>
                      <a:pt x="0" y="7637"/>
                    </a:lnTo>
                    <a:lnTo>
                      <a:pt x="771" y="7438"/>
                    </a:lnTo>
                    <a:lnTo>
                      <a:pt x="1543" y="7313"/>
                    </a:lnTo>
                    <a:lnTo>
                      <a:pt x="2338" y="7214"/>
                    </a:lnTo>
                    <a:lnTo>
                      <a:pt x="3109" y="7189"/>
                    </a:lnTo>
                    <a:lnTo>
                      <a:pt x="3905" y="7214"/>
                    </a:lnTo>
                    <a:lnTo>
                      <a:pt x="4701" y="7264"/>
                    </a:lnTo>
                    <a:lnTo>
                      <a:pt x="5522" y="7388"/>
                    </a:lnTo>
                    <a:lnTo>
                      <a:pt x="6318" y="7562"/>
                    </a:lnTo>
                    <a:lnTo>
                      <a:pt x="6467" y="7637"/>
                    </a:lnTo>
                    <a:lnTo>
                      <a:pt x="6542" y="7736"/>
                    </a:lnTo>
                    <a:lnTo>
                      <a:pt x="6592" y="7861"/>
                    </a:lnTo>
                    <a:lnTo>
                      <a:pt x="6592" y="8010"/>
                    </a:lnTo>
                    <a:lnTo>
                      <a:pt x="6517" y="8134"/>
                    </a:lnTo>
                    <a:lnTo>
                      <a:pt x="6417" y="8234"/>
                    </a:lnTo>
                    <a:lnTo>
                      <a:pt x="6293" y="8259"/>
                    </a:lnTo>
                    <a:lnTo>
                      <a:pt x="6219" y="8283"/>
                    </a:lnTo>
                    <a:lnTo>
                      <a:pt x="6169" y="8259"/>
                    </a:lnTo>
                    <a:lnTo>
                      <a:pt x="5373" y="8084"/>
                    </a:lnTo>
                    <a:lnTo>
                      <a:pt x="4577" y="7985"/>
                    </a:lnTo>
                    <a:lnTo>
                      <a:pt x="3806" y="7910"/>
                    </a:lnTo>
                    <a:lnTo>
                      <a:pt x="3035" y="7885"/>
                    </a:lnTo>
                    <a:lnTo>
                      <a:pt x="2264" y="7935"/>
                    </a:lnTo>
                    <a:lnTo>
                      <a:pt x="1518" y="8035"/>
                    </a:lnTo>
                    <a:lnTo>
                      <a:pt x="747" y="8184"/>
                    </a:lnTo>
                    <a:lnTo>
                      <a:pt x="0" y="8383"/>
                    </a:lnTo>
                    <a:lnTo>
                      <a:pt x="0" y="13905"/>
                    </a:lnTo>
                    <a:lnTo>
                      <a:pt x="299" y="13730"/>
                    </a:lnTo>
                    <a:lnTo>
                      <a:pt x="597" y="13581"/>
                    </a:lnTo>
                    <a:lnTo>
                      <a:pt x="896" y="13432"/>
                    </a:lnTo>
                    <a:lnTo>
                      <a:pt x="1244" y="13332"/>
                    </a:lnTo>
                    <a:lnTo>
                      <a:pt x="1592" y="13233"/>
                    </a:lnTo>
                    <a:lnTo>
                      <a:pt x="1940" y="13134"/>
                    </a:lnTo>
                    <a:lnTo>
                      <a:pt x="2687" y="12984"/>
                    </a:lnTo>
                    <a:lnTo>
                      <a:pt x="3184" y="12910"/>
                    </a:lnTo>
                    <a:lnTo>
                      <a:pt x="3682" y="12860"/>
                    </a:lnTo>
                    <a:lnTo>
                      <a:pt x="4179" y="12885"/>
                    </a:lnTo>
                    <a:lnTo>
                      <a:pt x="4676" y="12910"/>
                    </a:lnTo>
                    <a:lnTo>
                      <a:pt x="5174" y="12984"/>
                    </a:lnTo>
                    <a:lnTo>
                      <a:pt x="5671" y="13109"/>
                    </a:lnTo>
                    <a:lnTo>
                      <a:pt x="6119" y="13258"/>
                    </a:lnTo>
                    <a:lnTo>
                      <a:pt x="6592" y="13432"/>
                    </a:lnTo>
                    <a:lnTo>
                      <a:pt x="6691" y="13531"/>
                    </a:lnTo>
                    <a:lnTo>
                      <a:pt x="6766" y="13631"/>
                    </a:lnTo>
                    <a:lnTo>
                      <a:pt x="6791" y="13780"/>
                    </a:lnTo>
                    <a:lnTo>
                      <a:pt x="6766" y="13905"/>
                    </a:lnTo>
                    <a:lnTo>
                      <a:pt x="6666" y="14029"/>
                    </a:lnTo>
                    <a:lnTo>
                      <a:pt x="6567" y="14104"/>
                    </a:lnTo>
                    <a:lnTo>
                      <a:pt x="6417" y="14128"/>
                    </a:lnTo>
                    <a:lnTo>
                      <a:pt x="6293" y="14079"/>
                    </a:lnTo>
                    <a:lnTo>
                      <a:pt x="5895" y="13929"/>
                    </a:lnTo>
                    <a:lnTo>
                      <a:pt x="5472" y="13780"/>
                    </a:lnTo>
                    <a:lnTo>
                      <a:pt x="5025" y="13681"/>
                    </a:lnTo>
                    <a:lnTo>
                      <a:pt x="4602" y="13631"/>
                    </a:lnTo>
                    <a:lnTo>
                      <a:pt x="4154" y="13581"/>
                    </a:lnTo>
                    <a:lnTo>
                      <a:pt x="3706" y="13581"/>
                    </a:lnTo>
                    <a:lnTo>
                      <a:pt x="3259" y="13606"/>
                    </a:lnTo>
                    <a:lnTo>
                      <a:pt x="2836" y="13681"/>
                    </a:lnTo>
                    <a:lnTo>
                      <a:pt x="1965" y="13855"/>
                    </a:lnTo>
                    <a:lnTo>
                      <a:pt x="1567" y="13979"/>
                    </a:lnTo>
                    <a:lnTo>
                      <a:pt x="1219" y="14079"/>
                    </a:lnTo>
                    <a:lnTo>
                      <a:pt x="871" y="14228"/>
                    </a:lnTo>
                    <a:lnTo>
                      <a:pt x="548" y="14402"/>
                    </a:lnTo>
                    <a:lnTo>
                      <a:pt x="274" y="14601"/>
                    </a:lnTo>
                    <a:lnTo>
                      <a:pt x="0" y="14850"/>
                    </a:lnTo>
                    <a:lnTo>
                      <a:pt x="0" y="17959"/>
                    </a:lnTo>
                    <a:lnTo>
                      <a:pt x="274" y="18108"/>
                    </a:lnTo>
                    <a:lnTo>
                      <a:pt x="548" y="18257"/>
                    </a:lnTo>
                    <a:lnTo>
                      <a:pt x="821" y="18382"/>
                    </a:lnTo>
                    <a:lnTo>
                      <a:pt x="1120" y="18481"/>
                    </a:lnTo>
                    <a:lnTo>
                      <a:pt x="1418" y="18556"/>
                    </a:lnTo>
                    <a:lnTo>
                      <a:pt x="1766" y="18605"/>
                    </a:lnTo>
                    <a:lnTo>
                      <a:pt x="2139" y="18630"/>
                    </a:lnTo>
                    <a:lnTo>
                      <a:pt x="2537" y="18655"/>
                    </a:lnTo>
                    <a:lnTo>
                      <a:pt x="3010" y="18630"/>
                    </a:lnTo>
                    <a:lnTo>
                      <a:pt x="3458" y="18556"/>
                    </a:lnTo>
                    <a:lnTo>
                      <a:pt x="3856" y="18456"/>
                    </a:lnTo>
                    <a:lnTo>
                      <a:pt x="4229" y="18307"/>
                    </a:lnTo>
                    <a:lnTo>
                      <a:pt x="4477" y="18183"/>
                    </a:lnTo>
                    <a:lnTo>
                      <a:pt x="4701" y="18009"/>
                    </a:lnTo>
                    <a:lnTo>
                      <a:pt x="4900" y="17834"/>
                    </a:lnTo>
                    <a:lnTo>
                      <a:pt x="5050" y="17635"/>
                    </a:lnTo>
                    <a:lnTo>
                      <a:pt x="4776" y="17511"/>
                    </a:lnTo>
                    <a:lnTo>
                      <a:pt x="4502" y="17362"/>
                    </a:lnTo>
                    <a:lnTo>
                      <a:pt x="4229" y="17213"/>
                    </a:lnTo>
                    <a:lnTo>
                      <a:pt x="4005" y="17038"/>
                    </a:lnTo>
                    <a:lnTo>
                      <a:pt x="3781" y="16840"/>
                    </a:lnTo>
                    <a:lnTo>
                      <a:pt x="3557" y="16616"/>
                    </a:lnTo>
                    <a:lnTo>
                      <a:pt x="3383" y="16417"/>
                    </a:lnTo>
                    <a:lnTo>
                      <a:pt x="3209" y="16168"/>
                    </a:lnTo>
                    <a:lnTo>
                      <a:pt x="3159" y="16044"/>
                    </a:lnTo>
                    <a:lnTo>
                      <a:pt x="3184" y="15894"/>
                    </a:lnTo>
                    <a:lnTo>
                      <a:pt x="3234" y="15770"/>
                    </a:lnTo>
                    <a:lnTo>
                      <a:pt x="3333" y="15670"/>
                    </a:lnTo>
                    <a:lnTo>
                      <a:pt x="3458" y="15621"/>
                    </a:lnTo>
                    <a:lnTo>
                      <a:pt x="3607" y="15646"/>
                    </a:lnTo>
                    <a:lnTo>
                      <a:pt x="3731" y="15695"/>
                    </a:lnTo>
                    <a:lnTo>
                      <a:pt x="3831" y="15795"/>
                    </a:lnTo>
                    <a:lnTo>
                      <a:pt x="3980" y="15994"/>
                    </a:lnTo>
                    <a:lnTo>
                      <a:pt x="4129" y="16193"/>
                    </a:lnTo>
                    <a:lnTo>
                      <a:pt x="4328" y="16392"/>
                    </a:lnTo>
                    <a:lnTo>
                      <a:pt x="4527" y="16541"/>
                    </a:lnTo>
                    <a:lnTo>
                      <a:pt x="4751" y="16715"/>
                    </a:lnTo>
                    <a:lnTo>
                      <a:pt x="5000" y="16840"/>
                    </a:lnTo>
                    <a:lnTo>
                      <a:pt x="5248" y="16964"/>
                    </a:lnTo>
                    <a:lnTo>
                      <a:pt x="5522" y="17063"/>
                    </a:lnTo>
                    <a:lnTo>
                      <a:pt x="5547" y="17063"/>
                    </a:lnTo>
                    <a:lnTo>
                      <a:pt x="5920" y="17014"/>
                    </a:lnTo>
                    <a:lnTo>
                      <a:pt x="6268" y="16964"/>
                    </a:lnTo>
                    <a:lnTo>
                      <a:pt x="6641" y="16864"/>
                    </a:lnTo>
                    <a:lnTo>
                      <a:pt x="6990" y="16740"/>
                    </a:lnTo>
                    <a:lnTo>
                      <a:pt x="7338" y="16591"/>
                    </a:lnTo>
                    <a:lnTo>
                      <a:pt x="7661" y="16417"/>
                    </a:lnTo>
                    <a:lnTo>
                      <a:pt x="7960" y="16243"/>
                    </a:lnTo>
                    <a:lnTo>
                      <a:pt x="8258" y="16044"/>
                    </a:lnTo>
                    <a:lnTo>
                      <a:pt x="8532" y="15820"/>
                    </a:lnTo>
                    <a:lnTo>
                      <a:pt x="8805" y="15571"/>
                    </a:lnTo>
                    <a:lnTo>
                      <a:pt x="9029" y="15322"/>
                    </a:lnTo>
                    <a:lnTo>
                      <a:pt x="9228" y="15049"/>
                    </a:lnTo>
                    <a:lnTo>
                      <a:pt x="9427" y="14775"/>
                    </a:lnTo>
                    <a:lnTo>
                      <a:pt x="9576" y="14477"/>
                    </a:lnTo>
                    <a:lnTo>
                      <a:pt x="9701" y="14178"/>
                    </a:lnTo>
                    <a:lnTo>
                      <a:pt x="9775" y="13880"/>
                    </a:lnTo>
                    <a:lnTo>
                      <a:pt x="9850" y="13556"/>
                    </a:lnTo>
                    <a:lnTo>
                      <a:pt x="9875" y="13233"/>
                    </a:lnTo>
                    <a:lnTo>
                      <a:pt x="9924" y="12537"/>
                    </a:lnTo>
                    <a:lnTo>
                      <a:pt x="9949" y="12014"/>
                    </a:lnTo>
                    <a:lnTo>
                      <a:pt x="9900" y="11989"/>
                    </a:lnTo>
                    <a:lnTo>
                      <a:pt x="9576" y="11790"/>
                    </a:lnTo>
                    <a:lnTo>
                      <a:pt x="9253" y="11591"/>
                    </a:lnTo>
                    <a:lnTo>
                      <a:pt x="8905" y="11417"/>
                    </a:lnTo>
                    <a:lnTo>
                      <a:pt x="8557" y="11243"/>
                    </a:lnTo>
                    <a:lnTo>
                      <a:pt x="7835" y="10945"/>
                    </a:lnTo>
                    <a:lnTo>
                      <a:pt x="7089" y="10696"/>
                    </a:lnTo>
                    <a:lnTo>
                      <a:pt x="6318" y="10522"/>
                    </a:lnTo>
                    <a:lnTo>
                      <a:pt x="5920" y="10447"/>
                    </a:lnTo>
                    <a:lnTo>
                      <a:pt x="5522" y="10373"/>
                    </a:lnTo>
                    <a:lnTo>
                      <a:pt x="5124" y="10323"/>
                    </a:lnTo>
                    <a:lnTo>
                      <a:pt x="4726" y="10298"/>
                    </a:lnTo>
                    <a:lnTo>
                      <a:pt x="3930" y="10298"/>
                    </a:lnTo>
                    <a:lnTo>
                      <a:pt x="3781" y="10248"/>
                    </a:lnTo>
                    <a:lnTo>
                      <a:pt x="3682" y="10174"/>
                    </a:lnTo>
                    <a:lnTo>
                      <a:pt x="3607" y="10074"/>
                    </a:lnTo>
                    <a:lnTo>
                      <a:pt x="3557" y="9950"/>
                    </a:lnTo>
                    <a:lnTo>
                      <a:pt x="3582" y="9801"/>
                    </a:lnTo>
                    <a:lnTo>
                      <a:pt x="3657" y="9676"/>
                    </a:lnTo>
                    <a:lnTo>
                      <a:pt x="3781" y="9602"/>
                    </a:lnTo>
                    <a:lnTo>
                      <a:pt x="3930" y="9577"/>
                    </a:lnTo>
                    <a:lnTo>
                      <a:pt x="4751" y="9577"/>
                    </a:lnTo>
                    <a:lnTo>
                      <a:pt x="5547" y="9651"/>
                    </a:lnTo>
                    <a:lnTo>
                      <a:pt x="6343" y="9801"/>
                    </a:lnTo>
                    <a:lnTo>
                      <a:pt x="7139" y="9975"/>
                    </a:lnTo>
                    <a:lnTo>
                      <a:pt x="7910" y="10223"/>
                    </a:lnTo>
                    <a:lnTo>
                      <a:pt x="8631" y="10497"/>
                    </a:lnTo>
                    <a:lnTo>
                      <a:pt x="9352" y="10845"/>
                    </a:lnTo>
                    <a:lnTo>
                      <a:pt x="10024" y="11243"/>
                    </a:lnTo>
                    <a:lnTo>
                      <a:pt x="10099" y="10895"/>
                    </a:lnTo>
                    <a:lnTo>
                      <a:pt x="10223" y="10547"/>
                    </a:lnTo>
                    <a:lnTo>
                      <a:pt x="10372" y="10223"/>
                    </a:lnTo>
                    <a:lnTo>
                      <a:pt x="10546" y="9900"/>
                    </a:lnTo>
                    <a:lnTo>
                      <a:pt x="10770" y="9602"/>
                    </a:lnTo>
                    <a:lnTo>
                      <a:pt x="10994" y="9328"/>
                    </a:lnTo>
                    <a:lnTo>
                      <a:pt x="11218" y="9079"/>
                    </a:lnTo>
                    <a:lnTo>
                      <a:pt x="11491" y="8806"/>
                    </a:lnTo>
                    <a:lnTo>
                      <a:pt x="11989" y="8333"/>
                    </a:lnTo>
                    <a:lnTo>
                      <a:pt x="12188" y="8159"/>
                    </a:lnTo>
                    <a:lnTo>
                      <a:pt x="12238" y="8109"/>
                    </a:lnTo>
                    <a:lnTo>
                      <a:pt x="11715" y="7637"/>
                    </a:lnTo>
                    <a:lnTo>
                      <a:pt x="11442" y="7388"/>
                    </a:lnTo>
                    <a:lnTo>
                      <a:pt x="11143" y="7164"/>
                    </a:lnTo>
                    <a:lnTo>
                      <a:pt x="10845" y="6940"/>
                    </a:lnTo>
                    <a:lnTo>
                      <a:pt x="10497" y="6741"/>
                    </a:lnTo>
                    <a:lnTo>
                      <a:pt x="10148" y="6542"/>
                    </a:lnTo>
                    <a:lnTo>
                      <a:pt x="9750" y="6368"/>
                    </a:lnTo>
                    <a:lnTo>
                      <a:pt x="9352" y="6194"/>
                    </a:lnTo>
                    <a:lnTo>
                      <a:pt x="8905" y="6045"/>
                    </a:lnTo>
                    <a:lnTo>
                      <a:pt x="8432" y="5896"/>
                    </a:lnTo>
                    <a:lnTo>
                      <a:pt x="7935" y="5796"/>
                    </a:lnTo>
                    <a:lnTo>
                      <a:pt x="7388" y="5697"/>
                    </a:lnTo>
                    <a:lnTo>
                      <a:pt x="6815" y="5647"/>
                    </a:lnTo>
                    <a:lnTo>
                      <a:pt x="6194" y="5597"/>
                    </a:lnTo>
                    <a:lnTo>
                      <a:pt x="5522" y="5597"/>
                    </a:lnTo>
                    <a:lnTo>
                      <a:pt x="5373" y="5547"/>
                    </a:lnTo>
                    <a:lnTo>
                      <a:pt x="5273" y="5473"/>
                    </a:lnTo>
                    <a:lnTo>
                      <a:pt x="5199" y="5373"/>
                    </a:lnTo>
                    <a:lnTo>
                      <a:pt x="5174" y="5224"/>
                    </a:lnTo>
                    <a:lnTo>
                      <a:pt x="5199" y="5100"/>
                    </a:lnTo>
                    <a:lnTo>
                      <a:pt x="5273" y="4975"/>
                    </a:lnTo>
                    <a:lnTo>
                      <a:pt x="5373" y="4901"/>
                    </a:lnTo>
                    <a:lnTo>
                      <a:pt x="5522" y="4876"/>
                    </a:lnTo>
                    <a:lnTo>
                      <a:pt x="6243" y="4901"/>
                    </a:lnTo>
                    <a:lnTo>
                      <a:pt x="6915" y="4926"/>
                    </a:lnTo>
                    <a:lnTo>
                      <a:pt x="7537" y="5000"/>
                    </a:lnTo>
                    <a:lnTo>
                      <a:pt x="8109" y="5100"/>
                    </a:lnTo>
                    <a:lnTo>
                      <a:pt x="8656" y="5224"/>
                    </a:lnTo>
                    <a:lnTo>
                      <a:pt x="9153" y="5373"/>
                    </a:lnTo>
                    <a:lnTo>
                      <a:pt x="9626" y="5523"/>
                    </a:lnTo>
                    <a:lnTo>
                      <a:pt x="10074" y="5722"/>
                    </a:lnTo>
                    <a:lnTo>
                      <a:pt x="10497" y="5921"/>
                    </a:lnTo>
                    <a:lnTo>
                      <a:pt x="10870" y="6119"/>
                    </a:lnTo>
                    <a:lnTo>
                      <a:pt x="11243" y="6368"/>
                    </a:lnTo>
                    <a:lnTo>
                      <a:pt x="11591" y="6592"/>
                    </a:lnTo>
                    <a:lnTo>
                      <a:pt x="11914" y="6841"/>
                    </a:lnTo>
                    <a:lnTo>
                      <a:pt x="12213" y="7114"/>
                    </a:lnTo>
                    <a:lnTo>
                      <a:pt x="12760" y="7637"/>
                    </a:lnTo>
                    <a:lnTo>
                      <a:pt x="13058" y="7363"/>
                    </a:lnTo>
                    <a:lnTo>
                      <a:pt x="13332" y="7065"/>
                    </a:lnTo>
                    <a:lnTo>
                      <a:pt x="13556" y="6791"/>
                    </a:lnTo>
                    <a:lnTo>
                      <a:pt x="13780" y="6468"/>
                    </a:lnTo>
                    <a:lnTo>
                      <a:pt x="13904" y="6219"/>
                    </a:lnTo>
                    <a:lnTo>
                      <a:pt x="14028" y="5945"/>
                    </a:lnTo>
                    <a:lnTo>
                      <a:pt x="14103" y="5647"/>
                    </a:lnTo>
                    <a:lnTo>
                      <a:pt x="14178" y="5324"/>
                    </a:lnTo>
                    <a:lnTo>
                      <a:pt x="14203" y="5025"/>
                    </a:lnTo>
                    <a:lnTo>
                      <a:pt x="14178" y="4727"/>
                    </a:lnTo>
                    <a:lnTo>
                      <a:pt x="14103" y="4478"/>
                    </a:lnTo>
                    <a:lnTo>
                      <a:pt x="14053" y="4354"/>
                    </a:lnTo>
                    <a:lnTo>
                      <a:pt x="13979" y="4229"/>
                    </a:lnTo>
                    <a:lnTo>
                      <a:pt x="13630" y="3831"/>
                    </a:lnTo>
                    <a:lnTo>
                      <a:pt x="13556" y="3831"/>
                    </a:lnTo>
                    <a:lnTo>
                      <a:pt x="13282" y="3881"/>
                    </a:lnTo>
                    <a:lnTo>
                      <a:pt x="13034" y="3931"/>
                    </a:lnTo>
                    <a:lnTo>
                      <a:pt x="12760" y="4030"/>
                    </a:lnTo>
                    <a:lnTo>
                      <a:pt x="12536" y="4155"/>
                    </a:lnTo>
                    <a:lnTo>
                      <a:pt x="12312" y="4304"/>
                    </a:lnTo>
                    <a:lnTo>
                      <a:pt x="12138" y="4478"/>
                    </a:lnTo>
                    <a:lnTo>
                      <a:pt x="11989" y="4677"/>
                    </a:lnTo>
                    <a:lnTo>
                      <a:pt x="11889" y="4901"/>
                    </a:lnTo>
                    <a:lnTo>
                      <a:pt x="11840" y="4975"/>
                    </a:lnTo>
                    <a:lnTo>
                      <a:pt x="11740" y="5050"/>
                    </a:lnTo>
                    <a:lnTo>
                      <a:pt x="11666" y="5100"/>
                    </a:lnTo>
                    <a:lnTo>
                      <a:pt x="11541" y="5125"/>
                    </a:lnTo>
                    <a:lnTo>
                      <a:pt x="11417" y="5100"/>
                    </a:lnTo>
                    <a:lnTo>
                      <a:pt x="11292" y="5000"/>
                    </a:lnTo>
                    <a:lnTo>
                      <a:pt x="11218" y="4901"/>
                    </a:lnTo>
                    <a:lnTo>
                      <a:pt x="11193" y="4776"/>
                    </a:lnTo>
                    <a:lnTo>
                      <a:pt x="11218" y="4627"/>
                    </a:lnTo>
                    <a:lnTo>
                      <a:pt x="11342" y="4378"/>
                    </a:lnTo>
                    <a:lnTo>
                      <a:pt x="11516" y="4130"/>
                    </a:lnTo>
                    <a:lnTo>
                      <a:pt x="11715" y="3906"/>
                    </a:lnTo>
                    <a:lnTo>
                      <a:pt x="11939" y="3707"/>
                    </a:lnTo>
                    <a:lnTo>
                      <a:pt x="12188" y="3558"/>
                    </a:lnTo>
                    <a:lnTo>
                      <a:pt x="12461" y="3408"/>
                    </a:lnTo>
                    <a:lnTo>
                      <a:pt x="12735" y="3284"/>
                    </a:lnTo>
                    <a:lnTo>
                      <a:pt x="13034" y="3209"/>
                    </a:lnTo>
                    <a:lnTo>
                      <a:pt x="12536" y="2762"/>
                    </a:lnTo>
                    <a:lnTo>
                      <a:pt x="12014" y="2339"/>
                    </a:lnTo>
                    <a:lnTo>
                      <a:pt x="11467" y="1941"/>
                    </a:lnTo>
                    <a:lnTo>
                      <a:pt x="10870" y="1568"/>
                    </a:lnTo>
                    <a:lnTo>
                      <a:pt x="10273" y="1245"/>
                    </a:lnTo>
                    <a:lnTo>
                      <a:pt x="9626" y="946"/>
                    </a:lnTo>
                    <a:lnTo>
                      <a:pt x="8979" y="697"/>
                    </a:lnTo>
                    <a:lnTo>
                      <a:pt x="8308" y="449"/>
                    </a:lnTo>
                    <a:lnTo>
                      <a:pt x="7910" y="349"/>
                    </a:lnTo>
                    <a:lnTo>
                      <a:pt x="7512" y="250"/>
                    </a:lnTo>
                    <a:lnTo>
                      <a:pt x="7114" y="175"/>
                    </a:lnTo>
                    <a:lnTo>
                      <a:pt x="6716" y="100"/>
                    </a:lnTo>
                    <a:lnTo>
                      <a:pt x="6343" y="51"/>
                    </a:lnTo>
                    <a:lnTo>
                      <a:pt x="594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15"/>
              <p:cNvSpPr/>
              <p:nvPr/>
            </p:nvSpPr>
            <p:spPr>
              <a:xfrm>
                <a:off x="2328927" y="2212429"/>
                <a:ext cx="292336" cy="384640"/>
              </a:xfrm>
              <a:custGeom>
                <a:avLst/>
                <a:gdLst/>
                <a:ahLst/>
                <a:cxnLst/>
                <a:rect l="l" t="t" r="r" b="b"/>
                <a:pathLst>
                  <a:path w="14179" h="18656" extrusionOk="0">
                    <a:moveTo>
                      <a:pt x="8880" y="1"/>
                    </a:moveTo>
                    <a:lnTo>
                      <a:pt x="8159" y="26"/>
                    </a:lnTo>
                    <a:lnTo>
                      <a:pt x="7413" y="100"/>
                    </a:lnTo>
                    <a:lnTo>
                      <a:pt x="6642" y="250"/>
                    </a:lnTo>
                    <a:lnTo>
                      <a:pt x="5871" y="449"/>
                    </a:lnTo>
                    <a:lnTo>
                      <a:pt x="5199" y="697"/>
                    </a:lnTo>
                    <a:lnTo>
                      <a:pt x="4553" y="946"/>
                    </a:lnTo>
                    <a:lnTo>
                      <a:pt x="3931" y="1245"/>
                    </a:lnTo>
                    <a:lnTo>
                      <a:pt x="3309" y="1568"/>
                    </a:lnTo>
                    <a:lnTo>
                      <a:pt x="2737" y="1941"/>
                    </a:lnTo>
                    <a:lnTo>
                      <a:pt x="2165" y="2339"/>
                    </a:lnTo>
                    <a:lnTo>
                      <a:pt x="1642" y="2762"/>
                    </a:lnTo>
                    <a:lnTo>
                      <a:pt x="1145" y="3209"/>
                    </a:lnTo>
                    <a:lnTo>
                      <a:pt x="1444" y="3284"/>
                    </a:lnTo>
                    <a:lnTo>
                      <a:pt x="1742" y="3408"/>
                    </a:lnTo>
                    <a:lnTo>
                      <a:pt x="2016" y="3558"/>
                    </a:lnTo>
                    <a:lnTo>
                      <a:pt x="2264" y="3707"/>
                    </a:lnTo>
                    <a:lnTo>
                      <a:pt x="2488" y="3906"/>
                    </a:lnTo>
                    <a:lnTo>
                      <a:pt x="2687" y="4130"/>
                    </a:lnTo>
                    <a:lnTo>
                      <a:pt x="2836" y="4378"/>
                    </a:lnTo>
                    <a:lnTo>
                      <a:pt x="2961" y="4627"/>
                    </a:lnTo>
                    <a:lnTo>
                      <a:pt x="2986" y="4776"/>
                    </a:lnTo>
                    <a:lnTo>
                      <a:pt x="2961" y="4901"/>
                    </a:lnTo>
                    <a:lnTo>
                      <a:pt x="2886" y="5025"/>
                    </a:lnTo>
                    <a:lnTo>
                      <a:pt x="2762" y="5100"/>
                    </a:lnTo>
                    <a:lnTo>
                      <a:pt x="2637" y="5125"/>
                    </a:lnTo>
                    <a:lnTo>
                      <a:pt x="2538" y="5100"/>
                    </a:lnTo>
                    <a:lnTo>
                      <a:pt x="2438" y="5050"/>
                    </a:lnTo>
                    <a:lnTo>
                      <a:pt x="2364" y="4975"/>
                    </a:lnTo>
                    <a:lnTo>
                      <a:pt x="2314" y="4901"/>
                    </a:lnTo>
                    <a:lnTo>
                      <a:pt x="2190" y="4677"/>
                    </a:lnTo>
                    <a:lnTo>
                      <a:pt x="2040" y="4478"/>
                    </a:lnTo>
                    <a:lnTo>
                      <a:pt x="1866" y="4304"/>
                    </a:lnTo>
                    <a:lnTo>
                      <a:pt x="1642" y="4155"/>
                    </a:lnTo>
                    <a:lnTo>
                      <a:pt x="1419" y="4030"/>
                    </a:lnTo>
                    <a:lnTo>
                      <a:pt x="1170" y="3931"/>
                    </a:lnTo>
                    <a:lnTo>
                      <a:pt x="896" y="3881"/>
                    </a:lnTo>
                    <a:lnTo>
                      <a:pt x="623" y="3831"/>
                    </a:lnTo>
                    <a:lnTo>
                      <a:pt x="548" y="3831"/>
                    </a:lnTo>
                    <a:lnTo>
                      <a:pt x="200" y="4229"/>
                    </a:lnTo>
                    <a:lnTo>
                      <a:pt x="150" y="4354"/>
                    </a:lnTo>
                    <a:lnTo>
                      <a:pt x="76" y="4478"/>
                    </a:lnTo>
                    <a:lnTo>
                      <a:pt x="26" y="4752"/>
                    </a:lnTo>
                    <a:lnTo>
                      <a:pt x="1" y="5025"/>
                    </a:lnTo>
                    <a:lnTo>
                      <a:pt x="26" y="5324"/>
                    </a:lnTo>
                    <a:lnTo>
                      <a:pt x="76" y="5647"/>
                    </a:lnTo>
                    <a:lnTo>
                      <a:pt x="150" y="5945"/>
                    </a:lnTo>
                    <a:lnTo>
                      <a:pt x="275" y="6219"/>
                    </a:lnTo>
                    <a:lnTo>
                      <a:pt x="424" y="6468"/>
                    </a:lnTo>
                    <a:lnTo>
                      <a:pt x="623" y="6791"/>
                    </a:lnTo>
                    <a:lnTo>
                      <a:pt x="871" y="7065"/>
                    </a:lnTo>
                    <a:lnTo>
                      <a:pt x="1120" y="7363"/>
                    </a:lnTo>
                    <a:lnTo>
                      <a:pt x="1419" y="7637"/>
                    </a:lnTo>
                    <a:lnTo>
                      <a:pt x="1991" y="7114"/>
                    </a:lnTo>
                    <a:lnTo>
                      <a:pt x="2289" y="6841"/>
                    </a:lnTo>
                    <a:lnTo>
                      <a:pt x="2613" y="6592"/>
                    </a:lnTo>
                    <a:lnTo>
                      <a:pt x="2936" y="6368"/>
                    </a:lnTo>
                    <a:lnTo>
                      <a:pt x="3309" y="6119"/>
                    </a:lnTo>
                    <a:lnTo>
                      <a:pt x="3682" y="5921"/>
                    </a:lnTo>
                    <a:lnTo>
                      <a:pt x="4105" y="5722"/>
                    </a:lnTo>
                    <a:lnTo>
                      <a:pt x="4553" y="5523"/>
                    </a:lnTo>
                    <a:lnTo>
                      <a:pt x="5025" y="5373"/>
                    </a:lnTo>
                    <a:lnTo>
                      <a:pt x="5523" y="5224"/>
                    </a:lnTo>
                    <a:lnTo>
                      <a:pt x="6070" y="5100"/>
                    </a:lnTo>
                    <a:lnTo>
                      <a:pt x="6667" y="5000"/>
                    </a:lnTo>
                    <a:lnTo>
                      <a:pt x="7289" y="4926"/>
                    </a:lnTo>
                    <a:lnTo>
                      <a:pt x="7960" y="4901"/>
                    </a:lnTo>
                    <a:lnTo>
                      <a:pt x="8656" y="4876"/>
                    </a:lnTo>
                    <a:lnTo>
                      <a:pt x="8806" y="4901"/>
                    </a:lnTo>
                    <a:lnTo>
                      <a:pt x="8905" y="4975"/>
                    </a:lnTo>
                    <a:lnTo>
                      <a:pt x="9005" y="5100"/>
                    </a:lnTo>
                    <a:lnTo>
                      <a:pt x="9030" y="5224"/>
                    </a:lnTo>
                    <a:lnTo>
                      <a:pt x="9005" y="5373"/>
                    </a:lnTo>
                    <a:lnTo>
                      <a:pt x="8905" y="5473"/>
                    </a:lnTo>
                    <a:lnTo>
                      <a:pt x="8806" y="5547"/>
                    </a:lnTo>
                    <a:lnTo>
                      <a:pt x="8656" y="5597"/>
                    </a:lnTo>
                    <a:lnTo>
                      <a:pt x="8010" y="5597"/>
                    </a:lnTo>
                    <a:lnTo>
                      <a:pt x="7388" y="5647"/>
                    </a:lnTo>
                    <a:lnTo>
                      <a:pt x="6791" y="5697"/>
                    </a:lnTo>
                    <a:lnTo>
                      <a:pt x="6269" y="5796"/>
                    </a:lnTo>
                    <a:lnTo>
                      <a:pt x="5746" y="5896"/>
                    </a:lnTo>
                    <a:lnTo>
                      <a:pt x="5274" y="6045"/>
                    </a:lnTo>
                    <a:lnTo>
                      <a:pt x="4851" y="6194"/>
                    </a:lnTo>
                    <a:lnTo>
                      <a:pt x="4428" y="6368"/>
                    </a:lnTo>
                    <a:lnTo>
                      <a:pt x="4055" y="6542"/>
                    </a:lnTo>
                    <a:lnTo>
                      <a:pt x="3682" y="6741"/>
                    </a:lnTo>
                    <a:lnTo>
                      <a:pt x="3359" y="6940"/>
                    </a:lnTo>
                    <a:lnTo>
                      <a:pt x="3035" y="7164"/>
                    </a:lnTo>
                    <a:lnTo>
                      <a:pt x="2737" y="7388"/>
                    </a:lnTo>
                    <a:lnTo>
                      <a:pt x="2463" y="7637"/>
                    </a:lnTo>
                    <a:lnTo>
                      <a:pt x="1941" y="8109"/>
                    </a:lnTo>
                    <a:lnTo>
                      <a:pt x="1991" y="8159"/>
                    </a:lnTo>
                    <a:lnTo>
                      <a:pt x="2190" y="8333"/>
                    </a:lnTo>
                    <a:lnTo>
                      <a:pt x="2712" y="8806"/>
                    </a:lnTo>
                    <a:lnTo>
                      <a:pt x="2961" y="9079"/>
                    </a:lnTo>
                    <a:lnTo>
                      <a:pt x="3209" y="9328"/>
                    </a:lnTo>
                    <a:lnTo>
                      <a:pt x="3433" y="9602"/>
                    </a:lnTo>
                    <a:lnTo>
                      <a:pt x="3632" y="9900"/>
                    </a:lnTo>
                    <a:lnTo>
                      <a:pt x="3806" y="10223"/>
                    </a:lnTo>
                    <a:lnTo>
                      <a:pt x="3956" y="10547"/>
                    </a:lnTo>
                    <a:lnTo>
                      <a:pt x="4080" y="10895"/>
                    </a:lnTo>
                    <a:lnTo>
                      <a:pt x="4155" y="11243"/>
                    </a:lnTo>
                    <a:lnTo>
                      <a:pt x="4478" y="11044"/>
                    </a:lnTo>
                    <a:lnTo>
                      <a:pt x="4826" y="10845"/>
                    </a:lnTo>
                    <a:lnTo>
                      <a:pt x="5547" y="10497"/>
                    </a:lnTo>
                    <a:lnTo>
                      <a:pt x="6294" y="10223"/>
                    </a:lnTo>
                    <a:lnTo>
                      <a:pt x="7065" y="9975"/>
                    </a:lnTo>
                    <a:lnTo>
                      <a:pt x="7836" y="9801"/>
                    </a:lnTo>
                    <a:lnTo>
                      <a:pt x="8632" y="9651"/>
                    </a:lnTo>
                    <a:lnTo>
                      <a:pt x="9452" y="9577"/>
                    </a:lnTo>
                    <a:lnTo>
                      <a:pt x="10273" y="9577"/>
                    </a:lnTo>
                    <a:lnTo>
                      <a:pt x="10398" y="9602"/>
                    </a:lnTo>
                    <a:lnTo>
                      <a:pt x="10522" y="9676"/>
                    </a:lnTo>
                    <a:lnTo>
                      <a:pt x="10597" y="9801"/>
                    </a:lnTo>
                    <a:lnTo>
                      <a:pt x="10621" y="9950"/>
                    </a:lnTo>
                    <a:lnTo>
                      <a:pt x="10621" y="10000"/>
                    </a:lnTo>
                    <a:lnTo>
                      <a:pt x="10597" y="10074"/>
                    </a:lnTo>
                    <a:lnTo>
                      <a:pt x="10497" y="10174"/>
                    </a:lnTo>
                    <a:lnTo>
                      <a:pt x="10398" y="10248"/>
                    </a:lnTo>
                    <a:lnTo>
                      <a:pt x="10248" y="10298"/>
                    </a:lnTo>
                    <a:lnTo>
                      <a:pt x="9452" y="10298"/>
                    </a:lnTo>
                    <a:lnTo>
                      <a:pt x="9054" y="10323"/>
                    </a:lnTo>
                    <a:lnTo>
                      <a:pt x="8656" y="10373"/>
                    </a:lnTo>
                    <a:lnTo>
                      <a:pt x="7861" y="10522"/>
                    </a:lnTo>
                    <a:lnTo>
                      <a:pt x="7090" y="10696"/>
                    </a:lnTo>
                    <a:lnTo>
                      <a:pt x="6343" y="10945"/>
                    </a:lnTo>
                    <a:lnTo>
                      <a:pt x="5970" y="11094"/>
                    </a:lnTo>
                    <a:lnTo>
                      <a:pt x="5622" y="11243"/>
                    </a:lnTo>
                    <a:lnTo>
                      <a:pt x="5274" y="11417"/>
                    </a:lnTo>
                    <a:lnTo>
                      <a:pt x="4926" y="11591"/>
                    </a:lnTo>
                    <a:lnTo>
                      <a:pt x="4602" y="11790"/>
                    </a:lnTo>
                    <a:lnTo>
                      <a:pt x="4279" y="11989"/>
                    </a:lnTo>
                    <a:lnTo>
                      <a:pt x="4254" y="12014"/>
                    </a:lnTo>
                    <a:lnTo>
                      <a:pt x="4279" y="12537"/>
                    </a:lnTo>
                    <a:lnTo>
                      <a:pt x="4304" y="13233"/>
                    </a:lnTo>
                    <a:lnTo>
                      <a:pt x="4354" y="13556"/>
                    </a:lnTo>
                    <a:lnTo>
                      <a:pt x="4403" y="13880"/>
                    </a:lnTo>
                    <a:lnTo>
                      <a:pt x="4503" y="14178"/>
                    </a:lnTo>
                    <a:lnTo>
                      <a:pt x="4627" y="14477"/>
                    </a:lnTo>
                    <a:lnTo>
                      <a:pt x="4776" y="14775"/>
                    </a:lnTo>
                    <a:lnTo>
                      <a:pt x="4951" y="15049"/>
                    </a:lnTo>
                    <a:lnTo>
                      <a:pt x="5149" y="15322"/>
                    </a:lnTo>
                    <a:lnTo>
                      <a:pt x="5398" y="15571"/>
                    </a:lnTo>
                    <a:lnTo>
                      <a:pt x="5647" y="15820"/>
                    </a:lnTo>
                    <a:lnTo>
                      <a:pt x="5921" y="16044"/>
                    </a:lnTo>
                    <a:lnTo>
                      <a:pt x="6219" y="16243"/>
                    </a:lnTo>
                    <a:lnTo>
                      <a:pt x="6517" y="16417"/>
                    </a:lnTo>
                    <a:lnTo>
                      <a:pt x="6866" y="16591"/>
                    </a:lnTo>
                    <a:lnTo>
                      <a:pt x="7189" y="16740"/>
                    </a:lnTo>
                    <a:lnTo>
                      <a:pt x="7537" y="16864"/>
                    </a:lnTo>
                    <a:lnTo>
                      <a:pt x="7910" y="16964"/>
                    </a:lnTo>
                    <a:lnTo>
                      <a:pt x="8283" y="17014"/>
                    </a:lnTo>
                    <a:lnTo>
                      <a:pt x="8656" y="17063"/>
                    </a:lnTo>
                    <a:lnTo>
                      <a:pt x="8681" y="17063"/>
                    </a:lnTo>
                    <a:lnTo>
                      <a:pt x="8930" y="16964"/>
                    </a:lnTo>
                    <a:lnTo>
                      <a:pt x="9179" y="16840"/>
                    </a:lnTo>
                    <a:lnTo>
                      <a:pt x="9428" y="16715"/>
                    </a:lnTo>
                    <a:lnTo>
                      <a:pt x="9651" y="16541"/>
                    </a:lnTo>
                    <a:lnTo>
                      <a:pt x="9850" y="16392"/>
                    </a:lnTo>
                    <a:lnTo>
                      <a:pt x="10049" y="16193"/>
                    </a:lnTo>
                    <a:lnTo>
                      <a:pt x="10223" y="15994"/>
                    </a:lnTo>
                    <a:lnTo>
                      <a:pt x="10373" y="15795"/>
                    </a:lnTo>
                    <a:lnTo>
                      <a:pt x="10472" y="15695"/>
                    </a:lnTo>
                    <a:lnTo>
                      <a:pt x="10597" y="15646"/>
                    </a:lnTo>
                    <a:lnTo>
                      <a:pt x="10721" y="15621"/>
                    </a:lnTo>
                    <a:lnTo>
                      <a:pt x="10870" y="15670"/>
                    </a:lnTo>
                    <a:lnTo>
                      <a:pt x="10970" y="15770"/>
                    </a:lnTo>
                    <a:lnTo>
                      <a:pt x="11019" y="15894"/>
                    </a:lnTo>
                    <a:lnTo>
                      <a:pt x="11019" y="16044"/>
                    </a:lnTo>
                    <a:lnTo>
                      <a:pt x="10970" y="16168"/>
                    </a:lnTo>
                    <a:lnTo>
                      <a:pt x="10796" y="16417"/>
                    </a:lnTo>
                    <a:lnTo>
                      <a:pt x="10621" y="16641"/>
                    </a:lnTo>
                    <a:lnTo>
                      <a:pt x="10422" y="16840"/>
                    </a:lnTo>
                    <a:lnTo>
                      <a:pt x="10199" y="17038"/>
                    </a:lnTo>
                    <a:lnTo>
                      <a:pt x="9950" y="17213"/>
                    </a:lnTo>
                    <a:lnTo>
                      <a:pt x="9701" y="17362"/>
                    </a:lnTo>
                    <a:lnTo>
                      <a:pt x="9428" y="17511"/>
                    </a:lnTo>
                    <a:lnTo>
                      <a:pt x="9129" y="17635"/>
                    </a:lnTo>
                    <a:lnTo>
                      <a:pt x="9303" y="17834"/>
                    </a:lnTo>
                    <a:lnTo>
                      <a:pt x="9477" y="18009"/>
                    </a:lnTo>
                    <a:lnTo>
                      <a:pt x="9701" y="18183"/>
                    </a:lnTo>
                    <a:lnTo>
                      <a:pt x="9975" y="18307"/>
                    </a:lnTo>
                    <a:lnTo>
                      <a:pt x="10323" y="18456"/>
                    </a:lnTo>
                    <a:lnTo>
                      <a:pt x="10746" y="18556"/>
                    </a:lnTo>
                    <a:lnTo>
                      <a:pt x="11169" y="18630"/>
                    </a:lnTo>
                    <a:lnTo>
                      <a:pt x="11641" y="18655"/>
                    </a:lnTo>
                    <a:lnTo>
                      <a:pt x="12039" y="18630"/>
                    </a:lnTo>
                    <a:lnTo>
                      <a:pt x="12412" y="18605"/>
                    </a:lnTo>
                    <a:lnTo>
                      <a:pt x="12760" y="18556"/>
                    </a:lnTo>
                    <a:lnTo>
                      <a:pt x="13084" y="18481"/>
                    </a:lnTo>
                    <a:lnTo>
                      <a:pt x="13382" y="18382"/>
                    </a:lnTo>
                    <a:lnTo>
                      <a:pt x="13656" y="18257"/>
                    </a:lnTo>
                    <a:lnTo>
                      <a:pt x="13929" y="18108"/>
                    </a:lnTo>
                    <a:lnTo>
                      <a:pt x="14178" y="17959"/>
                    </a:lnTo>
                    <a:lnTo>
                      <a:pt x="14178" y="14850"/>
                    </a:lnTo>
                    <a:lnTo>
                      <a:pt x="13929" y="14601"/>
                    </a:lnTo>
                    <a:lnTo>
                      <a:pt x="13631" y="14402"/>
                    </a:lnTo>
                    <a:lnTo>
                      <a:pt x="13308" y="14228"/>
                    </a:lnTo>
                    <a:lnTo>
                      <a:pt x="12984" y="14079"/>
                    </a:lnTo>
                    <a:lnTo>
                      <a:pt x="12611" y="13979"/>
                    </a:lnTo>
                    <a:lnTo>
                      <a:pt x="12213" y="13855"/>
                    </a:lnTo>
                    <a:lnTo>
                      <a:pt x="11368" y="13681"/>
                    </a:lnTo>
                    <a:lnTo>
                      <a:pt x="10920" y="13606"/>
                    </a:lnTo>
                    <a:lnTo>
                      <a:pt x="10472" y="13581"/>
                    </a:lnTo>
                    <a:lnTo>
                      <a:pt x="10024" y="13581"/>
                    </a:lnTo>
                    <a:lnTo>
                      <a:pt x="9602" y="13631"/>
                    </a:lnTo>
                    <a:lnTo>
                      <a:pt x="9154" y="13681"/>
                    </a:lnTo>
                    <a:lnTo>
                      <a:pt x="8731" y="13780"/>
                    </a:lnTo>
                    <a:lnTo>
                      <a:pt x="8308" y="13929"/>
                    </a:lnTo>
                    <a:lnTo>
                      <a:pt x="7910" y="14079"/>
                    </a:lnTo>
                    <a:lnTo>
                      <a:pt x="7761" y="14104"/>
                    </a:lnTo>
                    <a:lnTo>
                      <a:pt x="7637" y="14104"/>
                    </a:lnTo>
                    <a:lnTo>
                      <a:pt x="7512" y="14029"/>
                    </a:lnTo>
                    <a:lnTo>
                      <a:pt x="7438" y="13905"/>
                    </a:lnTo>
                    <a:lnTo>
                      <a:pt x="7388" y="13780"/>
                    </a:lnTo>
                    <a:lnTo>
                      <a:pt x="7413" y="13631"/>
                    </a:lnTo>
                    <a:lnTo>
                      <a:pt x="7487" y="13531"/>
                    </a:lnTo>
                    <a:lnTo>
                      <a:pt x="7612" y="13432"/>
                    </a:lnTo>
                    <a:lnTo>
                      <a:pt x="8060" y="13258"/>
                    </a:lnTo>
                    <a:lnTo>
                      <a:pt x="8532" y="13109"/>
                    </a:lnTo>
                    <a:lnTo>
                      <a:pt x="9005" y="12984"/>
                    </a:lnTo>
                    <a:lnTo>
                      <a:pt x="9502" y="12910"/>
                    </a:lnTo>
                    <a:lnTo>
                      <a:pt x="10000" y="12885"/>
                    </a:lnTo>
                    <a:lnTo>
                      <a:pt x="10497" y="12860"/>
                    </a:lnTo>
                    <a:lnTo>
                      <a:pt x="10994" y="12910"/>
                    </a:lnTo>
                    <a:lnTo>
                      <a:pt x="11492" y="12984"/>
                    </a:lnTo>
                    <a:lnTo>
                      <a:pt x="12238" y="13134"/>
                    </a:lnTo>
                    <a:lnTo>
                      <a:pt x="12611" y="13233"/>
                    </a:lnTo>
                    <a:lnTo>
                      <a:pt x="12959" y="13332"/>
                    </a:lnTo>
                    <a:lnTo>
                      <a:pt x="13283" y="13432"/>
                    </a:lnTo>
                    <a:lnTo>
                      <a:pt x="13606" y="13581"/>
                    </a:lnTo>
                    <a:lnTo>
                      <a:pt x="13905" y="13730"/>
                    </a:lnTo>
                    <a:lnTo>
                      <a:pt x="14178" y="13905"/>
                    </a:lnTo>
                    <a:lnTo>
                      <a:pt x="14178" y="8383"/>
                    </a:lnTo>
                    <a:lnTo>
                      <a:pt x="13432" y="8184"/>
                    </a:lnTo>
                    <a:lnTo>
                      <a:pt x="12686" y="8035"/>
                    </a:lnTo>
                    <a:lnTo>
                      <a:pt x="11915" y="7935"/>
                    </a:lnTo>
                    <a:lnTo>
                      <a:pt x="11169" y="7885"/>
                    </a:lnTo>
                    <a:lnTo>
                      <a:pt x="10398" y="7910"/>
                    </a:lnTo>
                    <a:lnTo>
                      <a:pt x="9602" y="7985"/>
                    </a:lnTo>
                    <a:lnTo>
                      <a:pt x="8831" y="8084"/>
                    </a:lnTo>
                    <a:lnTo>
                      <a:pt x="8035" y="8259"/>
                    </a:lnTo>
                    <a:lnTo>
                      <a:pt x="7960" y="8283"/>
                    </a:lnTo>
                    <a:lnTo>
                      <a:pt x="7885" y="8259"/>
                    </a:lnTo>
                    <a:lnTo>
                      <a:pt x="7761" y="8234"/>
                    </a:lnTo>
                    <a:lnTo>
                      <a:pt x="7662" y="8134"/>
                    </a:lnTo>
                    <a:lnTo>
                      <a:pt x="7587" y="8010"/>
                    </a:lnTo>
                    <a:lnTo>
                      <a:pt x="7587" y="7861"/>
                    </a:lnTo>
                    <a:lnTo>
                      <a:pt x="7637" y="7736"/>
                    </a:lnTo>
                    <a:lnTo>
                      <a:pt x="7736" y="7637"/>
                    </a:lnTo>
                    <a:lnTo>
                      <a:pt x="7861" y="7562"/>
                    </a:lnTo>
                    <a:lnTo>
                      <a:pt x="8681" y="7388"/>
                    </a:lnTo>
                    <a:lnTo>
                      <a:pt x="9477" y="7264"/>
                    </a:lnTo>
                    <a:lnTo>
                      <a:pt x="10273" y="7189"/>
                    </a:lnTo>
                    <a:lnTo>
                      <a:pt x="11069" y="7189"/>
                    </a:lnTo>
                    <a:lnTo>
                      <a:pt x="11865" y="7214"/>
                    </a:lnTo>
                    <a:lnTo>
                      <a:pt x="12636" y="7313"/>
                    </a:lnTo>
                    <a:lnTo>
                      <a:pt x="13407" y="7438"/>
                    </a:lnTo>
                    <a:lnTo>
                      <a:pt x="14178" y="7637"/>
                    </a:lnTo>
                    <a:lnTo>
                      <a:pt x="14178" y="6244"/>
                    </a:lnTo>
                    <a:lnTo>
                      <a:pt x="14178" y="5945"/>
                    </a:lnTo>
                    <a:lnTo>
                      <a:pt x="14153" y="5622"/>
                    </a:lnTo>
                    <a:lnTo>
                      <a:pt x="14054" y="5000"/>
                    </a:lnTo>
                    <a:lnTo>
                      <a:pt x="13929" y="4378"/>
                    </a:lnTo>
                    <a:lnTo>
                      <a:pt x="13755" y="3732"/>
                    </a:lnTo>
                    <a:lnTo>
                      <a:pt x="13308" y="3483"/>
                    </a:lnTo>
                    <a:lnTo>
                      <a:pt x="12860" y="3234"/>
                    </a:lnTo>
                    <a:lnTo>
                      <a:pt x="12362" y="3035"/>
                    </a:lnTo>
                    <a:lnTo>
                      <a:pt x="11865" y="2861"/>
                    </a:lnTo>
                    <a:lnTo>
                      <a:pt x="11368" y="2712"/>
                    </a:lnTo>
                    <a:lnTo>
                      <a:pt x="10845" y="2612"/>
                    </a:lnTo>
                    <a:lnTo>
                      <a:pt x="10323" y="2513"/>
                    </a:lnTo>
                    <a:lnTo>
                      <a:pt x="9801" y="2463"/>
                    </a:lnTo>
                    <a:lnTo>
                      <a:pt x="9253" y="2438"/>
                    </a:lnTo>
                    <a:lnTo>
                      <a:pt x="8706" y="2438"/>
                    </a:lnTo>
                    <a:lnTo>
                      <a:pt x="8184" y="2463"/>
                    </a:lnTo>
                    <a:lnTo>
                      <a:pt x="7637" y="2538"/>
                    </a:lnTo>
                    <a:lnTo>
                      <a:pt x="7090" y="2637"/>
                    </a:lnTo>
                    <a:lnTo>
                      <a:pt x="6567" y="2762"/>
                    </a:lnTo>
                    <a:lnTo>
                      <a:pt x="6020" y="2911"/>
                    </a:lnTo>
                    <a:lnTo>
                      <a:pt x="5498" y="3110"/>
                    </a:lnTo>
                    <a:lnTo>
                      <a:pt x="5348" y="3135"/>
                    </a:lnTo>
                    <a:lnTo>
                      <a:pt x="5224" y="3110"/>
                    </a:lnTo>
                    <a:lnTo>
                      <a:pt x="5125" y="3010"/>
                    </a:lnTo>
                    <a:lnTo>
                      <a:pt x="5025" y="2911"/>
                    </a:lnTo>
                    <a:lnTo>
                      <a:pt x="5000" y="2762"/>
                    </a:lnTo>
                    <a:lnTo>
                      <a:pt x="5050" y="2637"/>
                    </a:lnTo>
                    <a:lnTo>
                      <a:pt x="5125" y="2513"/>
                    </a:lnTo>
                    <a:lnTo>
                      <a:pt x="5249" y="2438"/>
                    </a:lnTo>
                    <a:lnTo>
                      <a:pt x="5746" y="2264"/>
                    </a:lnTo>
                    <a:lnTo>
                      <a:pt x="6269" y="2090"/>
                    </a:lnTo>
                    <a:lnTo>
                      <a:pt x="6816" y="1966"/>
                    </a:lnTo>
                    <a:lnTo>
                      <a:pt x="7338" y="1866"/>
                    </a:lnTo>
                    <a:lnTo>
                      <a:pt x="7861" y="1792"/>
                    </a:lnTo>
                    <a:lnTo>
                      <a:pt x="8408" y="1742"/>
                    </a:lnTo>
                    <a:lnTo>
                      <a:pt x="8930" y="1717"/>
                    </a:lnTo>
                    <a:lnTo>
                      <a:pt x="9477" y="1742"/>
                    </a:lnTo>
                    <a:lnTo>
                      <a:pt x="10000" y="1767"/>
                    </a:lnTo>
                    <a:lnTo>
                      <a:pt x="10522" y="1841"/>
                    </a:lnTo>
                    <a:lnTo>
                      <a:pt x="11044" y="1916"/>
                    </a:lnTo>
                    <a:lnTo>
                      <a:pt x="11542" y="2040"/>
                    </a:lnTo>
                    <a:lnTo>
                      <a:pt x="12039" y="2190"/>
                    </a:lnTo>
                    <a:lnTo>
                      <a:pt x="12537" y="2339"/>
                    </a:lnTo>
                    <a:lnTo>
                      <a:pt x="13009" y="2538"/>
                    </a:lnTo>
                    <a:lnTo>
                      <a:pt x="13482" y="2762"/>
                    </a:lnTo>
                    <a:lnTo>
                      <a:pt x="13482" y="2762"/>
                    </a:lnTo>
                    <a:lnTo>
                      <a:pt x="13357" y="2438"/>
                    </a:lnTo>
                    <a:lnTo>
                      <a:pt x="13233" y="2115"/>
                    </a:lnTo>
                    <a:lnTo>
                      <a:pt x="13084" y="1792"/>
                    </a:lnTo>
                    <a:lnTo>
                      <a:pt x="12885" y="1493"/>
                    </a:lnTo>
                    <a:lnTo>
                      <a:pt x="12661" y="1220"/>
                    </a:lnTo>
                    <a:lnTo>
                      <a:pt x="12387" y="946"/>
                    </a:lnTo>
                    <a:lnTo>
                      <a:pt x="12089" y="722"/>
                    </a:lnTo>
                    <a:lnTo>
                      <a:pt x="11691" y="523"/>
                    </a:lnTo>
                    <a:lnTo>
                      <a:pt x="11392" y="399"/>
                    </a:lnTo>
                    <a:lnTo>
                      <a:pt x="11069" y="299"/>
                    </a:lnTo>
                    <a:lnTo>
                      <a:pt x="10721" y="200"/>
                    </a:lnTo>
                    <a:lnTo>
                      <a:pt x="10373" y="125"/>
                    </a:lnTo>
                    <a:lnTo>
                      <a:pt x="10024" y="76"/>
                    </a:lnTo>
                    <a:lnTo>
                      <a:pt x="9651" y="26"/>
                    </a:lnTo>
                    <a:lnTo>
                      <a:pt x="927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15"/>
              <p:cNvSpPr/>
              <p:nvPr/>
            </p:nvSpPr>
            <p:spPr>
              <a:xfrm>
                <a:off x="2200212" y="2307826"/>
                <a:ext cx="421051" cy="461028"/>
              </a:xfrm>
              <a:custGeom>
                <a:avLst/>
                <a:gdLst/>
                <a:ahLst/>
                <a:cxnLst/>
                <a:rect l="l" t="t" r="r" b="b"/>
                <a:pathLst>
                  <a:path w="20422" h="22361" extrusionOk="0">
                    <a:moveTo>
                      <a:pt x="5572" y="0"/>
                    </a:moveTo>
                    <a:lnTo>
                      <a:pt x="5199" y="149"/>
                    </a:lnTo>
                    <a:lnTo>
                      <a:pt x="4876" y="323"/>
                    </a:lnTo>
                    <a:lnTo>
                      <a:pt x="4528" y="498"/>
                    </a:lnTo>
                    <a:lnTo>
                      <a:pt x="4204" y="697"/>
                    </a:lnTo>
                    <a:lnTo>
                      <a:pt x="3881" y="896"/>
                    </a:lnTo>
                    <a:lnTo>
                      <a:pt x="3583" y="1119"/>
                    </a:lnTo>
                    <a:lnTo>
                      <a:pt x="3284" y="1343"/>
                    </a:lnTo>
                    <a:lnTo>
                      <a:pt x="3011" y="1592"/>
                    </a:lnTo>
                    <a:lnTo>
                      <a:pt x="2737" y="1841"/>
                    </a:lnTo>
                    <a:lnTo>
                      <a:pt x="2488" y="2089"/>
                    </a:lnTo>
                    <a:lnTo>
                      <a:pt x="2239" y="2363"/>
                    </a:lnTo>
                    <a:lnTo>
                      <a:pt x="2016" y="2661"/>
                    </a:lnTo>
                    <a:lnTo>
                      <a:pt x="1817" y="2935"/>
                    </a:lnTo>
                    <a:lnTo>
                      <a:pt x="1618" y="3234"/>
                    </a:lnTo>
                    <a:lnTo>
                      <a:pt x="1444" y="3532"/>
                    </a:lnTo>
                    <a:lnTo>
                      <a:pt x="1294" y="3855"/>
                    </a:lnTo>
                    <a:lnTo>
                      <a:pt x="1145" y="4179"/>
                    </a:lnTo>
                    <a:lnTo>
                      <a:pt x="1021" y="4527"/>
                    </a:lnTo>
                    <a:lnTo>
                      <a:pt x="921" y="4850"/>
                    </a:lnTo>
                    <a:lnTo>
                      <a:pt x="822" y="5198"/>
                    </a:lnTo>
                    <a:lnTo>
                      <a:pt x="772" y="5547"/>
                    </a:lnTo>
                    <a:lnTo>
                      <a:pt x="722" y="5920"/>
                    </a:lnTo>
                    <a:lnTo>
                      <a:pt x="697" y="6268"/>
                    </a:lnTo>
                    <a:lnTo>
                      <a:pt x="697" y="6616"/>
                    </a:lnTo>
                    <a:lnTo>
                      <a:pt x="722" y="6964"/>
                    </a:lnTo>
                    <a:lnTo>
                      <a:pt x="747" y="7313"/>
                    </a:lnTo>
                    <a:lnTo>
                      <a:pt x="797" y="7661"/>
                    </a:lnTo>
                    <a:lnTo>
                      <a:pt x="871" y="8009"/>
                    </a:lnTo>
                    <a:lnTo>
                      <a:pt x="971" y="8357"/>
                    </a:lnTo>
                    <a:lnTo>
                      <a:pt x="1095" y="8705"/>
                    </a:lnTo>
                    <a:lnTo>
                      <a:pt x="1220" y="9029"/>
                    </a:lnTo>
                    <a:lnTo>
                      <a:pt x="1369" y="9377"/>
                    </a:lnTo>
                    <a:lnTo>
                      <a:pt x="1742" y="8954"/>
                    </a:lnTo>
                    <a:lnTo>
                      <a:pt x="2165" y="8581"/>
                    </a:lnTo>
                    <a:lnTo>
                      <a:pt x="2613" y="8258"/>
                    </a:lnTo>
                    <a:lnTo>
                      <a:pt x="3110" y="7934"/>
                    </a:lnTo>
                    <a:lnTo>
                      <a:pt x="3607" y="7661"/>
                    </a:lnTo>
                    <a:lnTo>
                      <a:pt x="4155" y="7437"/>
                    </a:lnTo>
                    <a:lnTo>
                      <a:pt x="4702" y="7263"/>
                    </a:lnTo>
                    <a:lnTo>
                      <a:pt x="5299" y="7114"/>
                    </a:lnTo>
                    <a:lnTo>
                      <a:pt x="5423" y="7114"/>
                    </a:lnTo>
                    <a:lnTo>
                      <a:pt x="5572" y="7163"/>
                    </a:lnTo>
                    <a:lnTo>
                      <a:pt x="5647" y="7263"/>
                    </a:lnTo>
                    <a:lnTo>
                      <a:pt x="5722" y="7387"/>
                    </a:lnTo>
                    <a:lnTo>
                      <a:pt x="5722" y="7536"/>
                    </a:lnTo>
                    <a:lnTo>
                      <a:pt x="5672" y="7661"/>
                    </a:lnTo>
                    <a:lnTo>
                      <a:pt x="5572" y="7760"/>
                    </a:lnTo>
                    <a:lnTo>
                      <a:pt x="5448" y="7810"/>
                    </a:lnTo>
                    <a:lnTo>
                      <a:pt x="4876" y="7934"/>
                    </a:lnTo>
                    <a:lnTo>
                      <a:pt x="4354" y="8133"/>
                    </a:lnTo>
                    <a:lnTo>
                      <a:pt x="3831" y="8357"/>
                    </a:lnTo>
                    <a:lnTo>
                      <a:pt x="3359" y="8606"/>
                    </a:lnTo>
                    <a:lnTo>
                      <a:pt x="2911" y="8904"/>
                    </a:lnTo>
                    <a:lnTo>
                      <a:pt x="2488" y="9228"/>
                    </a:lnTo>
                    <a:lnTo>
                      <a:pt x="2115" y="9601"/>
                    </a:lnTo>
                    <a:lnTo>
                      <a:pt x="1767" y="9999"/>
                    </a:lnTo>
                    <a:lnTo>
                      <a:pt x="2239" y="10521"/>
                    </a:lnTo>
                    <a:lnTo>
                      <a:pt x="2488" y="10795"/>
                    </a:lnTo>
                    <a:lnTo>
                      <a:pt x="2737" y="11043"/>
                    </a:lnTo>
                    <a:lnTo>
                      <a:pt x="3011" y="11267"/>
                    </a:lnTo>
                    <a:lnTo>
                      <a:pt x="3309" y="11491"/>
                    </a:lnTo>
                    <a:lnTo>
                      <a:pt x="3632" y="11690"/>
                    </a:lnTo>
                    <a:lnTo>
                      <a:pt x="3956" y="11864"/>
                    </a:lnTo>
                    <a:lnTo>
                      <a:pt x="4354" y="12014"/>
                    </a:lnTo>
                    <a:lnTo>
                      <a:pt x="4776" y="12138"/>
                    </a:lnTo>
                    <a:lnTo>
                      <a:pt x="5224" y="12213"/>
                    </a:lnTo>
                    <a:lnTo>
                      <a:pt x="5672" y="12237"/>
                    </a:lnTo>
                    <a:lnTo>
                      <a:pt x="6120" y="12213"/>
                    </a:lnTo>
                    <a:lnTo>
                      <a:pt x="6343" y="12188"/>
                    </a:lnTo>
                    <a:lnTo>
                      <a:pt x="6542" y="12113"/>
                    </a:lnTo>
                    <a:lnTo>
                      <a:pt x="6741" y="12063"/>
                    </a:lnTo>
                    <a:lnTo>
                      <a:pt x="6940" y="11964"/>
                    </a:lnTo>
                    <a:lnTo>
                      <a:pt x="7139" y="11864"/>
                    </a:lnTo>
                    <a:lnTo>
                      <a:pt x="7313" y="11740"/>
                    </a:lnTo>
                    <a:lnTo>
                      <a:pt x="7438" y="11690"/>
                    </a:lnTo>
                    <a:lnTo>
                      <a:pt x="7587" y="11690"/>
                    </a:lnTo>
                    <a:lnTo>
                      <a:pt x="7711" y="11715"/>
                    </a:lnTo>
                    <a:lnTo>
                      <a:pt x="7811" y="11815"/>
                    </a:lnTo>
                    <a:lnTo>
                      <a:pt x="7885" y="11939"/>
                    </a:lnTo>
                    <a:lnTo>
                      <a:pt x="7885" y="12088"/>
                    </a:lnTo>
                    <a:lnTo>
                      <a:pt x="7836" y="12213"/>
                    </a:lnTo>
                    <a:lnTo>
                      <a:pt x="7736" y="12312"/>
                    </a:lnTo>
                    <a:lnTo>
                      <a:pt x="7463" y="12511"/>
                    </a:lnTo>
                    <a:lnTo>
                      <a:pt x="7139" y="12660"/>
                    </a:lnTo>
                    <a:lnTo>
                      <a:pt x="6816" y="12785"/>
                    </a:lnTo>
                    <a:lnTo>
                      <a:pt x="6468" y="12859"/>
                    </a:lnTo>
                    <a:lnTo>
                      <a:pt x="6468" y="13158"/>
                    </a:lnTo>
                    <a:lnTo>
                      <a:pt x="6518" y="13431"/>
                    </a:lnTo>
                    <a:lnTo>
                      <a:pt x="6567" y="13730"/>
                    </a:lnTo>
                    <a:lnTo>
                      <a:pt x="6642" y="14003"/>
                    </a:lnTo>
                    <a:lnTo>
                      <a:pt x="6766" y="14277"/>
                    </a:lnTo>
                    <a:lnTo>
                      <a:pt x="6891" y="14551"/>
                    </a:lnTo>
                    <a:lnTo>
                      <a:pt x="7065" y="14824"/>
                    </a:lnTo>
                    <a:lnTo>
                      <a:pt x="7239" y="15073"/>
                    </a:lnTo>
                    <a:lnTo>
                      <a:pt x="7438" y="15297"/>
                    </a:lnTo>
                    <a:lnTo>
                      <a:pt x="7662" y="15521"/>
                    </a:lnTo>
                    <a:lnTo>
                      <a:pt x="7885" y="15744"/>
                    </a:lnTo>
                    <a:lnTo>
                      <a:pt x="8159" y="15943"/>
                    </a:lnTo>
                    <a:lnTo>
                      <a:pt x="8433" y="16117"/>
                    </a:lnTo>
                    <a:lnTo>
                      <a:pt x="8706" y="16267"/>
                    </a:lnTo>
                    <a:lnTo>
                      <a:pt x="9005" y="16416"/>
                    </a:lnTo>
                    <a:lnTo>
                      <a:pt x="9328" y="16515"/>
                    </a:lnTo>
                    <a:lnTo>
                      <a:pt x="9776" y="16665"/>
                    </a:lnTo>
                    <a:lnTo>
                      <a:pt x="10223" y="16739"/>
                    </a:lnTo>
                    <a:lnTo>
                      <a:pt x="11169" y="16889"/>
                    </a:lnTo>
                    <a:lnTo>
                      <a:pt x="11865" y="17013"/>
                    </a:lnTo>
                    <a:lnTo>
                      <a:pt x="11965" y="16963"/>
                    </a:lnTo>
                    <a:lnTo>
                      <a:pt x="12512" y="16839"/>
                    </a:lnTo>
                    <a:lnTo>
                      <a:pt x="12885" y="16739"/>
                    </a:lnTo>
                    <a:lnTo>
                      <a:pt x="13208" y="16615"/>
                    </a:lnTo>
                    <a:lnTo>
                      <a:pt x="13581" y="16441"/>
                    </a:lnTo>
                    <a:lnTo>
                      <a:pt x="13805" y="16341"/>
                    </a:lnTo>
                    <a:lnTo>
                      <a:pt x="13979" y="16217"/>
                    </a:lnTo>
                    <a:lnTo>
                      <a:pt x="14178" y="16068"/>
                    </a:lnTo>
                    <a:lnTo>
                      <a:pt x="14327" y="15894"/>
                    </a:lnTo>
                    <a:lnTo>
                      <a:pt x="14502" y="15744"/>
                    </a:lnTo>
                    <a:lnTo>
                      <a:pt x="14626" y="15570"/>
                    </a:lnTo>
                    <a:lnTo>
                      <a:pt x="14725" y="15396"/>
                    </a:lnTo>
                    <a:lnTo>
                      <a:pt x="14825" y="15197"/>
                    </a:lnTo>
                    <a:lnTo>
                      <a:pt x="14899" y="15098"/>
                    </a:lnTo>
                    <a:lnTo>
                      <a:pt x="14999" y="14998"/>
                    </a:lnTo>
                    <a:lnTo>
                      <a:pt x="15148" y="14973"/>
                    </a:lnTo>
                    <a:lnTo>
                      <a:pt x="15273" y="14998"/>
                    </a:lnTo>
                    <a:lnTo>
                      <a:pt x="15397" y="15073"/>
                    </a:lnTo>
                    <a:lnTo>
                      <a:pt x="15472" y="15197"/>
                    </a:lnTo>
                    <a:lnTo>
                      <a:pt x="15496" y="15322"/>
                    </a:lnTo>
                    <a:lnTo>
                      <a:pt x="15472" y="15471"/>
                    </a:lnTo>
                    <a:lnTo>
                      <a:pt x="15372" y="15695"/>
                    </a:lnTo>
                    <a:lnTo>
                      <a:pt x="15223" y="15943"/>
                    </a:lnTo>
                    <a:lnTo>
                      <a:pt x="15049" y="16167"/>
                    </a:lnTo>
                    <a:lnTo>
                      <a:pt x="14875" y="16391"/>
                    </a:lnTo>
                    <a:lnTo>
                      <a:pt x="14651" y="16590"/>
                    </a:lnTo>
                    <a:lnTo>
                      <a:pt x="14402" y="16789"/>
                    </a:lnTo>
                    <a:lnTo>
                      <a:pt x="14153" y="16938"/>
                    </a:lnTo>
                    <a:lnTo>
                      <a:pt x="13905" y="17087"/>
                    </a:lnTo>
                    <a:lnTo>
                      <a:pt x="13581" y="17237"/>
                    </a:lnTo>
                    <a:lnTo>
                      <a:pt x="13283" y="17361"/>
                    </a:lnTo>
                    <a:lnTo>
                      <a:pt x="13656" y="17510"/>
                    </a:lnTo>
                    <a:lnTo>
                      <a:pt x="14029" y="17709"/>
                    </a:lnTo>
                    <a:lnTo>
                      <a:pt x="14377" y="17933"/>
                    </a:lnTo>
                    <a:lnTo>
                      <a:pt x="14676" y="18207"/>
                    </a:lnTo>
                    <a:lnTo>
                      <a:pt x="14825" y="18356"/>
                    </a:lnTo>
                    <a:lnTo>
                      <a:pt x="14949" y="18505"/>
                    </a:lnTo>
                    <a:lnTo>
                      <a:pt x="15049" y="18654"/>
                    </a:lnTo>
                    <a:lnTo>
                      <a:pt x="15148" y="18829"/>
                    </a:lnTo>
                    <a:lnTo>
                      <a:pt x="15223" y="19003"/>
                    </a:lnTo>
                    <a:lnTo>
                      <a:pt x="15297" y="19177"/>
                    </a:lnTo>
                    <a:lnTo>
                      <a:pt x="15322" y="19376"/>
                    </a:lnTo>
                    <a:lnTo>
                      <a:pt x="15347" y="19575"/>
                    </a:lnTo>
                    <a:lnTo>
                      <a:pt x="15322" y="19724"/>
                    </a:lnTo>
                    <a:lnTo>
                      <a:pt x="15248" y="19823"/>
                    </a:lnTo>
                    <a:lnTo>
                      <a:pt x="15148" y="19898"/>
                    </a:lnTo>
                    <a:lnTo>
                      <a:pt x="14999" y="19948"/>
                    </a:lnTo>
                    <a:lnTo>
                      <a:pt x="14974" y="19948"/>
                    </a:lnTo>
                    <a:lnTo>
                      <a:pt x="14850" y="19923"/>
                    </a:lnTo>
                    <a:lnTo>
                      <a:pt x="14750" y="19848"/>
                    </a:lnTo>
                    <a:lnTo>
                      <a:pt x="14651" y="19724"/>
                    </a:lnTo>
                    <a:lnTo>
                      <a:pt x="14626" y="19600"/>
                    </a:lnTo>
                    <a:lnTo>
                      <a:pt x="14626" y="19450"/>
                    </a:lnTo>
                    <a:lnTo>
                      <a:pt x="14576" y="19301"/>
                    </a:lnTo>
                    <a:lnTo>
                      <a:pt x="14526" y="19152"/>
                    </a:lnTo>
                    <a:lnTo>
                      <a:pt x="14427" y="19028"/>
                    </a:lnTo>
                    <a:lnTo>
                      <a:pt x="14327" y="18878"/>
                    </a:lnTo>
                    <a:lnTo>
                      <a:pt x="14228" y="18754"/>
                    </a:lnTo>
                    <a:lnTo>
                      <a:pt x="13954" y="18530"/>
                    </a:lnTo>
                    <a:lnTo>
                      <a:pt x="13656" y="18306"/>
                    </a:lnTo>
                    <a:lnTo>
                      <a:pt x="13308" y="18132"/>
                    </a:lnTo>
                    <a:lnTo>
                      <a:pt x="12959" y="17983"/>
                    </a:lnTo>
                    <a:lnTo>
                      <a:pt x="12586" y="17883"/>
                    </a:lnTo>
                    <a:lnTo>
                      <a:pt x="12213" y="17784"/>
                    </a:lnTo>
                    <a:lnTo>
                      <a:pt x="11840" y="17734"/>
                    </a:lnTo>
                    <a:lnTo>
                      <a:pt x="11069" y="17610"/>
                    </a:lnTo>
                    <a:lnTo>
                      <a:pt x="10895" y="17585"/>
                    </a:lnTo>
                    <a:lnTo>
                      <a:pt x="10995" y="17859"/>
                    </a:lnTo>
                    <a:lnTo>
                      <a:pt x="11019" y="18132"/>
                    </a:lnTo>
                    <a:lnTo>
                      <a:pt x="11044" y="18431"/>
                    </a:lnTo>
                    <a:lnTo>
                      <a:pt x="11019" y="18704"/>
                    </a:lnTo>
                    <a:lnTo>
                      <a:pt x="10945" y="18978"/>
                    </a:lnTo>
                    <a:lnTo>
                      <a:pt x="10845" y="19251"/>
                    </a:lnTo>
                    <a:lnTo>
                      <a:pt x="10696" y="19525"/>
                    </a:lnTo>
                    <a:lnTo>
                      <a:pt x="10522" y="19749"/>
                    </a:lnTo>
                    <a:lnTo>
                      <a:pt x="10472" y="19823"/>
                    </a:lnTo>
                    <a:lnTo>
                      <a:pt x="10398" y="19848"/>
                    </a:lnTo>
                    <a:lnTo>
                      <a:pt x="10323" y="19873"/>
                    </a:lnTo>
                    <a:lnTo>
                      <a:pt x="10124" y="19873"/>
                    </a:lnTo>
                    <a:lnTo>
                      <a:pt x="10025" y="19799"/>
                    </a:lnTo>
                    <a:lnTo>
                      <a:pt x="9925" y="19699"/>
                    </a:lnTo>
                    <a:lnTo>
                      <a:pt x="9900" y="19550"/>
                    </a:lnTo>
                    <a:lnTo>
                      <a:pt x="9900" y="19425"/>
                    </a:lnTo>
                    <a:lnTo>
                      <a:pt x="9975" y="19301"/>
                    </a:lnTo>
                    <a:lnTo>
                      <a:pt x="10124" y="19077"/>
                    </a:lnTo>
                    <a:lnTo>
                      <a:pt x="10223" y="18853"/>
                    </a:lnTo>
                    <a:lnTo>
                      <a:pt x="10298" y="18630"/>
                    </a:lnTo>
                    <a:lnTo>
                      <a:pt x="10323" y="18381"/>
                    </a:lnTo>
                    <a:lnTo>
                      <a:pt x="10323" y="18132"/>
                    </a:lnTo>
                    <a:lnTo>
                      <a:pt x="10273" y="17883"/>
                    </a:lnTo>
                    <a:lnTo>
                      <a:pt x="10174" y="17660"/>
                    </a:lnTo>
                    <a:lnTo>
                      <a:pt x="10025" y="17436"/>
                    </a:lnTo>
                    <a:lnTo>
                      <a:pt x="9552" y="17336"/>
                    </a:lnTo>
                    <a:lnTo>
                      <a:pt x="9104" y="17212"/>
                    </a:lnTo>
                    <a:lnTo>
                      <a:pt x="8632" y="17013"/>
                    </a:lnTo>
                    <a:lnTo>
                      <a:pt x="8209" y="16814"/>
                    </a:lnTo>
                    <a:lnTo>
                      <a:pt x="7811" y="16565"/>
                    </a:lnTo>
                    <a:lnTo>
                      <a:pt x="7438" y="16267"/>
                    </a:lnTo>
                    <a:lnTo>
                      <a:pt x="7164" y="16491"/>
                    </a:lnTo>
                    <a:lnTo>
                      <a:pt x="6891" y="16690"/>
                    </a:lnTo>
                    <a:lnTo>
                      <a:pt x="6592" y="16864"/>
                    </a:lnTo>
                    <a:lnTo>
                      <a:pt x="6269" y="17013"/>
                    </a:lnTo>
                    <a:lnTo>
                      <a:pt x="5945" y="17162"/>
                    </a:lnTo>
                    <a:lnTo>
                      <a:pt x="5597" y="17262"/>
                    </a:lnTo>
                    <a:lnTo>
                      <a:pt x="5249" y="17361"/>
                    </a:lnTo>
                    <a:lnTo>
                      <a:pt x="4901" y="17411"/>
                    </a:lnTo>
                    <a:lnTo>
                      <a:pt x="4851" y="17411"/>
                    </a:lnTo>
                    <a:lnTo>
                      <a:pt x="4727" y="17386"/>
                    </a:lnTo>
                    <a:lnTo>
                      <a:pt x="4602" y="17336"/>
                    </a:lnTo>
                    <a:lnTo>
                      <a:pt x="4528" y="17237"/>
                    </a:lnTo>
                    <a:lnTo>
                      <a:pt x="4503" y="17112"/>
                    </a:lnTo>
                    <a:lnTo>
                      <a:pt x="4503" y="16963"/>
                    </a:lnTo>
                    <a:lnTo>
                      <a:pt x="4553" y="16839"/>
                    </a:lnTo>
                    <a:lnTo>
                      <a:pt x="4652" y="16764"/>
                    </a:lnTo>
                    <a:lnTo>
                      <a:pt x="4801" y="16714"/>
                    </a:lnTo>
                    <a:lnTo>
                      <a:pt x="5100" y="16665"/>
                    </a:lnTo>
                    <a:lnTo>
                      <a:pt x="5373" y="16590"/>
                    </a:lnTo>
                    <a:lnTo>
                      <a:pt x="5672" y="16491"/>
                    </a:lnTo>
                    <a:lnTo>
                      <a:pt x="5945" y="16391"/>
                    </a:lnTo>
                    <a:lnTo>
                      <a:pt x="6194" y="16267"/>
                    </a:lnTo>
                    <a:lnTo>
                      <a:pt x="6443" y="16117"/>
                    </a:lnTo>
                    <a:lnTo>
                      <a:pt x="6692" y="15943"/>
                    </a:lnTo>
                    <a:lnTo>
                      <a:pt x="6915" y="15794"/>
                    </a:lnTo>
                    <a:lnTo>
                      <a:pt x="6642" y="15471"/>
                    </a:lnTo>
                    <a:lnTo>
                      <a:pt x="6418" y="15147"/>
                    </a:lnTo>
                    <a:lnTo>
                      <a:pt x="6219" y="14799"/>
                    </a:lnTo>
                    <a:lnTo>
                      <a:pt x="6070" y="14451"/>
                    </a:lnTo>
                    <a:lnTo>
                      <a:pt x="5921" y="14078"/>
                    </a:lnTo>
                    <a:lnTo>
                      <a:pt x="5846" y="13705"/>
                    </a:lnTo>
                    <a:lnTo>
                      <a:pt x="5771" y="13332"/>
                    </a:lnTo>
                    <a:lnTo>
                      <a:pt x="5771" y="12959"/>
                    </a:lnTo>
                    <a:lnTo>
                      <a:pt x="5398" y="12959"/>
                    </a:lnTo>
                    <a:lnTo>
                      <a:pt x="5125" y="12934"/>
                    </a:lnTo>
                    <a:lnTo>
                      <a:pt x="4602" y="12834"/>
                    </a:lnTo>
                    <a:lnTo>
                      <a:pt x="4105" y="12685"/>
                    </a:lnTo>
                    <a:lnTo>
                      <a:pt x="3657" y="12511"/>
                    </a:lnTo>
                    <a:lnTo>
                      <a:pt x="3284" y="12312"/>
                    </a:lnTo>
                    <a:lnTo>
                      <a:pt x="2911" y="12088"/>
                    </a:lnTo>
                    <a:lnTo>
                      <a:pt x="2588" y="11839"/>
                    </a:lnTo>
                    <a:lnTo>
                      <a:pt x="2264" y="11591"/>
                    </a:lnTo>
                    <a:lnTo>
                      <a:pt x="1991" y="11292"/>
                    </a:lnTo>
                    <a:lnTo>
                      <a:pt x="1717" y="11019"/>
                    </a:lnTo>
                    <a:lnTo>
                      <a:pt x="1195" y="10422"/>
                    </a:lnTo>
                    <a:lnTo>
                      <a:pt x="971" y="10745"/>
                    </a:lnTo>
                    <a:lnTo>
                      <a:pt x="747" y="11068"/>
                    </a:lnTo>
                    <a:lnTo>
                      <a:pt x="573" y="11392"/>
                    </a:lnTo>
                    <a:lnTo>
                      <a:pt x="399" y="11740"/>
                    </a:lnTo>
                    <a:lnTo>
                      <a:pt x="250" y="12088"/>
                    </a:lnTo>
                    <a:lnTo>
                      <a:pt x="150" y="12461"/>
                    </a:lnTo>
                    <a:lnTo>
                      <a:pt x="76" y="12834"/>
                    </a:lnTo>
                    <a:lnTo>
                      <a:pt x="1" y="13232"/>
                    </a:lnTo>
                    <a:lnTo>
                      <a:pt x="125" y="13431"/>
                    </a:lnTo>
                    <a:lnTo>
                      <a:pt x="250" y="13630"/>
                    </a:lnTo>
                    <a:lnTo>
                      <a:pt x="399" y="13829"/>
                    </a:lnTo>
                    <a:lnTo>
                      <a:pt x="573" y="14003"/>
                    </a:lnTo>
                    <a:lnTo>
                      <a:pt x="772" y="14177"/>
                    </a:lnTo>
                    <a:lnTo>
                      <a:pt x="996" y="14327"/>
                    </a:lnTo>
                    <a:lnTo>
                      <a:pt x="1245" y="14476"/>
                    </a:lnTo>
                    <a:lnTo>
                      <a:pt x="1518" y="14600"/>
                    </a:lnTo>
                    <a:lnTo>
                      <a:pt x="1817" y="14700"/>
                    </a:lnTo>
                    <a:lnTo>
                      <a:pt x="2115" y="14799"/>
                    </a:lnTo>
                    <a:lnTo>
                      <a:pt x="2438" y="14849"/>
                    </a:lnTo>
                    <a:lnTo>
                      <a:pt x="2737" y="14899"/>
                    </a:lnTo>
                    <a:lnTo>
                      <a:pt x="3384" y="14899"/>
                    </a:lnTo>
                    <a:lnTo>
                      <a:pt x="3707" y="14849"/>
                    </a:lnTo>
                    <a:lnTo>
                      <a:pt x="4005" y="14774"/>
                    </a:lnTo>
                    <a:lnTo>
                      <a:pt x="4155" y="14774"/>
                    </a:lnTo>
                    <a:lnTo>
                      <a:pt x="4279" y="14824"/>
                    </a:lnTo>
                    <a:lnTo>
                      <a:pt x="4378" y="14899"/>
                    </a:lnTo>
                    <a:lnTo>
                      <a:pt x="4453" y="15023"/>
                    </a:lnTo>
                    <a:lnTo>
                      <a:pt x="4453" y="15172"/>
                    </a:lnTo>
                    <a:lnTo>
                      <a:pt x="4403" y="15297"/>
                    </a:lnTo>
                    <a:lnTo>
                      <a:pt x="4329" y="15396"/>
                    </a:lnTo>
                    <a:lnTo>
                      <a:pt x="4204" y="15471"/>
                    </a:lnTo>
                    <a:lnTo>
                      <a:pt x="3906" y="15545"/>
                    </a:lnTo>
                    <a:lnTo>
                      <a:pt x="3607" y="15570"/>
                    </a:lnTo>
                    <a:lnTo>
                      <a:pt x="3334" y="15620"/>
                    </a:lnTo>
                    <a:lnTo>
                      <a:pt x="3035" y="15620"/>
                    </a:lnTo>
                    <a:lnTo>
                      <a:pt x="2563" y="15595"/>
                    </a:lnTo>
                    <a:lnTo>
                      <a:pt x="2115" y="15521"/>
                    </a:lnTo>
                    <a:lnTo>
                      <a:pt x="1667" y="15421"/>
                    </a:lnTo>
                    <a:lnTo>
                      <a:pt x="1245" y="15247"/>
                    </a:lnTo>
                    <a:lnTo>
                      <a:pt x="896" y="15098"/>
                    </a:lnTo>
                    <a:lnTo>
                      <a:pt x="573" y="14899"/>
                    </a:lnTo>
                    <a:lnTo>
                      <a:pt x="299" y="14700"/>
                    </a:lnTo>
                    <a:lnTo>
                      <a:pt x="26" y="14476"/>
                    </a:lnTo>
                    <a:lnTo>
                      <a:pt x="125" y="14998"/>
                    </a:lnTo>
                    <a:lnTo>
                      <a:pt x="175" y="15247"/>
                    </a:lnTo>
                    <a:lnTo>
                      <a:pt x="250" y="15496"/>
                    </a:lnTo>
                    <a:lnTo>
                      <a:pt x="374" y="15819"/>
                    </a:lnTo>
                    <a:lnTo>
                      <a:pt x="523" y="16142"/>
                    </a:lnTo>
                    <a:lnTo>
                      <a:pt x="673" y="16441"/>
                    </a:lnTo>
                    <a:lnTo>
                      <a:pt x="871" y="16739"/>
                    </a:lnTo>
                    <a:lnTo>
                      <a:pt x="1070" y="17038"/>
                    </a:lnTo>
                    <a:lnTo>
                      <a:pt x="1294" y="17311"/>
                    </a:lnTo>
                    <a:lnTo>
                      <a:pt x="1518" y="17560"/>
                    </a:lnTo>
                    <a:lnTo>
                      <a:pt x="1792" y="17834"/>
                    </a:lnTo>
                    <a:lnTo>
                      <a:pt x="2065" y="18058"/>
                    </a:lnTo>
                    <a:lnTo>
                      <a:pt x="2339" y="18306"/>
                    </a:lnTo>
                    <a:lnTo>
                      <a:pt x="2662" y="18505"/>
                    </a:lnTo>
                    <a:lnTo>
                      <a:pt x="2961" y="18704"/>
                    </a:lnTo>
                    <a:lnTo>
                      <a:pt x="3309" y="18903"/>
                    </a:lnTo>
                    <a:lnTo>
                      <a:pt x="3657" y="19077"/>
                    </a:lnTo>
                    <a:lnTo>
                      <a:pt x="4005" y="19227"/>
                    </a:lnTo>
                    <a:lnTo>
                      <a:pt x="4378" y="19351"/>
                    </a:lnTo>
                    <a:lnTo>
                      <a:pt x="4926" y="19351"/>
                    </a:lnTo>
                    <a:lnTo>
                      <a:pt x="5349" y="19326"/>
                    </a:lnTo>
                    <a:lnTo>
                      <a:pt x="5771" y="19227"/>
                    </a:lnTo>
                    <a:lnTo>
                      <a:pt x="6194" y="19127"/>
                    </a:lnTo>
                    <a:lnTo>
                      <a:pt x="6567" y="18953"/>
                    </a:lnTo>
                    <a:lnTo>
                      <a:pt x="6940" y="18779"/>
                    </a:lnTo>
                    <a:lnTo>
                      <a:pt x="7289" y="18555"/>
                    </a:lnTo>
                    <a:lnTo>
                      <a:pt x="7587" y="18281"/>
                    </a:lnTo>
                    <a:lnTo>
                      <a:pt x="7711" y="18232"/>
                    </a:lnTo>
                    <a:lnTo>
                      <a:pt x="7861" y="18207"/>
                    </a:lnTo>
                    <a:lnTo>
                      <a:pt x="7985" y="18232"/>
                    </a:lnTo>
                    <a:lnTo>
                      <a:pt x="8109" y="18306"/>
                    </a:lnTo>
                    <a:lnTo>
                      <a:pt x="8184" y="18431"/>
                    </a:lnTo>
                    <a:lnTo>
                      <a:pt x="8209" y="18555"/>
                    </a:lnTo>
                    <a:lnTo>
                      <a:pt x="8159" y="18704"/>
                    </a:lnTo>
                    <a:lnTo>
                      <a:pt x="8084" y="18804"/>
                    </a:lnTo>
                    <a:lnTo>
                      <a:pt x="7811" y="19052"/>
                    </a:lnTo>
                    <a:lnTo>
                      <a:pt x="7512" y="19251"/>
                    </a:lnTo>
                    <a:lnTo>
                      <a:pt x="7189" y="19450"/>
                    </a:lnTo>
                    <a:lnTo>
                      <a:pt x="6866" y="19624"/>
                    </a:lnTo>
                    <a:lnTo>
                      <a:pt x="6518" y="19749"/>
                    </a:lnTo>
                    <a:lnTo>
                      <a:pt x="6169" y="19873"/>
                    </a:lnTo>
                    <a:lnTo>
                      <a:pt x="5796" y="19948"/>
                    </a:lnTo>
                    <a:lnTo>
                      <a:pt x="5423" y="20022"/>
                    </a:lnTo>
                    <a:lnTo>
                      <a:pt x="5970" y="20445"/>
                    </a:lnTo>
                    <a:lnTo>
                      <a:pt x="6542" y="20843"/>
                    </a:lnTo>
                    <a:lnTo>
                      <a:pt x="7164" y="21191"/>
                    </a:lnTo>
                    <a:lnTo>
                      <a:pt x="7786" y="21490"/>
                    </a:lnTo>
                    <a:lnTo>
                      <a:pt x="8458" y="21739"/>
                    </a:lnTo>
                    <a:lnTo>
                      <a:pt x="9129" y="21962"/>
                    </a:lnTo>
                    <a:lnTo>
                      <a:pt x="9826" y="22137"/>
                    </a:lnTo>
                    <a:lnTo>
                      <a:pt x="10522" y="22261"/>
                    </a:lnTo>
                    <a:lnTo>
                      <a:pt x="10895" y="22211"/>
                    </a:lnTo>
                    <a:lnTo>
                      <a:pt x="11069" y="22161"/>
                    </a:lnTo>
                    <a:lnTo>
                      <a:pt x="11268" y="22112"/>
                    </a:lnTo>
                    <a:lnTo>
                      <a:pt x="11467" y="22012"/>
                    </a:lnTo>
                    <a:lnTo>
                      <a:pt x="11666" y="21913"/>
                    </a:lnTo>
                    <a:lnTo>
                      <a:pt x="11840" y="21788"/>
                    </a:lnTo>
                    <a:lnTo>
                      <a:pt x="11989" y="21614"/>
                    </a:lnTo>
                    <a:lnTo>
                      <a:pt x="12114" y="21440"/>
                    </a:lnTo>
                    <a:lnTo>
                      <a:pt x="12213" y="21291"/>
                    </a:lnTo>
                    <a:lnTo>
                      <a:pt x="12288" y="21117"/>
                    </a:lnTo>
                    <a:lnTo>
                      <a:pt x="12338" y="20918"/>
                    </a:lnTo>
                    <a:lnTo>
                      <a:pt x="12363" y="20744"/>
                    </a:lnTo>
                    <a:lnTo>
                      <a:pt x="12387" y="20545"/>
                    </a:lnTo>
                    <a:lnTo>
                      <a:pt x="12363" y="20371"/>
                    </a:lnTo>
                    <a:lnTo>
                      <a:pt x="12313" y="20172"/>
                    </a:lnTo>
                    <a:lnTo>
                      <a:pt x="12313" y="20047"/>
                    </a:lnTo>
                    <a:lnTo>
                      <a:pt x="12338" y="19923"/>
                    </a:lnTo>
                    <a:lnTo>
                      <a:pt x="12437" y="19799"/>
                    </a:lnTo>
                    <a:lnTo>
                      <a:pt x="12561" y="19749"/>
                    </a:lnTo>
                    <a:lnTo>
                      <a:pt x="12686" y="19724"/>
                    </a:lnTo>
                    <a:lnTo>
                      <a:pt x="12835" y="19774"/>
                    </a:lnTo>
                    <a:lnTo>
                      <a:pt x="12935" y="19848"/>
                    </a:lnTo>
                    <a:lnTo>
                      <a:pt x="13009" y="19973"/>
                    </a:lnTo>
                    <a:lnTo>
                      <a:pt x="13059" y="20246"/>
                    </a:lnTo>
                    <a:lnTo>
                      <a:pt x="13084" y="20520"/>
                    </a:lnTo>
                    <a:lnTo>
                      <a:pt x="13084" y="20793"/>
                    </a:lnTo>
                    <a:lnTo>
                      <a:pt x="13034" y="21067"/>
                    </a:lnTo>
                    <a:lnTo>
                      <a:pt x="12959" y="21341"/>
                    </a:lnTo>
                    <a:lnTo>
                      <a:pt x="12860" y="21589"/>
                    </a:lnTo>
                    <a:lnTo>
                      <a:pt x="12711" y="21838"/>
                    </a:lnTo>
                    <a:lnTo>
                      <a:pt x="12537" y="22087"/>
                    </a:lnTo>
                    <a:lnTo>
                      <a:pt x="12387" y="22211"/>
                    </a:lnTo>
                    <a:lnTo>
                      <a:pt x="12238" y="22360"/>
                    </a:lnTo>
                    <a:lnTo>
                      <a:pt x="12263" y="22360"/>
                    </a:lnTo>
                    <a:lnTo>
                      <a:pt x="12885" y="22286"/>
                    </a:lnTo>
                    <a:lnTo>
                      <a:pt x="13482" y="22211"/>
                    </a:lnTo>
                    <a:lnTo>
                      <a:pt x="14054" y="22062"/>
                    </a:lnTo>
                    <a:lnTo>
                      <a:pt x="14626" y="21888"/>
                    </a:lnTo>
                    <a:lnTo>
                      <a:pt x="15198" y="21689"/>
                    </a:lnTo>
                    <a:lnTo>
                      <a:pt x="15720" y="21465"/>
                    </a:lnTo>
                    <a:lnTo>
                      <a:pt x="16243" y="21191"/>
                    </a:lnTo>
                    <a:lnTo>
                      <a:pt x="16740" y="20893"/>
                    </a:lnTo>
                    <a:lnTo>
                      <a:pt x="17213" y="20570"/>
                    </a:lnTo>
                    <a:lnTo>
                      <a:pt x="17660" y="20197"/>
                    </a:lnTo>
                    <a:lnTo>
                      <a:pt x="18058" y="19823"/>
                    </a:lnTo>
                    <a:lnTo>
                      <a:pt x="18456" y="19425"/>
                    </a:lnTo>
                    <a:lnTo>
                      <a:pt x="18804" y="19003"/>
                    </a:lnTo>
                    <a:lnTo>
                      <a:pt x="19128" y="18555"/>
                    </a:lnTo>
                    <a:lnTo>
                      <a:pt x="19426" y="18107"/>
                    </a:lnTo>
                    <a:lnTo>
                      <a:pt x="19700" y="17610"/>
                    </a:lnTo>
                    <a:lnTo>
                      <a:pt x="19376" y="17859"/>
                    </a:lnTo>
                    <a:lnTo>
                      <a:pt x="19028" y="18082"/>
                    </a:lnTo>
                    <a:lnTo>
                      <a:pt x="18680" y="18256"/>
                    </a:lnTo>
                    <a:lnTo>
                      <a:pt x="18332" y="18406"/>
                    </a:lnTo>
                    <a:lnTo>
                      <a:pt x="17959" y="18530"/>
                    </a:lnTo>
                    <a:lnTo>
                      <a:pt x="17586" y="18605"/>
                    </a:lnTo>
                    <a:lnTo>
                      <a:pt x="17213" y="18654"/>
                    </a:lnTo>
                    <a:lnTo>
                      <a:pt x="16840" y="18679"/>
                    </a:lnTo>
                    <a:lnTo>
                      <a:pt x="16367" y="18654"/>
                    </a:lnTo>
                    <a:lnTo>
                      <a:pt x="16243" y="18605"/>
                    </a:lnTo>
                    <a:lnTo>
                      <a:pt x="16118" y="18530"/>
                    </a:lnTo>
                    <a:lnTo>
                      <a:pt x="16068" y="18406"/>
                    </a:lnTo>
                    <a:lnTo>
                      <a:pt x="16044" y="18256"/>
                    </a:lnTo>
                    <a:lnTo>
                      <a:pt x="16093" y="18132"/>
                    </a:lnTo>
                    <a:lnTo>
                      <a:pt x="16193" y="18033"/>
                    </a:lnTo>
                    <a:lnTo>
                      <a:pt x="16317" y="17958"/>
                    </a:lnTo>
                    <a:lnTo>
                      <a:pt x="16989" y="17958"/>
                    </a:lnTo>
                    <a:lnTo>
                      <a:pt x="17237" y="17933"/>
                    </a:lnTo>
                    <a:lnTo>
                      <a:pt x="17511" y="17908"/>
                    </a:lnTo>
                    <a:lnTo>
                      <a:pt x="17785" y="17834"/>
                    </a:lnTo>
                    <a:lnTo>
                      <a:pt x="18033" y="17759"/>
                    </a:lnTo>
                    <a:lnTo>
                      <a:pt x="18282" y="17635"/>
                    </a:lnTo>
                    <a:lnTo>
                      <a:pt x="18556" y="17510"/>
                    </a:lnTo>
                    <a:lnTo>
                      <a:pt x="18804" y="17386"/>
                    </a:lnTo>
                    <a:lnTo>
                      <a:pt x="19028" y="17212"/>
                    </a:lnTo>
                    <a:lnTo>
                      <a:pt x="19277" y="17038"/>
                    </a:lnTo>
                    <a:lnTo>
                      <a:pt x="19476" y="16864"/>
                    </a:lnTo>
                    <a:lnTo>
                      <a:pt x="19700" y="16665"/>
                    </a:lnTo>
                    <a:lnTo>
                      <a:pt x="19899" y="16441"/>
                    </a:lnTo>
                    <a:lnTo>
                      <a:pt x="20098" y="16192"/>
                    </a:lnTo>
                    <a:lnTo>
                      <a:pt x="20272" y="15943"/>
                    </a:lnTo>
                    <a:lnTo>
                      <a:pt x="20297" y="15918"/>
                    </a:lnTo>
                    <a:lnTo>
                      <a:pt x="20347" y="15570"/>
                    </a:lnTo>
                    <a:lnTo>
                      <a:pt x="20396" y="15222"/>
                    </a:lnTo>
                    <a:lnTo>
                      <a:pt x="20421" y="14849"/>
                    </a:lnTo>
                    <a:lnTo>
                      <a:pt x="20421" y="14501"/>
                    </a:lnTo>
                    <a:lnTo>
                      <a:pt x="20421" y="14153"/>
                    </a:lnTo>
                    <a:lnTo>
                      <a:pt x="20172" y="14277"/>
                    </a:lnTo>
                    <a:lnTo>
                      <a:pt x="19874" y="14401"/>
                    </a:lnTo>
                    <a:lnTo>
                      <a:pt x="19600" y="14501"/>
                    </a:lnTo>
                    <a:lnTo>
                      <a:pt x="19302" y="14575"/>
                    </a:lnTo>
                    <a:lnTo>
                      <a:pt x="18979" y="14650"/>
                    </a:lnTo>
                    <a:lnTo>
                      <a:pt x="18630" y="14700"/>
                    </a:lnTo>
                    <a:lnTo>
                      <a:pt x="18282" y="14725"/>
                    </a:lnTo>
                    <a:lnTo>
                      <a:pt x="17834" y="14725"/>
                    </a:lnTo>
                    <a:lnTo>
                      <a:pt x="17287" y="14700"/>
                    </a:lnTo>
                    <a:lnTo>
                      <a:pt x="16790" y="14625"/>
                    </a:lnTo>
                    <a:lnTo>
                      <a:pt x="16342" y="14501"/>
                    </a:lnTo>
                    <a:lnTo>
                      <a:pt x="15894" y="14327"/>
                    </a:lnTo>
                    <a:lnTo>
                      <a:pt x="15695" y="14227"/>
                    </a:lnTo>
                    <a:lnTo>
                      <a:pt x="15496" y="14103"/>
                    </a:lnTo>
                    <a:lnTo>
                      <a:pt x="15297" y="13954"/>
                    </a:lnTo>
                    <a:lnTo>
                      <a:pt x="15123" y="13804"/>
                    </a:lnTo>
                    <a:lnTo>
                      <a:pt x="14974" y="13655"/>
                    </a:lnTo>
                    <a:lnTo>
                      <a:pt x="14850" y="13481"/>
                    </a:lnTo>
                    <a:lnTo>
                      <a:pt x="14725" y="13307"/>
                    </a:lnTo>
                    <a:lnTo>
                      <a:pt x="14626" y="13133"/>
                    </a:lnTo>
                    <a:lnTo>
                      <a:pt x="14253" y="13083"/>
                    </a:lnTo>
                    <a:lnTo>
                      <a:pt x="13905" y="13008"/>
                    </a:lnTo>
                    <a:lnTo>
                      <a:pt x="13556" y="12909"/>
                    </a:lnTo>
                    <a:lnTo>
                      <a:pt x="13233" y="12785"/>
                    </a:lnTo>
                    <a:lnTo>
                      <a:pt x="12910" y="12660"/>
                    </a:lnTo>
                    <a:lnTo>
                      <a:pt x="12586" y="12511"/>
                    </a:lnTo>
                    <a:lnTo>
                      <a:pt x="12288" y="12337"/>
                    </a:lnTo>
                    <a:lnTo>
                      <a:pt x="11989" y="12138"/>
                    </a:lnTo>
                    <a:lnTo>
                      <a:pt x="11741" y="12536"/>
                    </a:lnTo>
                    <a:lnTo>
                      <a:pt x="11492" y="12909"/>
                    </a:lnTo>
                    <a:lnTo>
                      <a:pt x="11194" y="13257"/>
                    </a:lnTo>
                    <a:lnTo>
                      <a:pt x="10845" y="13605"/>
                    </a:lnTo>
                    <a:lnTo>
                      <a:pt x="10497" y="13904"/>
                    </a:lnTo>
                    <a:lnTo>
                      <a:pt x="10099" y="14202"/>
                    </a:lnTo>
                    <a:lnTo>
                      <a:pt x="9701" y="14451"/>
                    </a:lnTo>
                    <a:lnTo>
                      <a:pt x="9253" y="14675"/>
                    </a:lnTo>
                    <a:lnTo>
                      <a:pt x="9179" y="14700"/>
                    </a:lnTo>
                    <a:lnTo>
                      <a:pt x="9104" y="14725"/>
                    </a:lnTo>
                    <a:lnTo>
                      <a:pt x="9005" y="14700"/>
                    </a:lnTo>
                    <a:lnTo>
                      <a:pt x="8930" y="14675"/>
                    </a:lnTo>
                    <a:lnTo>
                      <a:pt x="8856" y="14600"/>
                    </a:lnTo>
                    <a:lnTo>
                      <a:pt x="8781" y="14526"/>
                    </a:lnTo>
                    <a:lnTo>
                      <a:pt x="8756" y="14376"/>
                    </a:lnTo>
                    <a:lnTo>
                      <a:pt x="8781" y="14252"/>
                    </a:lnTo>
                    <a:lnTo>
                      <a:pt x="8831" y="14128"/>
                    </a:lnTo>
                    <a:lnTo>
                      <a:pt x="8955" y="14028"/>
                    </a:lnTo>
                    <a:lnTo>
                      <a:pt x="9353" y="13829"/>
                    </a:lnTo>
                    <a:lnTo>
                      <a:pt x="9726" y="13580"/>
                    </a:lnTo>
                    <a:lnTo>
                      <a:pt x="10074" y="13332"/>
                    </a:lnTo>
                    <a:lnTo>
                      <a:pt x="10398" y="13033"/>
                    </a:lnTo>
                    <a:lnTo>
                      <a:pt x="10696" y="12735"/>
                    </a:lnTo>
                    <a:lnTo>
                      <a:pt x="10970" y="12411"/>
                    </a:lnTo>
                    <a:lnTo>
                      <a:pt x="11218" y="12063"/>
                    </a:lnTo>
                    <a:lnTo>
                      <a:pt x="11417" y="11715"/>
                    </a:lnTo>
                    <a:lnTo>
                      <a:pt x="11144" y="11466"/>
                    </a:lnTo>
                    <a:lnTo>
                      <a:pt x="10895" y="11193"/>
                    </a:lnTo>
                    <a:lnTo>
                      <a:pt x="10696" y="10919"/>
                    </a:lnTo>
                    <a:lnTo>
                      <a:pt x="10497" y="10646"/>
                    </a:lnTo>
                    <a:lnTo>
                      <a:pt x="10323" y="10347"/>
                    </a:lnTo>
                    <a:lnTo>
                      <a:pt x="10174" y="10049"/>
                    </a:lnTo>
                    <a:lnTo>
                      <a:pt x="10049" y="9750"/>
                    </a:lnTo>
                    <a:lnTo>
                      <a:pt x="9950" y="9427"/>
                    </a:lnTo>
                    <a:lnTo>
                      <a:pt x="9900" y="9054"/>
                    </a:lnTo>
                    <a:lnTo>
                      <a:pt x="9850" y="8705"/>
                    </a:lnTo>
                    <a:lnTo>
                      <a:pt x="9403" y="8755"/>
                    </a:lnTo>
                    <a:lnTo>
                      <a:pt x="8955" y="8855"/>
                    </a:lnTo>
                    <a:lnTo>
                      <a:pt x="8532" y="8979"/>
                    </a:lnTo>
                    <a:lnTo>
                      <a:pt x="8109" y="9153"/>
                    </a:lnTo>
                    <a:lnTo>
                      <a:pt x="7736" y="9377"/>
                    </a:lnTo>
                    <a:lnTo>
                      <a:pt x="7388" y="9651"/>
                    </a:lnTo>
                    <a:lnTo>
                      <a:pt x="7065" y="9949"/>
                    </a:lnTo>
                    <a:lnTo>
                      <a:pt x="6791" y="10272"/>
                    </a:lnTo>
                    <a:lnTo>
                      <a:pt x="6741" y="10347"/>
                    </a:lnTo>
                    <a:lnTo>
                      <a:pt x="6667" y="10397"/>
                    </a:lnTo>
                    <a:lnTo>
                      <a:pt x="6592" y="10422"/>
                    </a:lnTo>
                    <a:lnTo>
                      <a:pt x="6393" y="10422"/>
                    </a:lnTo>
                    <a:lnTo>
                      <a:pt x="6294" y="10372"/>
                    </a:lnTo>
                    <a:lnTo>
                      <a:pt x="6194" y="10272"/>
                    </a:lnTo>
                    <a:lnTo>
                      <a:pt x="6144" y="10123"/>
                    </a:lnTo>
                    <a:lnTo>
                      <a:pt x="6169" y="9999"/>
                    </a:lnTo>
                    <a:lnTo>
                      <a:pt x="6219" y="9874"/>
                    </a:lnTo>
                    <a:lnTo>
                      <a:pt x="6368" y="9651"/>
                    </a:lnTo>
                    <a:lnTo>
                      <a:pt x="6542" y="9477"/>
                    </a:lnTo>
                    <a:lnTo>
                      <a:pt x="6716" y="9278"/>
                    </a:lnTo>
                    <a:lnTo>
                      <a:pt x="6915" y="9103"/>
                    </a:lnTo>
                    <a:lnTo>
                      <a:pt x="7338" y="8805"/>
                    </a:lnTo>
                    <a:lnTo>
                      <a:pt x="7786" y="8531"/>
                    </a:lnTo>
                    <a:lnTo>
                      <a:pt x="8259" y="8332"/>
                    </a:lnTo>
                    <a:lnTo>
                      <a:pt x="8756" y="8158"/>
                    </a:lnTo>
                    <a:lnTo>
                      <a:pt x="9278" y="8059"/>
                    </a:lnTo>
                    <a:lnTo>
                      <a:pt x="9801" y="8009"/>
                    </a:lnTo>
                    <a:lnTo>
                      <a:pt x="9801" y="7934"/>
                    </a:lnTo>
                    <a:lnTo>
                      <a:pt x="9776" y="7462"/>
                    </a:lnTo>
                    <a:lnTo>
                      <a:pt x="9751" y="7014"/>
                    </a:lnTo>
                    <a:lnTo>
                      <a:pt x="9676" y="6591"/>
                    </a:lnTo>
                    <a:lnTo>
                      <a:pt x="9627" y="6367"/>
                    </a:lnTo>
                    <a:lnTo>
                      <a:pt x="9552" y="6169"/>
                    </a:lnTo>
                    <a:lnTo>
                      <a:pt x="9403" y="5895"/>
                    </a:lnTo>
                    <a:lnTo>
                      <a:pt x="9253" y="5646"/>
                    </a:lnTo>
                    <a:lnTo>
                      <a:pt x="9079" y="5373"/>
                    </a:lnTo>
                    <a:lnTo>
                      <a:pt x="8880" y="5149"/>
                    </a:lnTo>
                    <a:lnTo>
                      <a:pt x="8433" y="4676"/>
                    </a:lnTo>
                    <a:lnTo>
                      <a:pt x="7960" y="4253"/>
                    </a:lnTo>
                    <a:lnTo>
                      <a:pt x="7761" y="4054"/>
                    </a:lnTo>
                    <a:lnTo>
                      <a:pt x="7264" y="3607"/>
                    </a:lnTo>
                    <a:lnTo>
                      <a:pt x="6766" y="3134"/>
                    </a:lnTo>
                    <a:lnTo>
                      <a:pt x="6169" y="3308"/>
                    </a:lnTo>
                    <a:lnTo>
                      <a:pt x="5597" y="3507"/>
                    </a:lnTo>
                    <a:lnTo>
                      <a:pt x="5025" y="3781"/>
                    </a:lnTo>
                    <a:lnTo>
                      <a:pt x="4503" y="4079"/>
                    </a:lnTo>
                    <a:lnTo>
                      <a:pt x="4030" y="4403"/>
                    </a:lnTo>
                    <a:lnTo>
                      <a:pt x="3558" y="4776"/>
                    </a:lnTo>
                    <a:lnTo>
                      <a:pt x="3160" y="5198"/>
                    </a:lnTo>
                    <a:lnTo>
                      <a:pt x="2812" y="5621"/>
                    </a:lnTo>
                    <a:lnTo>
                      <a:pt x="2737" y="5696"/>
                    </a:lnTo>
                    <a:lnTo>
                      <a:pt x="2662" y="5746"/>
                    </a:lnTo>
                    <a:lnTo>
                      <a:pt x="2588" y="5771"/>
                    </a:lnTo>
                    <a:lnTo>
                      <a:pt x="2414" y="5771"/>
                    </a:lnTo>
                    <a:lnTo>
                      <a:pt x="2314" y="5721"/>
                    </a:lnTo>
                    <a:lnTo>
                      <a:pt x="2215" y="5596"/>
                    </a:lnTo>
                    <a:lnTo>
                      <a:pt x="2165" y="5472"/>
                    </a:lnTo>
                    <a:lnTo>
                      <a:pt x="2165" y="5348"/>
                    </a:lnTo>
                    <a:lnTo>
                      <a:pt x="2239" y="5223"/>
                    </a:lnTo>
                    <a:lnTo>
                      <a:pt x="2613" y="4751"/>
                    </a:lnTo>
                    <a:lnTo>
                      <a:pt x="3011" y="4328"/>
                    </a:lnTo>
                    <a:lnTo>
                      <a:pt x="3483" y="3930"/>
                    </a:lnTo>
                    <a:lnTo>
                      <a:pt x="3981" y="3582"/>
                    </a:lnTo>
                    <a:lnTo>
                      <a:pt x="4503" y="3258"/>
                    </a:lnTo>
                    <a:lnTo>
                      <a:pt x="5075" y="2960"/>
                    </a:lnTo>
                    <a:lnTo>
                      <a:pt x="5672" y="2736"/>
                    </a:lnTo>
                    <a:lnTo>
                      <a:pt x="6269" y="2537"/>
                    </a:lnTo>
                    <a:lnTo>
                      <a:pt x="6045" y="2214"/>
                    </a:lnTo>
                    <a:lnTo>
                      <a:pt x="5921" y="1965"/>
                    </a:lnTo>
                    <a:lnTo>
                      <a:pt x="5796" y="1716"/>
                    </a:lnTo>
                    <a:lnTo>
                      <a:pt x="5697" y="1443"/>
                    </a:lnTo>
                    <a:lnTo>
                      <a:pt x="5622" y="1144"/>
                    </a:lnTo>
                    <a:lnTo>
                      <a:pt x="5572" y="871"/>
                    </a:lnTo>
                    <a:lnTo>
                      <a:pt x="5547" y="572"/>
                    </a:lnTo>
                    <a:lnTo>
                      <a:pt x="5547" y="274"/>
                    </a:lnTo>
                    <a:lnTo>
                      <a:pt x="557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15"/>
              <p:cNvSpPr/>
              <p:nvPr/>
            </p:nvSpPr>
            <p:spPr>
              <a:xfrm>
                <a:off x="2256621" y="1553473"/>
                <a:ext cx="114901" cy="309757"/>
              </a:xfrm>
              <a:custGeom>
                <a:avLst/>
                <a:gdLst/>
                <a:ahLst/>
                <a:cxnLst/>
                <a:rect l="l" t="t" r="r" b="b"/>
                <a:pathLst>
                  <a:path w="5573" h="15024" fill="none" extrusionOk="0">
                    <a:moveTo>
                      <a:pt x="5572" y="1"/>
                    </a:moveTo>
                    <a:lnTo>
                      <a:pt x="5572" y="6891"/>
                    </a:lnTo>
                    <a:lnTo>
                      <a:pt x="1" y="10074"/>
                    </a:lnTo>
                    <a:lnTo>
                      <a:pt x="1" y="15024"/>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15"/>
              <p:cNvSpPr/>
              <p:nvPr/>
            </p:nvSpPr>
            <p:spPr>
              <a:xfrm>
                <a:off x="2224829" y="1863210"/>
                <a:ext cx="63110" cy="63110"/>
              </a:xfrm>
              <a:custGeom>
                <a:avLst/>
                <a:gdLst/>
                <a:ahLst/>
                <a:cxnLst/>
                <a:rect l="l" t="t" r="r" b="b"/>
                <a:pathLst>
                  <a:path w="3061" h="3061" fill="none" extrusionOk="0">
                    <a:moveTo>
                      <a:pt x="3060" y="1543"/>
                    </a:moveTo>
                    <a:lnTo>
                      <a:pt x="3060" y="1543"/>
                    </a:lnTo>
                    <a:lnTo>
                      <a:pt x="3060" y="1692"/>
                    </a:lnTo>
                    <a:lnTo>
                      <a:pt x="3035" y="1841"/>
                    </a:lnTo>
                    <a:lnTo>
                      <a:pt x="2986" y="1991"/>
                    </a:lnTo>
                    <a:lnTo>
                      <a:pt x="2936" y="2140"/>
                    </a:lnTo>
                    <a:lnTo>
                      <a:pt x="2787" y="2389"/>
                    </a:lnTo>
                    <a:lnTo>
                      <a:pt x="2612" y="2612"/>
                    </a:lnTo>
                    <a:lnTo>
                      <a:pt x="2389" y="2786"/>
                    </a:lnTo>
                    <a:lnTo>
                      <a:pt x="2115" y="2936"/>
                    </a:lnTo>
                    <a:lnTo>
                      <a:pt x="1991" y="2985"/>
                    </a:lnTo>
                    <a:lnTo>
                      <a:pt x="1841" y="3035"/>
                    </a:lnTo>
                    <a:lnTo>
                      <a:pt x="1692" y="3060"/>
                    </a:lnTo>
                    <a:lnTo>
                      <a:pt x="1543" y="3060"/>
                    </a:lnTo>
                    <a:lnTo>
                      <a:pt x="1543" y="3060"/>
                    </a:lnTo>
                    <a:lnTo>
                      <a:pt x="1369" y="3060"/>
                    </a:lnTo>
                    <a:lnTo>
                      <a:pt x="1220" y="3035"/>
                    </a:lnTo>
                    <a:lnTo>
                      <a:pt x="1070" y="2985"/>
                    </a:lnTo>
                    <a:lnTo>
                      <a:pt x="946" y="2936"/>
                    </a:lnTo>
                    <a:lnTo>
                      <a:pt x="672" y="2786"/>
                    </a:lnTo>
                    <a:lnTo>
                      <a:pt x="449" y="2612"/>
                    </a:lnTo>
                    <a:lnTo>
                      <a:pt x="274" y="2389"/>
                    </a:lnTo>
                    <a:lnTo>
                      <a:pt x="125" y="2140"/>
                    </a:lnTo>
                    <a:lnTo>
                      <a:pt x="75" y="1991"/>
                    </a:lnTo>
                    <a:lnTo>
                      <a:pt x="26" y="1841"/>
                    </a:lnTo>
                    <a:lnTo>
                      <a:pt x="1" y="1692"/>
                    </a:lnTo>
                    <a:lnTo>
                      <a:pt x="1" y="1543"/>
                    </a:lnTo>
                    <a:lnTo>
                      <a:pt x="1" y="1543"/>
                    </a:lnTo>
                    <a:lnTo>
                      <a:pt x="1" y="1369"/>
                    </a:lnTo>
                    <a:lnTo>
                      <a:pt x="26" y="1220"/>
                    </a:lnTo>
                    <a:lnTo>
                      <a:pt x="75" y="1070"/>
                    </a:lnTo>
                    <a:lnTo>
                      <a:pt x="125" y="946"/>
                    </a:lnTo>
                    <a:lnTo>
                      <a:pt x="274" y="672"/>
                    </a:lnTo>
                    <a:lnTo>
                      <a:pt x="449" y="448"/>
                    </a:lnTo>
                    <a:lnTo>
                      <a:pt x="672" y="274"/>
                    </a:lnTo>
                    <a:lnTo>
                      <a:pt x="946" y="125"/>
                    </a:lnTo>
                    <a:lnTo>
                      <a:pt x="1070" y="75"/>
                    </a:lnTo>
                    <a:lnTo>
                      <a:pt x="1220" y="51"/>
                    </a:lnTo>
                    <a:lnTo>
                      <a:pt x="1369" y="26"/>
                    </a:lnTo>
                    <a:lnTo>
                      <a:pt x="1543" y="1"/>
                    </a:lnTo>
                    <a:lnTo>
                      <a:pt x="1543" y="1"/>
                    </a:lnTo>
                    <a:lnTo>
                      <a:pt x="1692" y="26"/>
                    </a:lnTo>
                    <a:lnTo>
                      <a:pt x="1841" y="51"/>
                    </a:lnTo>
                    <a:lnTo>
                      <a:pt x="1991" y="75"/>
                    </a:lnTo>
                    <a:lnTo>
                      <a:pt x="2115" y="125"/>
                    </a:lnTo>
                    <a:lnTo>
                      <a:pt x="2389" y="274"/>
                    </a:lnTo>
                    <a:lnTo>
                      <a:pt x="2612" y="448"/>
                    </a:lnTo>
                    <a:lnTo>
                      <a:pt x="2787" y="672"/>
                    </a:lnTo>
                    <a:lnTo>
                      <a:pt x="2936" y="946"/>
                    </a:lnTo>
                    <a:lnTo>
                      <a:pt x="2986" y="1070"/>
                    </a:lnTo>
                    <a:lnTo>
                      <a:pt x="3035" y="1220"/>
                    </a:lnTo>
                    <a:lnTo>
                      <a:pt x="3060" y="1369"/>
                    </a:lnTo>
                    <a:lnTo>
                      <a:pt x="3060" y="1543"/>
                    </a:lnTo>
                    <a:lnTo>
                      <a:pt x="3060" y="1543"/>
                    </a:lnTo>
                    <a:close/>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15"/>
              <p:cNvSpPr/>
              <p:nvPr/>
            </p:nvSpPr>
            <p:spPr>
              <a:xfrm>
                <a:off x="2443292" y="1469890"/>
                <a:ext cx="21" cy="132839"/>
              </a:xfrm>
              <a:custGeom>
                <a:avLst/>
                <a:gdLst/>
                <a:ahLst/>
                <a:cxnLst/>
                <a:rect l="l" t="t" r="r" b="b"/>
                <a:pathLst>
                  <a:path w="1" h="6443" fill="none" extrusionOk="0">
                    <a:moveTo>
                      <a:pt x="0" y="1"/>
                    </a:moveTo>
                    <a:lnTo>
                      <a:pt x="0" y="6443"/>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15"/>
              <p:cNvSpPr/>
              <p:nvPr/>
            </p:nvSpPr>
            <p:spPr>
              <a:xfrm>
                <a:off x="2503289" y="1469890"/>
                <a:ext cx="20535" cy="320520"/>
              </a:xfrm>
              <a:custGeom>
                <a:avLst/>
                <a:gdLst/>
                <a:ahLst/>
                <a:cxnLst/>
                <a:rect l="l" t="t" r="r" b="b"/>
                <a:pathLst>
                  <a:path w="996" h="15546" fill="none" extrusionOk="0">
                    <a:moveTo>
                      <a:pt x="1" y="1"/>
                    </a:moveTo>
                    <a:lnTo>
                      <a:pt x="1" y="6443"/>
                    </a:lnTo>
                    <a:lnTo>
                      <a:pt x="995" y="7189"/>
                    </a:lnTo>
                    <a:lnTo>
                      <a:pt x="995" y="15546"/>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15"/>
              <p:cNvSpPr/>
              <p:nvPr/>
            </p:nvSpPr>
            <p:spPr>
              <a:xfrm>
                <a:off x="2325340" y="1721671"/>
                <a:ext cx="21" cy="94387"/>
              </a:xfrm>
              <a:custGeom>
                <a:avLst/>
                <a:gdLst/>
                <a:ahLst/>
                <a:cxnLst/>
                <a:rect l="l" t="t" r="r" b="b"/>
                <a:pathLst>
                  <a:path w="1" h="4578" fill="none" extrusionOk="0">
                    <a:moveTo>
                      <a:pt x="1" y="1"/>
                    </a:moveTo>
                    <a:lnTo>
                      <a:pt x="1" y="4578"/>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15"/>
              <p:cNvSpPr/>
              <p:nvPr/>
            </p:nvSpPr>
            <p:spPr>
              <a:xfrm>
                <a:off x="2371502" y="1458097"/>
                <a:ext cx="10783" cy="93356"/>
              </a:xfrm>
              <a:custGeom>
                <a:avLst/>
                <a:gdLst/>
                <a:ahLst/>
                <a:cxnLst/>
                <a:rect l="l" t="t" r="r" b="b"/>
                <a:pathLst>
                  <a:path w="523" h="4528" fill="none" extrusionOk="0">
                    <a:moveTo>
                      <a:pt x="0" y="4527"/>
                    </a:moveTo>
                    <a:lnTo>
                      <a:pt x="523" y="4179"/>
                    </a:lnTo>
                    <a:lnTo>
                      <a:pt x="523" y="1"/>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95;p15"/>
              <p:cNvSpPr/>
              <p:nvPr/>
            </p:nvSpPr>
            <p:spPr>
              <a:xfrm>
                <a:off x="2412016" y="1658602"/>
                <a:ext cx="63090" cy="63090"/>
              </a:xfrm>
              <a:custGeom>
                <a:avLst/>
                <a:gdLst/>
                <a:ahLst/>
                <a:cxnLst/>
                <a:rect l="l" t="t" r="r" b="b"/>
                <a:pathLst>
                  <a:path w="3060" h="3060" fill="none" extrusionOk="0">
                    <a:moveTo>
                      <a:pt x="3060" y="1543"/>
                    </a:moveTo>
                    <a:lnTo>
                      <a:pt x="3060" y="1543"/>
                    </a:lnTo>
                    <a:lnTo>
                      <a:pt x="3035" y="1692"/>
                    </a:lnTo>
                    <a:lnTo>
                      <a:pt x="3035" y="1841"/>
                    </a:lnTo>
                    <a:lnTo>
                      <a:pt x="2985" y="1990"/>
                    </a:lnTo>
                    <a:lnTo>
                      <a:pt x="2935" y="2140"/>
                    </a:lnTo>
                    <a:lnTo>
                      <a:pt x="2786" y="2388"/>
                    </a:lnTo>
                    <a:lnTo>
                      <a:pt x="2612" y="2612"/>
                    </a:lnTo>
                    <a:lnTo>
                      <a:pt x="2388" y="2811"/>
                    </a:lnTo>
                    <a:lnTo>
                      <a:pt x="2114" y="2936"/>
                    </a:lnTo>
                    <a:lnTo>
                      <a:pt x="1990" y="2985"/>
                    </a:lnTo>
                    <a:lnTo>
                      <a:pt x="1841" y="3035"/>
                    </a:lnTo>
                    <a:lnTo>
                      <a:pt x="1692" y="3060"/>
                    </a:lnTo>
                    <a:lnTo>
                      <a:pt x="1517" y="3060"/>
                    </a:lnTo>
                    <a:lnTo>
                      <a:pt x="1517" y="3060"/>
                    </a:lnTo>
                    <a:lnTo>
                      <a:pt x="1368" y="3060"/>
                    </a:lnTo>
                    <a:lnTo>
                      <a:pt x="1219" y="3035"/>
                    </a:lnTo>
                    <a:lnTo>
                      <a:pt x="1070" y="2985"/>
                    </a:lnTo>
                    <a:lnTo>
                      <a:pt x="945" y="2936"/>
                    </a:lnTo>
                    <a:lnTo>
                      <a:pt x="672" y="2811"/>
                    </a:lnTo>
                    <a:lnTo>
                      <a:pt x="448" y="2612"/>
                    </a:lnTo>
                    <a:lnTo>
                      <a:pt x="274" y="2388"/>
                    </a:lnTo>
                    <a:lnTo>
                      <a:pt x="125" y="2140"/>
                    </a:lnTo>
                    <a:lnTo>
                      <a:pt x="75" y="1990"/>
                    </a:lnTo>
                    <a:lnTo>
                      <a:pt x="25" y="1841"/>
                    </a:lnTo>
                    <a:lnTo>
                      <a:pt x="0" y="1692"/>
                    </a:lnTo>
                    <a:lnTo>
                      <a:pt x="0" y="1543"/>
                    </a:lnTo>
                    <a:lnTo>
                      <a:pt x="0" y="1543"/>
                    </a:lnTo>
                    <a:lnTo>
                      <a:pt x="0" y="1394"/>
                    </a:lnTo>
                    <a:lnTo>
                      <a:pt x="25" y="1219"/>
                    </a:lnTo>
                    <a:lnTo>
                      <a:pt x="75" y="1095"/>
                    </a:lnTo>
                    <a:lnTo>
                      <a:pt x="125" y="946"/>
                    </a:lnTo>
                    <a:lnTo>
                      <a:pt x="274" y="697"/>
                    </a:lnTo>
                    <a:lnTo>
                      <a:pt x="448" y="448"/>
                    </a:lnTo>
                    <a:lnTo>
                      <a:pt x="672" y="274"/>
                    </a:lnTo>
                    <a:lnTo>
                      <a:pt x="945" y="125"/>
                    </a:lnTo>
                    <a:lnTo>
                      <a:pt x="1070" y="75"/>
                    </a:lnTo>
                    <a:lnTo>
                      <a:pt x="1219" y="50"/>
                    </a:lnTo>
                    <a:lnTo>
                      <a:pt x="1368" y="26"/>
                    </a:lnTo>
                    <a:lnTo>
                      <a:pt x="1517" y="1"/>
                    </a:lnTo>
                    <a:lnTo>
                      <a:pt x="1517" y="1"/>
                    </a:lnTo>
                    <a:lnTo>
                      <a:pt x="1692" y="26"/>
                    </a:lnTo>
                    <a:lnTo>
                      <a:pt x="1841" y="50"/>
                    </a:lnTo>
                    <a:lnTo>
                      <a:pt x="1990" y="75"/>
                    </a:lnTo>
                    <a:lnTo>
                      <a:pt x="2114" y="125"/>
                    </a:lnTo>
                    <a:lnTo>
                      <a:pt x="2388" y="274"/>
                    </a:lnTo>
                    <a:lnTo>
                      <a:pt x="2612" y="448"/>
                    </a:lnTo>
                    <a:lnTo>
                      <a:pt x="2786" y="697"/>
                    </a:lnTo>
                    <a:lnTo>
                      <a:pt x="2935" y="946"/>
                    </a:lnTo>
                    <a:lnTo>
                      <a:pt x="2985" y="1095"/>
                    </a:lnTo>
                    <a:lnTo>
                      <a:pt x="3035" y="1219"/>
                    </a:lnTo>
                    <a:lnTo>
                      <a:pt x="3035" y="1394"/>
                    </a:lnTo>
                    <a:lnTo>
                      <a:pt x="3060" y="1543"/>
                    </a:lnTo>
                    <a:lnTo>
                      <a:pt x="3060" y="1543"/>
                    </a:lnTo>
                    <a:close/>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96;p15"/>
              <p:cNvSpPr/>
              <p:nvPr/>
            </p:nvSpPr>
            <p:spPr>
              <a:xfrm>
                <a:off x="2256622" y="1992956"/>
                <a:ext cx="21" cy="213350"/>
              </a:xfrm>
              <a:custGeom>
                <a:avLst/>
                <a:gdLst/>
                <a:ahLst/>
                <a:cxnLst/>
                <a:rect l="l" t="t" r="r" b="b"/>
                <a:pathLst>
                  <a:path w="1" h="10348" fill="none" extrusionOk="0">
                    <a:moveTo>
                      <a:pt x="1" y="10347"/>
                    </a:moveTo>
                    <a:lnTo>
                      <a:pt x="1" y="0"/>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15"/>
              <p:cNvSpPr/>
              <p:nvPr/>
            </p:nvSpPr>
            <p:spPr>
              <a:xfrm>
                <a:off x="2443292" y="1721671"/>
                <a:ext cx="126674" cy="405670"/>
              </a:xfrm>
              <a:custGeom>
                <a:avLst/>
                <a:gdLst/>
                <a:ahLst/>
                <a:cxnLst/>
                <a:rect l="l" t="t" r="r" b="b"/>
                <a:pathLst>
                  <a:path w="6144" h="19676" fill="none" extrusionOk="0">
                    <a:moveTo>
                      <a:pt x="6144" y="19675"/>
                    </a:moveTo>
                    <a:lnTo>
                      <a:pt x="6144" y="11194"/>
                    </a:lnTo>
                    <a:lnTo>
                      <a:pt x="0" y="8060"/>
                    </a:lnTo>
                    <a:lnTo>
                      <a:pt x="0" y="1"/>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98;p15"/>
              <p:cNvSpPr/>
              <p:nvPr/>
            </p:nvSpPr>
            <p:spPr>
              <a:xfrm>
                <a:off x="2325340" y="1784760"/>
                <a:ext cx="46183" cy="387691"/>
              </a:xfrm>
              <a:custGeom>
                <a:avLst/>
                <a:gdLst/>
                <a:ahLst/>
                <a:cxnLst/>
                <a:rect l="l" t="t" r="r" b="b"/>
                <a:pathLst>
                  <a:path w="2240" h="18804" fill="none" extrusionOk="0">
                    <a:moveTo>
                      <a:pt x="2239" y="0"/>
                    </a:moveTo>
                    <a:lnTo>
                      <a:pt x="2239" y="9850"/>
                    </a:lnTo>
                    <a:lnTo>
                      <a:pt x="1" y="11292"/>
                    </a:lnTo>
                    <a:lnTo>
                      <a:pt x="1" y="18804"/>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99;p15"/>
              <p:cNvSpPr/>
              <p:nvPr/>
            </p:nvSpPr>
            <p:spPr>
              <a:xfrm>
                <a:off x="2443292" y="2074498"/>
                <a:ext cx="21" cy="52843"/>
              </a:xfrm>
              <a:custGeom>
                <a:avLst/>
                <a:gdLst/>
                <a:ahLst/>
                <a:cxnLst/>
                <a:rect l="l" t="t" r="r" b="b"/>
                <a:pathLst>
                  <a:path w="1" h="2563" fill="none" extrusionOk="0">
                    <a:moveTo>
                      <a:pt x="0" y="2562"/>
                    </a:moveTo>
                    <a:lnTo>
                      <a:pt x="0" y="0"/>
                    </a:lnTo>
                  </a:path>
                </a:pathLst>
              </a:custGeom>
              <a:solidFill>
                <a:schemeClr val="accent3"/>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100;p15"/>
              <p:cNvSpPr/>
              <p:nvPr/>
            </p:nvSpPr>
            <p:spPr>
              <a:xfrm>
                <a:off x="2443292" y="1938093"/>
                <a:ext cx="21" cy="86161"/>
              </a:xfrm>
              <a:custGeom>
                <a:avLst/>
                <a:gdLst/>
                <a:ahLst/>
                <a:cxnLst/>
                <a:rect l="l" t="t" r="r" b="b"/>
                <a:pathLst>
                  <a:path w="1" h="4179" fill="none" extrusionOk="0">
                    <a:moveTo>
                      <a:pt x="0" y="4179"/>
                    </a:moveTo>
                    <a:lnTo>
                      <a:pt x="0" y="0"/>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101;p15"/>
              <p:cNvSpPr/>
              <p:nvPr/>
            </p:nvSpPr>
            <p:spPr>
              <a:xfrm>
                <a:off x="2523804" y="1846283"/>
                <a:ext cx="21" cy="31318"/>
              </a:xfrm>
              <a:custGeom>
                <a:avLst/>
                <a:gdLst/>
                <a:ahLst/>
                <a:cxnLst/>
                <a:rect l="l" t="t" r="r" b="b"/>
                <a:pathLst>
                  <a:path w="1" h="1519" fill="none" extrusionOk="0">
                    <a:moveTo>
                      <a:pt x="0" y="1"/>
                    </a:moveTo>
                    <a:lnTo>
                      <a:pt x="0" y="1518"/>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15"/>
              <p:cNvSpPr/>
              <p:nvPr/>
            </p:nvSpPr>
            <p:spPr>
              <a:xfrm>
                <a:off x="2889950" y="1846283"/>
                <a:ext cx="63090" cy="62595"/>
              </a:xfrm>
              <a:custGeom>
                <a:avLst/>
                <a:gdLst/>
                <a:ahLst/>
                <a:cxnLst/>
                <a:rect l="l" t="t" r="r" b="b"/>
                <a:pathLst>
                  <a:path w="3060" h="3036" fill="none" extrusionOk="0">
                    <a:moveTo>
                      <a:pt x="3060" y="1518"/>
                    </a:moveTo>
                    <a:lnTo>
                      <a:pt x="3060" y="1518"/>
                    </a:lnTo>
                    <a:lnTo>
                      <a:pt x="3060" y="1667"/>
                    </a:lnTo>
                    <a:lnTo>
                      <a:pt x="3035" y="1817"/>
                    </a:lnTo>
                    <a:lnTo>
                      <a:pt x="2985" y="1966"/>
                    </a:lnTo>
                    <a:lnTo>
                      <a:pt x="2935" y="2115"/>
                    </a:lnTo>
                    <a:lnTo>
                      <a:pt x="2786" y="2364"/>
                    </a:lnTo>
                    <a:lnTo>
                      <a:pt x="2612" y="2588"/>
                    </a:lnTo>
                    <a:lnTo>
                      <a:pt x="2388" y="2787"/>
                    </a:lnTo>
                    <a:lnTo>
                      <a:pt x="2114" y="2911"/>
                    </a:lnTo>
                    <a:lnTo>
                      <a:pt x="1990" y="2986"/>
                    </a:lnTo>
                    <a:lnTo>
                      <a:pt x="1841" y="3011"/>
                    </a:lnTo>
                    <a:lnTo>
                      <a:pt x="1692" y="3035"/>
                    </a:lnTo>
                    <a:lnTo>
                      <a:pt x="1542" y="3035"/>
                    </a:lnTo>
                    <a:lnTo>
                      <a:pt x="1542" y="3035"/>
                    </a:lnTo>
                    <a:lnTo>
                      <a:pt x="1368" y="3035"/>
                    </a:lnTo>
                    <a:lnTo>
                      <a:pt x="1219" y="3011"/>
                    </a:lnTo>
                    <a:lnTo>
                      <a:pt x="1070" y="2986"/>
                    </a:lnTo>
                    <a:lnTo>
                      <a:pt x="945" y="2911"/>
                    </a:lnTo>
                    <a:lnTo>
                      <a:pt x="672" y="2787"/>
                    </a:lnTo>
                    <a:lnTo>
                      <a:pt x="448" y="2588"/>
                    </a:lnTo>
                    <a:lnTo>
                      <a:pt x="274" y="2364"/>
                    </a:lnTo>
                    <a:lnTo>
                      <a:pt x="125" y="2115"/>
                    </a:lnTo>
                    <a:lnTo>
                      <a:pt x="75" y="1966"/>
                    </a:lnTo>
                    <a:lnTo>
                      <a:pt x="25" y="1817"/>
                    </a:lnTo>
                    <a:lnTo>
                      <a:pt x="0" y="1667"/>
                    </a:lnTo>
                    <a:lnTo>
                      <a:pt x="0" y="1518"/>
                    </a:lnTo>
                    <a:lnTo>
                      <a:pt x="0" y="1518"/>
                    </a:lnTo>
                    <a:lnTo>
                      <a:pt x="0" y="1369"/>
                    </a:lnTo>
                    <a:lnTo>
                      <a:pt x="25" y="1220"/>
                    </a:lnTo>
                    <a:lnTo>
                      <a:pt x="75" y="1071"/>
                    </a:lnTo>
                    <a:lnTo>
                      <a:pt x="125" y="921"/>
                    </a:lnTo>
                    <a:lnTo>
                      <a:pt x="274" y="673"/>
                    </a:lnTo>
                    <a:lnTo>
                      <a:pt x="448" y="449"/>
                    </a:lnTo>
                    <a:lnTo>
                      <a:pt x="672" y="250"/>
                    </a:lnTo>
                    <a:lnTo>
                      <a:pt x="945" y="100"/>
                    </a:lnTo>
                    <a:lnTo>
                      <a:pt x="1070" y="51"/>
                    </a:lnTo>
                    <a:lnTo>
                      <a:pt x="1219" y="26"/>
                    </a:lnTo>
                    <a:lnTo>
                      <a:pt x="1368" y="1"/>
                    </a:lnTo>
                    <a:lnTo>
                      <a:pt x="1542" y="1"/>
                    </a:lnTo>
                    <a:lnTo>
                      <a:pt x="1542" y="1"/>
                    </a:lnTo>
                    <a:lnTo>
                      <a:pt x="1692" y="1"/>
                    </a:lnTo>
                    <a:lnTo>
                      <a:pt x="1841" y="26"/>
                    </a:lnTo>
                    <a:lnTo>
                      <a:pt x="1990" y="51"/>
                    </a:lnTo>
                    <a:lnTo>
                      <a:pt x="2114" y="100"/>
                    </a:lnTo>
                    <a:lnTo>
                      <a:pt x="2388" y="250"/>
                    </a:lnTo>
                    <a:lnTo>
                      <a:pt x="2612" y="449"/>
                    </a:lnTo>
                    <a:lnTo>
                      <a:pt x="2786" y="673"/>
                    </a:lnTo>
                    <a:lnTo>
                      <a:pt x="2935" y="921"/>
                    </a:lnTo>
                    <a:lnTo>
                      <a:pt x="2985" y="1071"/>
                    </a:lnTo>
                    <a:lnTo>
                      <a:pt x="3035" y="1220"/>
                    </a:lnTo>
                    <a:lnTo>
                      <a:pt x="3060" y="1369"/>
                    </a:lnTo>
                    <a:lnTo>
                      <a:pt x="3060" y="1518"/>
                    </a:lnTo>
                    <a:lnTo>
                      <a:pt x="3060" y="1518"/>
                    </a:lnTo>
                    <a:close/>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103;p15"/>
              <p:cNvSpPr/>
              <p:nvPr/>
            </p:nvSpPr>
            <p:spPr>
              <a:xfrm>
                <a:off x="2714062" y="1658602"/>
                <a:ext cx="62574" cy="63090"/>
              </a:xfrm>
              <a:custGeom>
                <a:avLst/>
                <a:gdLst/>
                <a:ahLst/>
                <a:cxnLst/>
                <a:rect l="l" t="t" r="r" b="b"/>
                <a:pathLst>
                  <a:path w="3035" h="3060" fill="none" extrusionOk="0">
                    <a:moveTo>
                      <a:pt x="3034" y="1543"/>
                    </a:moveTo>
                    <a:lnTo>
                      <a:pt x="3034" y="1543"/>
                    </a:lnTo>
                    <a:lnTo>
                      <a:pt x="3034" y="1692"/>
                    </a:lnTo>
                    <a:lnTo>
                      <a:pt x="3010" y="1841"/>
                    </a:lnTo>
                    <a:lnTo>
                      <a:pt x="2985" y="1990"/>
                    </a:lnTo>
                    <a:lnTo>
                      <a:pt x="2935" y="2140"/>
                    </a:lnTo>
                    <a:lnTo>
                      <a:pt x="2786" y="2388"/>
                    </a:lnTo>
                    <a:lnTo>
                      <a:pt x="2612" y="2612"/>
                    </a:lnTo>
                    <a:lnTo>
                      <a:pt x="2363" y="2811"/>
                    </a:lnTo>
                    <a:lnTo>
                      <a:pt x="2114" y="2936"/>
                    </a:lnTo>
                    <a:lnTo>
                      <a:pt x="1965" y="2985"/>
                    </a:lnTo>
                    <a:lnTo>
                      <a:pt x="1816" y="3035"/>
                    </a:lnTo>
                    <a:lnTo>
                      <a:pt x="1666" y="3060"/>
                    </a:lnTo>
                    <a:lnTo>
                      <a:pt x="1517" y="3060"/>
                    </a:lnTo>
                    <a:lnTo>
                      <a:pt x="1517" y="3060"/>
                    </a:lnTo>
                    <a:lnTo>
                      <a:pt x="1368" y="3060"/>
                    </a:lnTo>
                    <a:lnTo>
                      <a:pt x="1219" y="3035"/>
                    </a:lnTo>
                    <a:lnTo>
                      <a:pt x="1070" y="2985"/>
                    </a:lnTo>
                    <a:lnTo>
                      <a:pt x="920" y="2936"/>
                    </a:lnTo>
                    <a:lnTo>
                      <a:pt x="672" y="2811"/>
                    </a:lnTo>
                    <a:lnTo>
                      <a:pt x="448" y="2612"/>
                    </a:lnTo>
                    <a:lnTo>
                      <a:pt x="249" y="2388"/>
                    </a:lnTo>
                    <a:lnTo>
                      <a:pt x="124" y="2140"/>
                    </a:lnTo>
                    <a:lnTo>
                      <a:pt x="75" y="1990"/>
                    </a:lnTo>
                    <a:lnTo>
                      <a:pt x="25" y="1841"/>
                    </a:lnTo>
                    <a:lnTo>
                      <a:pt x="0" y="1692"/>
                    </a:lnTo>
                    <a:lnTo>
                      <a:pt x="0" y="1543"/>
                    </a:lnTo>
                    <a:lnTo>
                      <a:pt x="0" y="1543"/>
                    </a:lnTo>
                    <a:lnTo>
                      <a:pt x="0" y="1394"/>
                    </a:lnTo>
                    <a:lnTo>
                      <a:pt x="25" y="1219"/>
                    </a:lnTo>
                    <a:lnTo>
                      <a:pt x="75" y="1095"/>
                    </a:lnTo>
                    <a:lnTo>
                      <a:pt x="124" y="946"/>
                    </a:lnTo>
                    <a:lnTo>
                      <a:pt x="249" y="697"/>
                    </a:lnTo>
                    <a:lnTo>
                      <a:pt x="448" y="448"/>
                    </a:lnTo>
                    <a:lnTo>
                      <a:pt x="672" y="274"/>
                    </a:lnTo>
                    <a:lnTo>
                      <a:pt x="920" y="125"/>
                    </a:lnTo>
                    <a:lnTo>
                      <a:pt x="1070" y="75"/>
                    </a:lnTo>
                    <a:lnTo>
                      <a:pt x="1219" y="50"/>
                    </a:lnTo>
                    <a:lnTo>
                      <a:pt x="1368" y="26"/>
                    </a:lnTo>
                    <a:lnTo>
                      <a:pt x="1517" y="1"/>
                    </a:lnTo>
                    <a:lnTo>
                      <a:pt x="1517" y="1"/>
                    </a:lnTo>
                    <a:lnTo>
                      <a:pt x="1666" y="26"/>
                    </a:lnTo>
                    <a:lnTo>
                      <a:pt x="1816" y="50"/>
                    </a:lnTo>
                    <a:lnTo>
                      <a:pt x="1965" y="75"/>
                    </a:lnTo>
                    <a:lnTo>
                      <a:pt x="2114" y="125"/>
                    </a:lnTo>
                    <a:lnTo>
                      <a:pt x="2363" y="274"/>
                    </a:lnTo>
                    <a:lnTo>
                      <a:pt x="2612" y="448"/>
                    </a:lnTo>
                    <a:lnTo>
                      <a:pt x="2786" y="697"/>
                    </a:lnTo>
                    <a:lnTo>
                      <a:pt x="2935" y="946"/>
                    </a:lnTo>
                    <a:lnTo>
                      <a:pt x="2985" y="1095"/>
                    </a:lnTo>
                    <a:lnTo>
                      <a:pt x="3010" y="1219"/>
                    </a:lnTo>
                    <a:lnTo>
                      <a:pt x="3034" y="1394"/>
                    </a:lnTo>
                    <a:lnTo>
                      <a:pt x="3034" y="1543"/>
                    </a:lnTo>
                    <a:lnTo>
                      <a:pt x="3034" y="1543"/>
                    </a:lnTo>
                    <a:close/>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15"/>
              <p:cNvSpPr/>
              <p:nvPr/>
            </p:nvSpPr>
            <p:spPr>
              <a:xfrm>
                <a:off x="2745339" y="1469890"/>
                <a:ext cx="21" cy="132839"/>
              </a:xfrm>
              <a:custGeom>
                <a:avLst/>
                <a:gdLst/>
                <a:ahLst/>
                <a:cxnLst/>
                <a:rect l="l" t="t" r="r" b="b"/>
                <a:pathLst>
                  <a:path w="1" h="6443" fill="none" extrusionOk="0">
                    <a:moveTo>
                      <a:pt x="0" y="1"/>
                    </a:moveTo>
                    <a:lnTo>
                      <a:pt x="0" y="6443"/>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15"/>
              <p:cNvSpPr/>
              <p:nvPr/>
            </p:nvSpPr>
            <p:spPr>
              <a:xfrm>
                <a:off x="2804820" y="1469890"/>
                <a:ext cx="20535" cy="320520"/>
              </a:xfrm>
              <a:custGeom>
                <a:avLst/>
                <a:gdLst/>
                <a:ahLst/>
                <a:cxnLst/>
                <a:rect l="l" t="t" r="r" b="b"/>
                <a:pathLst>
                  <a:path w="996" h="15546" fill="none" extrusionOk="0">
                    <a:moveTo>
                      <a:pt x="0" y="1"/>
                    </a:moveTo>
                    <a:lnTo>
                      <a:pt x="0" y="6443"/>
                    </a:lnTo>
                    <a:lnTo>
                      <a:pt x="995" y="7189"/>
                    </a:lnTo>
                    <a:lnTo>
                      <a:pt x="995" y="15546"/>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15"/>
              <p:cNvSpPr/>
              <p:nvPr/>
            </p:nvSpPr>
            <p:spPr>
              <a:xfrm>
                <a:off x="2745339" y="1721671"/>
                <a:ext cx="126674" cy="434369"/>
              </a:xfrm>
              <a:custGeom>
                <a:avLst/>
                <a:gdLst/>
                <a:ahLst/>
                <a:cxnLst/>
                <a:rect l="l" t="t" r="r" b="b"/>
                <a:pathLst>
                  <a:path w="6144" h="21068" fill="none" extrusionOk="0">
                    <a:moveTo>
                      <a:pt x="6144" y="21068"/>
                    </a:moveTo>
                    <a:lnTo>
                      <a:pt x="6144" y="11194"/>
                    </a:lnTo>
                    <a:lnTo>
                      <a:pt x="0" y="8060"/>
                    </a:lnTo>
                    <a:lnTo>
                      <a:pt x="0" y="1"/>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15"/>
              <p:cNvSpPr/>
              <p:nvPr/>
            </p:nvSpPr>
            <p:spPr>
              <a:xfrm>
                <a:off x="2623799" y="1728866"/>
                <a:ext cx="21" cy="94366"/>
              </a:xfrm>
              <a:custGeom>
                <a:avLst/>
                <a:gdLst/>
                <a:ahLst/>
                <a:cxnLst/>
                <a:rect l="l" t="t" r="r" b="b"/>
                <a:pathLst>
                  <a:path w="1" h="4577" fill="none" extrusionOk="0">
                    <a:moveTo>
                      <a:pt x="0" y="0"/>
                    </a:moveTo>
                    <a:lnTo>
                      <a:pt x="0" y="4577"/>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15"/>
              <p:cNvSpPr/>
              <p:nvPr/>
            </p:nvSpPr>
            <p:spPr>
              <a:xfrm>
                <a:off x="2627386" y="1784760"/>
                <a:ext cx="46183" cy="335385"/>
              </a:xfrm>
              <a:custGeom>
                <a:avLst/>
                <a:gdLst/>
                <a:ahLst/>
                <a:cxnLst/>
                <a:rect l="l" t="t" r="r" b="b"/>
                <a:pathLst>
                  <a:path w="2240" h="16267" fill="none" extrusionOk="0">
                    <a:moveTo>
                      <a:pt x="2239" y="0"/>
                    </a:moveTo>
                    <a:lnTo>
                      <a:pt x="2239" y="9850"/>
                    </a:lnTo>
                    <a:lnTo>
                      <a:pt x="1" y="11292"/>
                    </a:lnTo>
                    <a:lnTo>
                      <a:pt x="1" y="16267"/>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15"/>
              <p:cNvSpPr/>
              <p:nvPr/>
            </p:nvSpPr>
            <p:spPr>
              <a:xfrm>
                <a:off x="2745339" y="2074498"/>
                <a:ext cx="21" cy="52843"/>
              </a:xfrm>
              <a:custGeom>
                <a:avLst/>
                <a:gdLst/>
                <a:ahLst/>
                <a:cxnLst/>
                <a:rect l="l" t="t" r="r" b="b"/>
                <a:pathLst>
                  <a:path w="1" h="2563" fill="none" extrusionOk="0">
                    <a:moveTo>
                      <a:pt x="0" y="2562"/>
                    </a:moveTo>
                    <a:lnTo>
                      <a:pt x="0" y="0"/>
                    </a:lnTo>
                  </a:path>
                </a:pathLst>
              </a:custGeom>
              <a:solidFill>
                <a:schemeClr val="accent3"/>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15"/>
              <p:cNvSpPr/>
              <p:nvPr/>
            </p:nvSpPr>
            <p:spPr>
              <a:xfrm>
                <a:off x="2745339" y="1938093"/>
                <a:ext cx="21" cy="86161"/>
              </a:xfrm>
              <a:custGeom>
                <a:avLst/>
                <a:gdLst/>
                <a:ahLst/>
                <a:cxnLst/>
                <a:rect l="l" t="t" r="r" b="b"/>
                <a:pathLst>
                  <a:path w="1" h="4179" fill="none" extrusionOk="0">
                    <a:moveTo>
                      <a:pt x="0" y="4179"/>
                    </a:moveTo>
                    <a:lnTo>
                      <a:pt x="0" y="0"/>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15"/>
              <p:cNvSpPr/>
              <p:nvPr/>
            </p:nvSpPr>
            <p:spPr>
              <a:xfrm>
                <a:off x="2673549" y="1458097"/>
                <a:ext cx="10268" cy="93356"/>
              </a:xfrm>
              <a:custGeom>
                <a:avLst/>
                <a:gdLst/>
                <a:ahLst/>
                <a:cxnLst/>
                <a:rect l="l" t="t" r="r" b="b"/>
                <a:pathLst>
                  <a:path w="498" h="4528" fill="none" extrusionOk="0">
                    <a:moveTo>
                      <a:pt x="0" y="4527"/>
                    </a:moveTo>
                    <a:lnTo>
                      <a:pt x="498" y="4179"/>
                    </a:lnTo>
                    <a:lnTo>
                      <a:pt x="498" y="1"/>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15"/>
              <p:cNvSpPr/>
              <p:nvPr/>
            </p:nvSpPr>
            <p:spPr>
              <a:xfrm>
                <a:off x="2825335" y="1846283"/>
                <a:ext cx="21" cy="31318"/>
              </a:xfrm>
              <a:custGeom>
                <a:avLst/>
                <a:gdLst/>
                <a:ahLst/>
                <a:cxnLst/>
                <a:rect l="l" t="t" r="r" b="b"/>
                <a:pathLst>
                  <a:path w="1" h="1519" fill="none" extrusionOk="0">
                    <a:moveTo>
                      <a:pt x="0" y="1"/>
                    </a:moveTo>
                    <a:lnTo>
                      <a:pt x="0" y="1518"/>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15"/>
              <p:cNvSpPr/>
              <p:nvPr/>
            </p:nvSpPr>
            <p:spPr>
              <a:xfrm>
                <a:off x="2563286" y="1469890"/>
                <a:ext cx="21" cy="52843"/>
              </a:xfrm>
              <a:custGeom>
                <a:avLst/>
                <a:gdLst/>
                <a:ahLst/>
                <a:cxnLst/>
                <a:rect l="l" t="t" r="r" b="b"/>
                <a:pathLst>
                  <a:path w="1" h="2563" fill="none" extrusionOk="0">
                    <a:moveTo>
                      <a:pt x="1" y="1"/>
                    </a:moveTo>
                    <a:lnTo>
                      <a:pt x="1" y="2563"/>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15"/>
              <p:cNvSpPr/>
              <p:nvPr/>
            </p:nvSpPr>
            <p:spPr>
              <a:xfrm>
                <a:off x="2563286" y="1565782"/>
                <a:ext cx="57976" cy="91810"/>
              </a:xfrm>
              <a:custGeom>
                <a:avLst/>
                <a:gdLst/>
                <a:ahLst/>
                <a:cxnLst/>
                <a:rect l="l" t="t" r="r" b="b"/>
                <a:pathLst>
                  <a:path w="2812" h="4453" fill="none" extrusionOk="0">
                    <a:moveTo>
                      <a:pt x="1" y="1"/>
                    </a:moveTo>
                    <a:lnTo>
                      <a:pt x="2811" y="971"/>
                    </a:lnTo>
                    <a:lnTo>
                      <a:pt x="2811" y="4453"/>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15"/>
              <p:cNvSpPr/>
              <p:nvPr/>
            </p:nvSpPr>
            <p:spPr>
              <a:xfrm>
                <a:off x="2569946" y="1553473"/>
                <a:ext cx="103624" cy="352848"/>
              </a:xfrm>
              <a:custGeom>
                <a:avLst/>
                <a:gdLst/>
                <a:ahLst/>
                <a:cxnLst/>
                <a:rect l="l" t="t" r="r" b="b"/>
                <a:pathLst>
                  <a:path w="5026" h="17114" fill="none" extrusionOk="0">
                    <a:moveTo>
                      <a:pt x="1" y="17113"/>
                    </a:moveTo>
                    <a:lnTo>
                      <a:pt x="1" y="10074"/>
                    </a:lnTo>
                    <a:lnTo>
                      <a:pt x="5025" y="6891"/>
                    </a:lnTo>
                    <a:lnTo>
                      <a:pt x="5025" y="1"/>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15"/>
              <p:cNvSpPr/>
              <p:nvPr/>
            </p:nvSpPr>
            <p:spPr>
              <a:xfrm>
                <a:off x="2367399" y="881693"/>
                <a:ext cx="29751" cy="52327"/>
              </a:xfrm>
              <a:custGeom>
                <a:avLst/>
                <a:gdLst/>
                <a:ahLst/>
                <a:cxnLst/>
                <a:rect l="l" t="t" r="r" b="b"/>
                <a:pathLst>
                  <a:path w="1443" h="2538" extrusionOk="0">
                    <a:moveTo>
                      <a:pt x="0" y="1"/>
                    </a:moveTo>
                    <a:lnTo>
                      <a:pt x="0" y="2538"/>
                    </a:lnTo>
                    <a:lnTo>
                      <a:pt x="1443" y="2538"/>
                    </a:lnTo>
                    <a:lnTo>
                      <a:pt x="144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15"/>
              <p:cNvSpPr/>
              <p:nvPr/>
            </p:nvSpPr>
            <p:spPr>
              <a:xfrm>
                <a:off x="2427912" y="881693"/>
                <a:ext cx="29751" cy="52327"/>
              </a:xfrm>
              <a:custGeom>
                <a:avLst/>
                <a:gdLst/>
                <a:ahLst/>
                <a:cxnLst/>
                <a:rect l="l" t="t" r="r" b="b"/>
                <a:pathLst>
                  <a:path w="1443" h="2538" extrusionOk="0">
                    <a:moveTo>
                      <a:pt x="0" y="1"/>
                    </a:moveTo>
                    <a:lnTo>
                      <a:pt x="0" y="2538"/>
                    </a:lnTo>
                    <a:lnTo>
                      <a:pt x="1443" y="2538"/>
                    </a:lnTo>
                    <a:lnTo>
                      <a:pt x="144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15"/>
              <p:cNvSpPr/>
              <p:nvPr/>
            </p:nvSpPr>
            <p:spPr>
              <a:xfrm>
                <a:off x="2488424" y="881693"/>
                <a:ext cx="29236" cy="52327"/>
              </a:xfrm>
              <a:custGeom>
                <a:avLst/>
                <a:gdLst/>
                <a:ahLst/>
                <a:cxnLst/>
                <a:rect l="l" t="t" r="r" b="b"/>
                <a:pathLst>
                  <a:path w="1418" h="2538" extrusionOk="0">
                    <a:moveTo>
                      <a:pt x="0" y="1"/>
                    </a:moveTo>
                    <a:lnTo>
                      <a:pt x="0" y="2538"/>
                    </a:lnTo>
                    <a:lnTo>
                      <a:pt x="1418" y="2538"/>
                    </a:lnTo>
                    <a:lnTo>
                      <a:pt x="1418"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15"/>
              <p:cNvSpPr/>
              <p:nvPr/>
            </p:nvSpPr>
            <p:spPr>
              <a:xfrm>
                <a:off x="2548936" y="881693"/>
                <a:ext cx="29236" cy="52327"/>
              </a:xfrm>
              <a:custGeom>
                <a:avLst/>
                <a:gdLst/>
                <a:ahLst/>
                <a:cxnLst/>
                <a:rect l="l" t="t" r="r" b="b"/>
                <a:pathLst>
                  <a:path w="1418" h="2538" extrusionOk="0">
                    <a:moveTo>
                      <a:pt x="0" y="1"/>
                    </a:moveTo>
                    <a:lnTo>
                      <a:pt x="0" y="2538"/>
                    </a:lnTo>
                    <a:lnTo>
                      <a:pt x="1418" y="2538"/>
                    </a:lnTo>
                    <a:lnTo>
                      <a:pt x="1418"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15"/>
              <p:cNvSpPr/>
              <p:nvPr/>
            </p:nvSpPr>
            <p:spPr>
              <a:xfrm>
                <a:off x="2608933" y="881693"/>
                <a:ext cx="29751" cy="52327"/>
              </a:xfrm>
              <a:custGeom>
                <a:avLst/>
                <a:gdLst/>
                <a:ahLst/>
                <a:cxnLst/>
                <a:rect l="l" t="t" r="r" b="b"/>
                <a:pathLst>
                  <a:path w="1443" h="2538" extrusionOk="0">
                    <a:moveTo>
                      <a:pt x="0" y="1"/>
                    </a:moveTo>
                    <a:lnTo>
                      <a:pt x="0" y="2538"/>
                    </a:lnTo>
                    <a:lnTo>
                      <a:pt x="1443" y="2538"/>
                    </a:lnTo>
                    <a:lnTo>
                      <a:pt x="144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15"/>
              <p:cNvSpPr/>
              <p:nvPr/>
            </p:nvSpPr>
            <p:spPr>
              <a:xfrm>
                <a:off x="2669446" y="881693"/>
                <a:ext cx="29751" cy="52327"/>
              </a:xfrm>
              <a:custGeom>
                <a:avLst/>
                <a:gdLst/>
                <a:ahLst/>
                <a:cxnLst/>
                <a:rect l="l" t="t" r="r" b="b"/>
                <a:pathLst>
                  <a:path w="1443" h="2538" extrusionOk="0">
                    <a:moveTo>
                      <a:pt x="0" y="1"/>
                    </a:moveTo>
                    <a:lnTo>
                      <a:pt x="0" y="2538"/>
                    </a:lnTo>
                    <a:lnTo>
                      <a:pt x="1443" y="2538"/>
                    </a:lnTo>
                    <a:lnTo>
                      <a:pt x="144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15"/>
              <p:cNvSpPr/>
              <p:nvPr/>
            </p:nvSpPr>
            <p:spPr>
              <a:xfrm>
                <a:off x="2729958" y="881693"/>
                <a:ext cx="29751" cy="52327"/>
              </a:xfrm>
              <a:custGeom>
                <a:avLst/>
                <a:gdLst/>
                <a:ahLst/>
                <a:cxnLst/>
                <a:rect l="l" t="t" r="r" b="b"/>
                <a:pathLst>
                  <a:path w="1443" h="2538" extrusionOk="0">
                    <a:moveTo>
                      <a:pt x="0" y="1"/>
                    </a:moveTo>
                    <a:lnTo>
                      <a:pt x="0" y="2538"/>
                    </a:lnTo>
                    <a:lnTo>
                      <a:pt x="1443" y="2538"/>
                    </a:lnTo>
                    <a:lnTo>
                      <a:pt x="144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15"/>
              <p:cNvSpPr/>
              <p:nvPr/>
            </p:nvSpPr>
            <p:spPr>
              <a:xfrm>
                <a:off x="2790450" y="881693"/>
                <a:ext cx="29772" cy="52327"/>
              </a:xfrm>
              <a:custGeom>
                <a:avLst/>
                <a:gdLst/>
                <a:ahLst/>
                <a:cxnLst/>
                <a:rect l="l" t="t" r="r" b="b"/>
                <a:pathLst>
                  <a:path w="1444" h="2538" extrusionOk="0">
                    <a:moveTo>
                      <a:pt x="1" y="1"/>
                    </a:moveTo>
                    <a:lnTo>
                      <a:pt x="1" y="2538"/>
                    </a:lnTo>
                    <a:lnTo>
                      <a:pt x="1444" y="2538"/>
                    </a:lnTo>
                    <a:lnTo>
                      <a:pt x="1444"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15"/>
              <p:cNvSpPr/>
              <p:nvPr/>
            </p:nvSpPr>
            <p:spPr>
              <a:xfrm>
                <a:off x="2367399" y="1422717"/>
                <a:ext cx="29751" cy="52327"/>
              </a:xfrm>
              <a:custGeom>
                <a:avLst/>
                <a:gdLst/>
                <a:ahLst/>
                <a:cxnLst/>
                <a:rect l="l" t="t" r="r" b="b"/>
                <a:pathLst>
                  <a:path w="1443" h="2538" extrusionOk="0">
                    <a:moveTo>
                      <a:pt x="0" y="0"/>
                    </a:moveTo>
                    <a:lnTo>
                      <a:pt x="0" y="2537"/>
                    </a:lnTo>
                    <a:lnTo>
                      <a:pt x="1443" y="2537"/>
                    </a:lnTo>
                    <a:lnTo>
                      <a:pt x="144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15"/>
              <p:cNvSpPr/>
              <p:nvPr/>
            </p:nvSpPr>
            <p:spPr>
              <a:xfrm>
                <a:off x="2427912" y="1422717"/>
                <a:ext cx="29751" cy="52327"/>
              </a:xfrm>
              <a:custGeom>
                <a:avLst/>
                <a:gdLst/>
                <a:ahLst/>
                <a:cxnLst/>
                <a:rect l="l" t="t" r="r" b="b"/>
                <a:pathLst>
                  <a:path w="1443" h="2538" extrusionOk="0">
                    <a:moveTo>
                      <a:pt x="0" y="0"/>
                    </a:moveTo>
                    <a:lnTo>
                      <a:pt x="0" y="2537"/>
                    </a:lnTo>
                    <a:lnTo>
                      <a:pt x="1443" y="2537"/>
                    </a:lnTo>
                    <a:lnTo>
                      <a:pt x="144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15"/>
              <p:cNvSpPr/>
              <p:nvPr/>
            </p:nvSpPr>
            <p:spPr>
              <a:xfrm>
                <a:off x="2488424" y="1422717"/>
                <a:ext cx="29236" cy="52327"/>
              </a:xfrm>
              <a:custGeom>
                <a:avLst/>
                <a:gdLst/>
                <a:ahLst/>
                <a:cxnLst/>
                <a:rect l="l" t="t" r="r" b="b"/>
                <a:pathLst>
                  <a:path w="1418" h="2538" extrusionOk="0">
                    <a:moveTo>
                      <a:pt x="0" y="0"/>
                    </a:moveTo>
                    <a:lnTo>
                      <a:pt x="0" y="2537"/>
                    </a:lnTo>
                    <a:lnTo>
                      <a:pt x="1418" y="2537"/>
                    </a:lnTo>
                    <a:lnTo>
                      <a:pt x="1418"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15"/>
              <p:cNvSpPr/>
              <p:nvPr/>
            </p:nvSpPr>
            <p:spPr>
              <a:xfrm>
                <a:off x="2548936" y="1422717"/>
                <a:ext cx="29236" cy="52327"/>
              </a:xfrm>
              <a:custGeom>
                <a:avLst/>
                <a:gdLst/>
                <a:ahLst/>
                <a:cxnLst/>
                <a:rect l="l" t="t" r="r" b="b"/>
                <a:pathLst>
                  <a:path w="1418" h="2538" extrusionOk="0">
                    <a:moveTo>
                      <a:pt x="0" y="0"/>
                    </a:moveTo>
                    <a:lnTo>
                      <a:pt x="0" y="2537"/>
                    </a:lnTo>
                    <a:lnTo>
                      <a:pt x="1418" y="2537"/>
                    </a:lnTo>
                    <a:lnTo>
                      <a:pt x="1418"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15"/>
              <p:cNvSpPr/>
              <p:nvPr/>
            </p:nvSpPr>
            <p:spPr>
              <a:xfrm>
                <a:off x="2608933" y="1422717"/>
                <a:ext cx="29751" cy="52327"/>
              </a:xfrm>
              <a:custGeom>
                <a:avLst/>
                <a:gdLst/>
                <a:ahLst/>
                <a:cxnLst/>
                <a:rect l="l" t="t" r="r" b="b"/>
                <a:pathLst>
                  <a:path w="1443" h="2538" extrusionOk="0">
                    <a:moveTo>
                      <a:pt x="0" y="0"/>
                    </a:moveTo>
                    <a:lnTo>
                      <a:pt x="0" y="2537"/>
                    </a:lnTo>
                    <a:lnTo>
                      <a:pt x="1443" y="2537"/>
                    </a:lnTo>
                    <a:lnTo>
                      <a:pt x="144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15"/>
              <p:cNvSpPr/>
              <p:nvPr/>
            </p:nvSpPr>
            <p:spPr>
              <a:xfrm>
                <a:off x="2669446" y="1422717"/>
                <a:ext cx="29751" cy="52327"/>
              </a:xfrm>
              <a:custGeom>
                <a:avLst/>
                <a:gdLst/>
                <a:ahLst/>
                <a:cxnLst/>
                <a:rect l="l" t="t" r="r" b="b"/>
                <a:pathLst>
                  <a:path w="1443" h="2538" extrusionOk="0">
                    <a:moveTo>
                      <a:pt x="0" y="0"/>
                    </a:moveTo>
                    <a:lnTo>
                      <a:pt x="0" y="2537"/>
                    </a:lnTo>
                    <a:lnTo>
                      <a:pt x="1443" y="2537"/>
                    </a:lnTo>
                    <a:lnTo>
                      <a:pt x="144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15"/>
              <p:cNvSpPr/>
              <p:nvPr/>
            </p:nvSpPr>
            <p:spPr>
              <a:xfrm>
                <a:off x="2729958" y="1422717"/>
                <a:ext cx="29751" cy="52327"/>
              </a:xfrm>
              <a:custGeom>
                <a:avLst/>
                <a:gdLst/>
                <a:ahLst/>
                <a:cxnLst/>
                <a:rect l="l" t="t" r="r" b="b"/>
                <a:pathLst>
                  <a:path w="1443" h="2538" extrusionOk="0">
                    <a:moveTo>
                      <a:pt x="0" y="0"/>
                    </a:moveTo>
                    <a:lnTo>
                      <a:pt x="0" y="2537"/>
                    </a:lnTo>
                    <a:lnTo>
                      <a:pt x="1443" y="2537"/>
                    </a:lnTo>
                    <a:lnTo>
                      <a:pt x="144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15"/>
              <p:cNvSpPr/>
              <p:nvPr/>
            </p:nvSpPr>
            <p:spPr>
              <a:xfrm>
                <a:off x="2790450" y="1422717"/>
                <a:ext cx="29772" cy="52327"/>
              </a:xfrm>
              <a:custGeom>
                <a:avLst/>
                <a:gdLst/>
                <a:ahLst/>
                <a:cxnLst/>
                <a:rect l="l" t="t" r="r" b="b"/>
                <a:pathLst>
                  <a:path w="1444" h="2538" extrusionOk="0">
                    <a:moveTo>
                      <a:pt x="1" y="0"/>
                    </a:moveTo>
                    <a:lnTo>
                      <a:pt x="1" y="2537"/>
                    </a:lnTo>
                    <a:lnTo>
                      <a:pt x="1444" y="2537"/>
                    </a:lnTo>
                    <a:lnTo>
                      <a:pt x="1444"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15"/>
              <p:cNvSpPr/>
              <p:nvPr/>
            </p:nvSpPr>
            <p:spPr>
              <a:xfrm>
                <a:off x="2841746" y="951958"/>
                <a:ext cx="51812" cy="29256"/>
              </a:xfrm>
              <a:custGeom>
                <a:avLst/>
                <a:gdLst/>
                <a:ahLst/>
                <a:cxnLst/>
                <a:rect l="l" t="t" r="r" b="b"/>
                <a:pathLst>
                  <a:path w="2513" h="1419" extrusionOk="0">
                    <a:moveTo>
                      <a:pt x="0" y="1"/>
                    </a:moveTo>
                    <a:lnTo>
                      <a:pt x="0" y="1418"/>
                    </a:lnTo>
                    <a:lnTo>
                      <a:pt x="2512" y="1418"/>
                    </a:lnTo>
                    <a:lnTo>
                      <a:pt x="2512"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15"/>
              <p:cNvSpPr/>
              <p:nvPr/>
            </p:nvSpPr>
            <p:spPr>
              <a:xfrm>
                <a:off x="2841746" y="1011955"/>
                <a:ext cx="51812" cy="29772"/>
              </a:xfrm>
              <a:custGeom>
                <a:avLst/>
                <a:gdLst/>
                <a:ahLst/>
                <a:cxnLst/>
                <a:rect l="l" t="t" r="r" b="b"/>
                <a:pathLst>
                  <a:path w="2513" h="1444" extrusionOk="0">
                    <a:moveTo>
                      <a:pt x="0" y="1"/>
                    </a:moveTo>
                    <a:lnTo>
                      <a:pt x="0" y="1443"/>
                    </a:lnTo>
                    <a:lnTo>
                      <a:pt x="2512" y="1443"/>
                    </a:lnTo>
                    <a:lnTo>
                      <a:pt x="2512"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15"/>
              <p:cNvSpPr/>
              <p:nvPr/>
            </p:nvSpPr>
            <p:spPr>
              <a:xfrm>
                <a:off x="2841746" y="1072467"/>
                <a:ext cx="51812" cy="29772"/>
              </a:xfrm>
              <a:custGeom>
                <a:avLst/>
                <a:gdLst/>
                <a:ahLst/>
                <a:cxnLst/>
                <a:rect l="l" t="t" r="r" b="b"/>
                <a:pathLst>
                  <a:path w="2513" h="1444" extrusionOk="0">
                    <a:moveTo>
                      <a:pt x="0" y="1"/>
                    </a:moveTo>
                    <a:lnTo>
                      <a:pt x="0" y="1443"/>
                    </a:lnTo>
                    <a:lnTo>
                      <a:pt x="2512" y="1443"/>
                    </a:lnTo>
                    <a:lnTo>
                      <a:pt x="2512"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15"/>
              <p:cNvSpPr/>
              <p:nvPr/>
            </p:nvSpPr>
            <p:spPr>
              <a:xfrm>
                <a:off x="2841746" y="1132979"/>
                <a:ext cx="51812" cy="29772"/>
              </a:xfrm>
              <a:custGeom>
                <a:avLst/>
                <a:gdLst/>
                <a:ahLst/>
                <a:cxnLst/>
                <a:rect l="l" t="t" r="r" b="b"/>
                <a:pathLst>
                  <a:path w="2513" h="1444" extrusionOk="0">
                    <a:moveTo>
                      <a:pt x="0" y="0"/>
                    </a:moveTo>
                    <a:lnTo>
                      <a:pt x="0" y="1443"/>
                    </a:lnTo>
                    <a:lnTo>
                      <a:pt x="2512" y="1443"/>
                    </a:lnTo>
                    <a:lnTo>
                      <a:pt x="2512"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15"/>
              <p:cNvSpPr/>
              <p:nvPr/>
            </p:nvSpPr>
            <p:spPr>
              <a:xfrm>
                <a:off x="2841746" y="1193492"/>
                <a:ext cx="51812" cy="29772"/>
              </a:xfrm>
              <a:custGeom>
                <a:avLst/>
                <a:gdLst/>
                <a:ahLst/>
                <a:cxnLst/>
                <a:rect l="l" t="t" r="r" b="b"/>
                <a:pathLst>
                  <a:path w="2513" h="1444" extrusionOk="0">
                    <a:moveTo>
                      <a:pt x="0" y="0"/>
                    </a:moveTo>
                    <a:lnTo>
                      <a:pt x="0" y="1443"/>
                    </a:lnTo>
                    <a:lnTo>
                      <a:pt x="2512" y="1443"/>
                    </a:lnTo>
                    <a:lnTo>
                      <a:pt x="2512"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15"/>
              <p:cNvSpPr/>
              <p:nvPr/>
            </p:nvSpPr>
            <p:spPr>
              <a:xfrm>
                <a:off x="2841746" y="1254004"/>
                <a:ext cx="51812" cy="29751"/>
              </a:xfrm>
              <a:custGeom>
                <a:avLst/>
                <a:gdLst/>
                <a:ahLst/>
                <a:cxnLst/>
                <a:rect l="l" t="t" r="r" b="b"/>
                <a:pathLst>
                  <a:path w="2513" h="1443" extrusionOk="0">
                    <a:moveTo>
                      <a:pt x="0" y="0"/>
                    </a:moveTo>
                    <a:lnTo>
                      <a:pt x="0" y="1443"/>
                    </a:lnTo>
                    <a:lnTo>
                      <a:pt x="2512" y="1443"/>
                    </a:lnTo>
                    <a:lnTo>
                      <a:pt x="2512"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15"/>
              <p:cNvSpPr/>
              <p:nvPr/>
            </p:nvSpPr>
            <p:spPr>
              <a:xfrm>
                <a:off x="2841746" y="1314516"/>
                <a:ext cx="51812" cy="29751"/>
              </a:xfrm>
              <a:custGeom>
                <a:avLst/>
                <a:gdLst/>
                <a:ahLst/>
                <a:cxnLst/>
                <a:rect l="l" t="t" r="r" b="b"/>
                <a:pathLst>
                  <a:path w="2513" h="1443" extrusionOk="0">
                    <a:moveTo>
                      <a:pt x="0" y="0"/>
                    </a:moveTo>
                    <a:lnTo>
                      <a:pt x="0" y="1443"/>
                    </a:lnTo>
                    <a:lnTo>
                      <a:pt x="2512" y="1443"/>
                    </a:lnTo>
                    <a:lnTo>
                      <a:pt x="2512"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15"/>
              <p:cNvSpPr/>
              <p:nvPr/>
            </p:nvSpPr>
            <p:spPr>
              <a:xfrm>
                <a:off x="2841746" y="1375029"/>
                <a:ext cx="51812" cy="29751"/>
              </a:xfrm>
              <a:custGeom>
                <a:avLst/>
                <a:gdLst/>
                <a:ahLst/>
                <a:cxnLst/>
                <a:rect l="l" t="t" r="r" b="b"/>
                <a:pathLst>
                  <a:path w="2513" h="1443" extrusionOk="0">
                    <a:moveTo>
                      <a:pt x="0" y="0"/>
                    </a:moveTo>
                    <a:lnTo>
                      <a:pt x="0" y="1443"/>
                    </a:lnTo>
                    <a:lnTo>
                      <a:pt x="2512" y="1443"/>
                    </a:lnTo>
                    <a:lnTo>
                      <a:pt x="2512"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15"/>
              <p:cNvSpPr/>
              <p:nvPr/>
            </p:nvSpPr>
            <p:spPr>
              <a:xfrm>
                <a:off x="2294063" y="951958"/>
                <a:ext cx="51812" cy="29256"/>
              </a:xfrm>
              <a:custGeom>
                <a:avLst/>
                <a:gdLst/>
                <a:ahLst/>
                <a:cxnLst/>
                <a:rect l="l" t="t" r="r" b="b"/>
                <a:pathLst>
                  <a:path w="2513" h="1419" extrusionOk="0">
                    <a:moveTo>
                      <a:pt x="1" y="1"/>
                    </a:moveTo>
                    <a:lnTo>
                      <a:pt x="1" y="1418"/>
                    </a:lnTo>
                    <a:lnTo>
                      <a:pt x="2513" y="1418"/>
                    </a:lnTo>
                    <a:lnTo>
                      <a:pt x="251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15"/>
              <p:cNvSpPr/>
              <p:nvPr/>
            </p:nvSpPr>
            <p:spPr>
              <a:xfrm>
                <a:off x="2294063" y="1011955"/>
                <a:ext cx="51812" cy="29772"/>
              </a:xfrm>
              <a:custGeom>
                <a:avLst/>
                <a:gdLst/>
                <a:ahLst/>
                <a:cxnLst/>
                <a:rect l="l" t="t" r="r" b="b"/>
                <a:pathLst>
                  <a:path w="2513" h="1444" extrusionOk="0">
                    <a:moveTo>
                      <a:pt x="1" y="1"/>
                    </a:moveTo>
                    <a:lnTo>
                      <a:pt x="1" y="1443"/>
                    </a:lnTo>
                    <a:lnTo>
                      <a:pt x="2513" y="1443"/>
                    </a:lnTo>
                    <a:lnTo>
                      <a:pt x="251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15"/>
              <p:cNvSpPr/>
              <p:nvPr/>
            </p:nvSpPr>
            <p:spPr>
              <a:xfrm>
                <a:off x="2294063" y="1072467"/>
                <a:ext cx="51812" cy="29772"/>
              </a:xfrm>
              <a:custGeom>
                <a:avLst/>
                <a:gdLst/>
                <a:ahLst/>
                <a:cxnLst/>
                <a:rect l="l" t="t" r="r" b="b"/>
                <a:pathLst>
                  <a:path w="2513" h="1444" extrusionOk="0">
                    <a:moveTo>
                      <a:pt x="1" y="1"/>
                    </a:moveTo>
                    <a:lnTo>
                      <a:pt x="1" y="1443"/>
                    </a:lnTo>
                    <a:lnTo>
                      <a:pt x="2513" y="1443"/>
                    </a:lnTo>
                    <a:lnTo>
                      <a:pt x="2513" y="1"/>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15"/>
              <p:cNvSpPr/>
              <p:nvPr/>
            </p:nvSpPr>
            <p:spPr>
              <a:xfrm>
                <a:off x="2294063" y="1132979"/>
                <a:ext cx="51812" cy="29772"/>
              </a:xfrm>
              <a:custGeom>
                <a:avLst/>
                <a:gdLst/>
                <a:ahLst/>
                <a:cxnLst/>
                <a:rect l="l" t="t" r="r" b="b"/>
                <a:pathLst>
                  <a:path w="2513" h="1444" extrusionOk="0">
                    <a:moveTo>
                      <a:pt x="1" y="0"/>
                    </a:moveTo>
                    <a:lnTo>
                      <a:pt x="1" y="1443"/>
                    </a:lnTo>
                    <a:lnTo>
                      <a:pt x="2513" y="1443"/>
                    </a:lnTo>
                    <a:lnTo>
                      <a:pt x="251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15"/>
              <p:cNvSpPr/>
              <p:nvPr/>
            </p:nvSpPr>
            <p:spPr>
              <a:xfrm>
                <a:off x="2294063" y="1193492"/>
                <a:ext cx="51812" cy="29772"/>
              </a:xfrm>
              <a:custGeom>
                <a:avLst/>
                <a:gdLst/>
                <a:ahLst/>
                <a:cxnLst/>
                <a:rect l="l" t="t" r="r" b="b"/>
                <a:pathLst>
                  <a:path w="2513" h="1444" extrusionOk="0">
                    <a:moveTo>
                      <a:pt x="1" y="0"/>
                    </a:moveTo>
                    <a:lnTo>
                      <a:pt x="1" y="1443"/>
                    </a:lnTo>
                    <a:lnTo>
                      <a:pt x="2513" y="1443"/>
                    </a:lnTo>
                    <a:lnTo>
                      <a:pt x="251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15"/>
              <p:cNvSpPr/>
              <p:nvPr/>
            </p:nvSpPr>
            <p:spPr>
              <a:xfrm>
                <a:off x="2294063" y="1254004"/>
                <a:ext cx="51812" cy="29751"/>
              </a:xfrm>
              <a:custGeom>
                <a:avLst/>
                <a:gdLst/>
                <a:ahLst/>
                <a:cxnLst/>
                <a:rect l="l" t="t" r="r" b="b"/>
                <a:pathLst>
                  <a:path w="2513" h="1443" extrusionOk="0">
                    <a:moveTo>
                      <a:pt x="1" y="0"/>
                    </a:moveTo>
                    <a:lnTo>
                      <a:pt x="1" y="1443"/>
                    </a:lnTo>
                    <a:lnTo>
                      <a:pt x="2513" y="1443"/>
                    </a:lnTo>
                    <a:lnTo>
                      <a:pt x="251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15"/>
              <p:cNvSpPr/>
              <p:nvPr/>
            </p:nvSpPr>
            <p:spPr>
              <a:xfrm>
                <a:off x="2294063" y="1314516"/>
                <a:ext cx="51812" cy="29751"/>
              </a:xfrm>
              <a:custGeom>
                <a:avLst/>
                <a:gdLst/>
                <a:ahLst/>
                <a:cxnLst/>
                <a:rect l="l" t="t" r="r" b="b"/>
                <a:pathLst>
                  <a:path w="2513" h="1443" extrusionOk="0">
                    <a:moveTo>
                      <a:pt x="1" y="0"/>
                    </a:moveTo>
                    <a:lnTo>
                      <a:pt x="1" y="1443"/>
                    </a:lnTo>
                    <a:lnTo>
                      <a:pt x="2513" y="1443"/>
                    </a:lnTo>
                    <a:lnTo>
                      <a:pt x="251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15"/>
              <p:cNvSpPr/>
              <p:nvPr/>
            </p:nvSpPr>
            <p:spPr>
              <a:xfrm>
                <a:off x="2294063" y="1375029"/>
                <a:ext cx="51812" cy="29751"/>
              </a:xfrm>
              <a:custGeom>
                <a:avLst/>
                <a:gdLst/>
                <a:ahLst/>
                <a:cxnLst/>
                <a:rect l="l" t="t" r="r" b="b"/>
                <a:pathLst>
                  <a:path w="2513" h="1443" extrusionOk="0">
                    <a:moveTo>
                      <a:pt x="1" y="0"/>
                    </a:moveTo>
                    <a:lnTo>
                      <a:pt x="1" y="1443"/>
                    </a:lnTo>
                    <a:lnTo>
                      <a:pt x="2513" y="1443"/>
                    </a:lnTo>
                    <a:lnTo>
                      <a:pt x="2513"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15"/>
              <p:cNvSpPr/>
              <p:nvPr/>
            </p:nvSpPr>
            <p:spPr>
              <a:xfrm>
                <a:off x="2341751" y="925815"/>
                <a:ext cx="504118" cy="504613"/>
              </a:xfrm>
              <a:custGeom>
                <a:avLst/>
                <a:gdLst/>
                <a:ahLst/>
                <a:cxnLst/>
                <a:rect l="l" t="t" r="r" b="b"/>
                <a:pathLst>
                  <a:path w="24451" h="24475" extrusionOk="0">
                    <a:moveTo>
                      <a:pt x="1" y="0"/>
                    </a:moveTo>
                    <a:lnTo>
                      <a:pt x="1" y="24474"/>
                    </a:lnTo>
                    <a:lnTo>
                      <a:pt x="24450" y="24474"/>
                    </a:lnTo>
                    <a:lnTo>
                      <a:pt x="24450" y="0"/>
                    </a:lnTo>
                    <a:close/>
                  </a:path>
                </a:pathLst>
              </a:custGeom>
              <a:solidFill>
                <a:srgbClr val="8F8F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15"/>
              <p:cNvSpPr/>
              <p:nvPr/>
            </p:nvSpPr>
            <p:spPr>
              <a:xfrm>
                <a:off x="2376636" y="961194"/>
                <a:ext cx="434349" cy="433854"/>
              </a:xfrm>
              <a:custGeom>
                <a:avLst/>
                <a:gdLst/>
                <a:ahLst/>
                <a:cxnLst/>
                <a:rect l="l" t="t" r="r" b="b"/>
                <a:pathLst>
                  <a:path w="21067" h="21043" extrusionOk="0">
                    <a:moveTo>
                      <a:pt x="3084" y="0"/>
                    </a:moveTo>
                    <a:lnTo>
                      <a:pt x="0" y="3234"/>
                    </a:lnTo>
                    <a:lnTo>
                      <a:pt x="0" y="21042"/>
                    </a:lnTo>
                    <a:lnTo>
                      <a:pt x="21067" y="21042"/>
                    </a:lnTo>
                    <a:lnTo>
                      <a:pt x="2106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15"/>
              <p:cNvSpPr/>
              <p:nvPr/>
            </p:nvSpPr>
            <p:spPr>
              <a:xfrm>
                <a:off x="2341751" y="1395028"/>
                <a:ext cx="504118" cy="35400"/>
              </a:xfrm>
              <a:custGeom>
                <a:avLst/>
                <a:gdLst/>
                <a:ahLst/>
                <a:cxnLst/>
                <a:rect l="l" t="t" r="r" b="b"/>
                <a:pathLst>
                  <a:path w="24451" h="1717" extrusionOk="0">
                    <a:moveTo>
                      <a:pt x="1692" y="0"/>
                    </a:moveTo>
                    <a:lnTo>
                      <a:pt x="1" y="1716"/>
                    </a:lnTo>
                    <a:lnTo>
                      <a:pt x="24450" y="1716"/>
                    </a:lnTo>
                    <a:lnTo>
                      <a:pt x="22759" y="0"/>
                    </a:lnTo>
                    <a:close/>
                  </a:path>
                </a:pathLst>
              </a:custGeom>
              <a:solidFill>
                <a:srgbClr val="A6A6A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15"/>
              <p:cNvSpPr/>
              <p:nvPr/>
            </p:nvSpPr>
            <p:spPr>
              <a:xfrm>
                <a:off x="2341751" y="925815"/>
                <a:ext cx="504118" cy="35400"/>
              </a:xfrm>
              <a:custGeom>
                <a:avLst/>
                <a:gdLst/>
                <a:ahLst/>
                <a:cxnLst/>
                <a:rect l="l" t="t" r="r" b="b"/>
                <a:pathLst>
                  <a:path w="24451" h="1717" extrusionOk="0">
                    <a:moveTo>
                      <a:pt x="1" y="0"/>
                    </a:moveTo>
                    <a:lnTo>
                      <a:pt x="1692" y="1716"/>
                    </a:lnTo>
                    <a:lnTo>
                      <a:pt x="22759" y="1716"/>
                    </a:lnTo>
                    <a:lnTo>
                      <a:pt x="24450" y="0"/>
                    </a:lnTo>
                    <a:close/>
                  </a:path>
                </a:pathLst>
              </a:custGeom>
              <a:solidFill>
                <a:srgbClr val="A6A6A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152;p15"/>
              <p:cNvSpPr/>
              <p:nvPr/>
            </p:nvSpPr>
            <p:spPr>
              <a:xfrm>
                <a:off x="2341751" y="925815"/>
                <a:ext cx="34905" cy="504613"/>
              </a:xfrm>
              <a:custGeom>
                <a:avLst/>
                <a:gdLst/>
                <a:ahLst/>
                <a:cxnLst/>
                <a:rect l="l" t="t" r="r" b="b"/>
                <a:pathLst>
                  <a:path w="1693" h="24475" extrusionOk="0">
                    <a:moveTo>
                      <a:pt x="1" y="0"/>
                    </a:moveTo>
                    <a:lnTo>
                      <a:pt x="1" y="24474"/>
                    </a:lnTo>
                    <a:lnTo>
                      <a:pt x="1692" y="22758"/>
                    </a:lnTo>
                    <a:lnTo>
                      <a:pt x="1692" y="1716"/>
                    </a:lnTo>
                    <a:lnTo>
                      <a:pt x="1" y="0"/>
                    </a:lnTo>
                    <a:close/>
                  </a:path>
                </a:pathLst>
              </a:custGeom>
              <a:solidFill>
                <a:srgbClr val="97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15"/>
              <p:cNvSpPr/>
              <p:nvPr/>
            </p:nvSpPr>
            <p:spPr>
              <a:xfrm>
                <a:off x="2427912" y="1128361"/>
                <a:ext cx="97954" cy="114386"/>
              </a:xfrm>
              <a:custGeom>
                <a:avLst/>
                <a:gdLst/>
                <a:ahLst/>
                <a:cxnLst/>
                <a:rect l="l" t="t" r="r" b="b"/>
                <a:pathLst>
                  <a:path w="4751" h="5548" extrusionOk="0">
                    <a:moveTo>
                      <a:pt x="2537" y="1"/>
                    </a:moveTo>
                    <a:lnTo>
                      <a:pt x="2264" y="50"/>
                    </a:lnTo>
                    <a:lnTo>
                      <a:pt x="1965" y="100"/>
                    </a:lnTo>
                    <a:lnTo>
                      <a:pt x="1716" y="175"/>
                    </a:lnTo>
                    <a:lnTo>
                      <a:pt x="1443" y="299"/>
                    </a:lnTo>
                    <a:lnTo>
                      <a:pt x="1219" y="423"/>
                    </a:lnTo>
                    <a:lnTo>
                      <a:pt x="995" y="573"/>
                    </a:lnTo>
                    <a:lnTo>
                      <a:pt x="796" y="747"/>
                    </a:lnTo>
                    <a:lnTo>
                      <a:pt x="622" y="921"/>
                    </a:lnTo>
                    <a:lnTo>
                      <a:pt x="473" y="1145"/>
                    </a:lnTo>
                    <a:lnTo>
                      <a:pt x="324" y="1369"/>
                    </a:lnTo>
                    <a:lnTo>
                      <a:pt x="199" y="1617"/>
                    </a:lnTo>
                    <a:lnTo>
                      <a:pt x="125" y="1891"/>
                    </a:lnTo>
                    <a:lnTo>
                      <a:pt x="50" y="2165"/>
                    </a:lnTo>
                    <a:lnTo>
                      <a:pt x="0" y="2463"/>
                    </a:lnTo>
                    <a:lnTo>
                      <a:pt x="0" y="2761"/>
                    </a:lnTo>
                    <a:lnTo>
                      <a:pt x="0" y="3085"/>
                    </a:lnTo>
                    <a:lnTo>
                      <a:pt x="50" y="3383"/>
                    </a:lnTo>
                    <a:lnTo>
                      <a:pt x="125" y="3657"/>
                    </a:lnTo>
                    <a:lnTo>
                      <a:pt x="199" y="3930"/>
                    </a:lnTo>
                    <a:lnTo>
                      <a:pt x="324" y="4179"/>
                    </a:lnTo>
                    <a:lnTo>
                      <a:pt x="473" y="4403"/>
                    </a:lnTo>
                    <a:lnTo>
                      <a:pt x="622" y="4602"/>
                    </a:lnTo>
                    <a:lnTo>
                      <a:pt x="796" y="4801"/>
                    </a:lnTo>
                    <a:lnTo>
                      <a:pt x="995" y="4975"/>
                    </a:lnTo>
                    <a:lnTo>
                      <a:pt x="1219" y="5124"/>
                    </a:lnTo>
                    <a:lnTo>
                      <a:pt x="1443" y="5249"/>
                    </a:lnTo>
                    <a:lnTo>
                      <a:pt x="1716" y="5348"/>
                    </a:lnTo>
                    <a:lnTo>
                      <a:pt x="1965" y="5448"/>
                    </a:lnTo>
                    <a:lnTo>
                      <a:pt x="2264" y="5497"/>
                    </a:lnTo>
                    <a:lnTo>
                      <a:pt x="2537" y="5547"/>
                    </a:lnTo>
                    <a:lnTo>
                      <a:pt x="3109" y="5547"/>
                    </a:lnTo>
                    <a:lnTo>
                      <a:pt x="3383" y="5497"/>
                    </a:lnTo>
                    <a:lnTo>
                      <a:pt x="3657" y="5423"/>
                    </a:lnTo>
                    <a:lnTo>
                      <a:pt x="3905" y="5323"/>
                    </a:lnTo>
                    <a:lnTo>
                      <a:pt x="4154" y="5199"/>
                    </a:lnTo>
                    <a:lnTo>
                      <a:pt x="4378" y="5050"/>
                    </a:lnTo>
                    <a:lnTo>
                      <a:pt x="4577" y="4851"/>
                    </a:lnTo>
                    <a:lnTo>
                      <a:pt x="4751" y="4627"/>
                    </a:lnTo>
                    <a:lnTo>
                      <a:pt x="3781" y="3906"/>
                    </a:lnTo>
                    <a:lnTo>
                      <a:pt x="3706" y="4030"/>
                    </a:lnTo>
                    <a:lnTo>
                      <a:pt x="3582" y="4154"/>
                    </a:lnTo>
                    <a:lnTo>
                      <a:pt x="3458" y="4254"/>
                    </a:lnTo>
                    <a:lnTo>
                      <a:pt x="3333" y="4328"/>
                    </a:lnTo>
                    <a:lnTo>
                      <a:pt x="3184" y="4403"/>
                    </a:lnTo>
                    <a:lnTo>
                      <a:pt x="3035" y="4428"/>
                    </a:lnTo>
                    <a:lnTo>
                      <a:pt x="2861" y="4478"/>
                    </a:lnTo>
                    <a:lnTo>
                      <a:pt x="2537" y="4478"/>
                    </a:lnTo>
                    <a:lnTo>
                      <a:pt x="2388" y="4453"/>
                    </a:lnTo>
                    <a:lnTo>
                      <a:pt x="2239" y="4403"/>
                    </a:lnTo>
                    <a:lnTo>
                      <a:pt x="2114" y="4353"/>
                    </a:lnTo>
                    <a:lnTo>
                      <a:pt x="1990" y="4279"/>
                    </a:lnTo>
                    <a:lnTo>
                      <a:pt x="1866" y="4204"/>
                    </a:lnTo>
                    <a:lnTo>
                      <a:pt x="1741" y="4105"/>
                    </a:lnTo>
                    <a:lnTo>
                      <a:pt x="1642" y="3980"/>
                    </a:lnTo>
                    <a:lnTo>
                      <a:pt x="1468" y="3756"/>
                    </a:lnTo>
                    <a:lnTo>
                      <a:pt x="1319" y="3458"/>
                    </a:lnTo>
                    <a:lnTo>
                      <a:pt x="1269" y="3284"/>
                    </a:lnTo>
                    <a:lnTo>
                      <a:pt x="1244" y="3135"/>
                    </a:lnTo>
                    <a:lnTo>
                      <a:pt x="1219" y="2960"/>
                    </a:lnTo>
                    <a:lnTo>
                      <a:pt x="1194" y="2761"/>
                    </a:lnTo>
                    <a:lnTo>
                      <a:pt x="1219" y="2587"/>
                    </a:lnTo>
                    <a:lnTo>
                      <a:pt x="1244" y="2413"/>
                    </a:lnTo>
                    <a:lnTo>
                      <a:pt x="1269" y="2239"/>
                    </a:lnTo>
                    <a:lnTo>
                      <a:pt x="1319" y="2090"/>
                    </a:lnTo>
                    <a:lnTo>
                      <a:pt x="1468" y="1791"/>
                    </a:lnTo>
                    <a:lnTo>
                      <a:pt x="1542" y="1667"/>
                    </a:lnTo>
                    <a:lnTo>
                      <a:pt x="1642" y="1543"/>
                    </a:lnTo>
                    <a:lnTo>
                      <a:pt x="1741" y="1443"/>
                    </a:lnTo>
                    <a:lnTo>
                      <a:pt x="1866" y="1344"/>
                    </a:lnTo>
                    <a:lnTo>
                      <a:pt x="1990" y="1269"/>
                    </a:lnTo>
                    <a:lnTo>
                      <a:pt x="2139" y="1194"/>
                    </a:lnTo>
                    <a:lnTo>
                      <a:pt x="2264" y="1145"/>
                    </a:lnTo>
                    <a:lnTo>
                      <a:pt x="2413" y="1095"/>
                    </a:lnTo>
                    <a:lnTo>
                      <a:pt x="2562" y="1070"/>
                    </a:lnTo>
                    <a:lnTo>
                      <a:pt x="2736" y="1070"/>
                    </a:lnTo>
                    <a:lnTo>
                      <a:pt x="3035" y="1095"/>
                    </a:lnTo>
                    <a:lnTo>
                      <a:pt x="3184" y="1120"/>
                    </a:lnTo>
                    <a:lnTo>
                      <a:pt x="3308" y="1170"/>
                    </a:lnTo>
                    <a:lnTo>
                      <a:pt x="3433" y="1244"/>
                    </a:lnTo>
                    <a:lnTo>
                      <a:pt x="3557" y="1319"/>
                    </a:lnTo>
                    <a:lnTo>
                      <a:pt x="3657" y="1393"/>
                    </a:lnTo>
                    <a:lnTo>
                      <a:pt x="3731" y="1493"/>
                    </a:lnTo>
                    <a:lnTo>
                      <a:pt x="4627" y="772"/>
                    </a:lnTo>
                    <a:lnTo>
                      <a:pt x="4452" y="573"/>
                    </a:lnTo>
                    <a:lnTo>
                      <a:pt x="4253" y="399"/>
                    </a:lnTo>
                    <a:lnTo>
                      <a:pt x="4030" y="274"/>
                    </a:lnTo>
                    <a:lnTo>
                      <a:pt x="3806" y="150"/>
                    </a:lnTo>
                    <a:lnTo>
                      <a:pt x="3557" y="75"/>
                    </a:lnTo>
                    <a:lnTo>
                      <a:pt x="3308" y="25"/>
                    </a:lnTo>
                    <a:lnTo>
                      <a:pt x="308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15"/>
              <p:cNvSpPr/>
              <p:nvPr/>
            </p:nvSpPr>
            <p:spPr>
              <a:xfrm>
                <a:off x="2543287" y="1130918"/>
                <a:ext cx="81563" cy="109252"/>
              </a:xfrm>
              <a:custGeom>
                <a:avLst/>
                <a:gdLst/>
                <a:ahLst/>
                <a:cxnLst/>
                <a:rect l="l" t="t" r="r" b="b"/>
                <a:pathLst>
                  <a:path w="3956" h="5299" extrusionOk="0">
                    <a:moveTo>
                      <a:pt x="2090" y="996"/>
                    </a:moveTo>
                    <a:lnTo>
                      <a:pt x="2264" y="1046"/>
                    </a:lnTo>
                    <a:lnTo>
                      <a:pt x="2413" y="1095"/>
                    </a:lnTo>
                    <a:lnTo>
                      <a:pt x="2562" y="1170"/>
                    </a:lnTo>
                    <a:lnTo>
                      <a:pt x="2662" y="1294"/>
                    </a:lnTo>
                    <a:lnTo>
                      <a:pt x="2736" y="1419"/>
                    </a:lnTo>
                    <a:lnTo>
                      <a:pt x="2761" y="1618"/>
                    </a:lnTo>
                    <a:lnTo>
                      <a:pt x="2736" y="1767"/>
                    </a:lnTo>
                    <a:lnTo>
                      <a:pt x="2687" y="1916"/>
                    </a:lnTo>
                    <a:lnTo>
                      <a:pt x="2612" y="2016"/>
                    </a:lnTo>
                    <a:lnTo>
                      <a:pt x="2488" y="2115"/>
                    </a:lnTo>
                    <a:lnTo>
                      <a:pt x="2363" y="2165"/>
                    </a:lnTo>
                    <a:lnTo>
                      <a:pt x="2239" y="2215"/>
                    </a:lnTo>
                    <a:lnTo>
                      <a:pt x="2090" y="2240"/>
                    </a:lnTo>
                    <a:lnTo>
                      <a:pt x="1145" y="2240"/>
                    </a:lnTo>
                    <a:lnTo>
                      <a:pt x="1145" y="996"/>
                    </a:lnTo>
                    <a:close/>
                    <a:moveTo>
                      <a:pt x="1" y="1"/>
                    </a:moveTo>
                    <a:lnTo>
                      <a:pt x="1" y="5299"/>
                    </a:lnTo>
                    <a:lnTo>
                      <a:pt x="1145" y="5299"/>
                    </a:lnTo>
                    <a:lnTo>
                      <a:pt x="1145" y="3234"/>
                    </a:lnTo>
                    <a:lnTo>
                      <a:pt x="2015" y="3234"/>
                    </a:lnTo>
                    <a:lnTo>
                      <a:pt x="2413" y="3210"/>
                    </a:lnTo>
                    <a:lnTo>
                      <a:pt x="2786" y="3160"/>
                    </a:lnTo>
                    <a:lnTo>
                      <a:pt x="2960" y="3110"/>
                    </a:lnTo>
                    <a:lnTo>
                      <a:pt x="3110" y="3035"/>
                    </a:lnTo>
                    <a:lnTo>
                      <a:pt x="3259" y="2961"/>
                    </a:lnTo>
                    <a:lnTo>
                      <a:pt x="3408" y="2886"/>
                    </a:lnTo>
                    <a:lnTo>
                      <a:pt x="3532" y="2787"/>
                    </a:lnTo>
                    <a:lnTo>
                      <a:pt x="3632" y="2662"/>
                    </a:lnTo>
                    <a:lnTo>
                      <a:pt x="3731" y="2538"/>
                    </a:lnTo>
                    <a:lnTo>
                      <a:pt x="3806" y="2389"/>
                    </a:lnTo>
                    <a:lnTo>
                      <a:pt x="3881" y="2215"/>
                    </a:lnTo>
                    <a:lnTo>
                      <a:pt x="3930" y="2041"/>
                    </a:lnTo>
                    <a:lnTo>
                      <a:pt x="3955" y="1842"/>
                    </a:lnTo>
                    <a:lnTo>
                      <a:pt x="3955" y="1618"/>
                    </a:lnTo>
                    <a:lnTo>
                      <a:pt x="3955" y="1394"/>
                    </a:lnTo>
                    <a:lnTo>
                      <a:pt x="3930" y="1170"/>
                    </a:lnTo>
                    <a:lnTo>
                      <a:pt x="3881" y="996"/>
                    </a:lnTo>
                    <a:lnTo>
                      <a:pt x="3806" y="822"/>
                    </a:lnTo>
                    <a:lnTo>
                      <a:pt x="3707" y="673"/>
                    </a:lnTo>
                    <a:lnTo>
                      <a:pt x="3607" y="548"/>
                    </a:lnTo>
                    <a:lnTo>
                      <a:pt x="3508" y="424"/>
                    </a:lnTo>
                    <a:lnTo>
                      <a:pt x="3383" y="324"/>
                    </a:lnTo>
                    <a:lnTo>
                      <a:pt x="3234" y="250"/>
                    </a:lnTo>
                    <a:lnTo>
                      <a:pt x="3085" y="175"/>
                    </a:lnTo>
                    <a:lnTo>
                      <a:pt x="2911" y="125"/>
                    </a:lnTo>
                    <a:lnTo>
                      <a:pt x="2736" y="76"/>
                    </a:lnTo>
                    <a:lnTo>
                      <a:pt x="2363" y="26"/>
                    </a:lnTo>
                    <a:lnTo>
                      <a:pt x="1965"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15"/>
              <p:cNvSpPr/>
              <p:nvPr/>
            </p:nvSpPr>
            <p:spPr>
              <a:xfrm>
                <a:off x="2643798" y="1130918"/>
                <a:ext cx="92325" cy="111829"/>
              </a:xfrm>
              <a:custGeom>
                <a:avLst/>
                <a:gdLst/>
                <a:ahLst/>
                <a:cxnLst/>
                <a:rect l="l" t="t" r="r" b="b"/>
                <a:pathLst>
                  <a:path w="4478" h="5424" extrusionOk="0">
                    <a:moveTo>
                      <a:pt x="1" y="1"/>
                    </a:moveTo>
                    <a:lnTo>
                      <a:pt x="1" y="3259"/>
                    </a:lnTo>
                    <a:lnTo>
                      <a:pt x="25" y="3483"/>
                    </a:lnTo>
                    <a:lnTo>
                      <a:pt x="50" y="3707"/>
                    </a:lnTo>
                    <a:lnTo>
                      <a:pt x="100" y="3906"/>
                    </a:lnTo>
                    <a:lnTo>
                      <a:pt x="150" y="4130"/>
                    </a:lnTo>
                    <a:lnTo>
                      <a:pt x="224" y="4304"/>
                    </a:lnTo>
                    <a:lnTo>
                      <a:pt x="324" y="4478"/>
                    </a:lnTo>
                    <a:lnTo>
                      <a:pt x="448" y="4652"/>
                    </a:lnTo>
                    <a:lnTo>
                      <a:pt x="573" y="4801"/>
                    </a:lnTo>
                    <a:lnTo>
                      <a:pt x="722" y="4951"/>
                    </a:lnTo>
                    <a:lnTo>
                      <a:pt x="896" y="5075"/>
                    </a:lnTo>
                    <a:lnTo>
                      <a:pt x="1070" y="5174"/>
                    </a:lnTo>
                    <a:lnTo>
                      <a:pt x="1269" y="5274"/>
                    </a:lnTo>
                    <a:lnTo>
                      <a:pt x="1493" y="5324"/>
                    </a:lnTo>
                    <a:lnTo>
                      <a:pt x="1717" y="5398"/>
                    </a:lnTo>
                    <a:lnTo>
                      <a:pt x="1965" y="5423"/>
                    </a:lnTo>
                    <a:lnTo>
                      <a:pt x="2513" y="5423"/>
                    </a:lnTo>
                    <a:lnTo>
                      <a:pt x="2761" y="5398"/>
                    </a:lnTo>
                    <a:lnTo>
                      <a:pt x="2985" y="5324"/>
                    </a:lnTo>
                    <a:lnTo>
                      <a:pt x="3209" y="5274"/>
                    </a:lnTo>
                    <a:lnTo>
                      <a:pt x="3408" y="5174"/>
                    </a:lnTo>
                    <a:lnTo>
                      <a:pt x="3582" y="5075"/>
                    </a:lnTo>
                    <a:lnTo>
                      <a:pt x="3756" y="4951"/>
                    </a:lnTo>
                    <a:lnTo>
                      <a:pt x="3905" y="4801"/>
                    </a:lnTo>
                    <a:lnTo>
                      <a:pt x="4030" y="4652"/>
                    </a:lnTo>
                    <a:lnTo>
                      <a:pt x="4154" y="4478"/>
                    </a:lnTo>
                    <a:lnTo>
                      <a:pt x="4254" y="4304"/>
                    </a:lnTo>
                    <a:lnTo>
                      <a:pt x="4328" y="4130"/>
                    </a:lnTo>
                    <a:lnTo>
                      <a:pt x="4403" y="3906"/>
                    </a:lnTo>
                    <a:lnTo>
                      <a:pt x="4428" y="3707"/>
                    </a:lnTo>
                    <a:lnTo>
                      <a:pt x="4453" y="3483"/>
                    </a:lnTo>
                    <a:lnTo>
                      <a:pt x="4478" y="3259"/>
                    </a:lnTo>
                    <a:lnTo>
                      <a:pt x="4478" y="1"/>
                    </a:lnTo>
                    <a:lnTo>
                      <a:pt x="3309" y="1"/>
                    </a:lnTo>
                    <a:lnTo>
                      <a:pt x="3309" y="3210"/>
                    </a:lnTo>
                    <a:lnTo>
                      <a:pt x="3284" y="3433"/>
                    </a:lnTo>
                    <a:lnTo>
                      <a:pt x="3234" y="3657"/>
                    </a:lnTo>
                    <a:lnTo>
                      <a:pt x="3134" y="3856"/>
                    </a:lnTo>
                    <a:lnTo>
                      <a:pt x="3010" y="4030"/>
                    </a:lnTo>
                    <a:lnTo>
                      <a:pt x="2861" y="4155"/>
                    </a:lnTo>
                    <a:lnTo>
                      <a:pt x="2662" y="4254"/>
                    </a:lnTo>
                    <a:lnTo>
                      <a:pt x="2463" y="4329"/>
                    </a:lnTo>
                    <a:lnTo>
                      <a:pt x="2239" y="4354"/>
                    </a:lnTo>
                    <a:lnTo>
                      <a:pt x="2015" y="4329"/>
                    </a:lnTo>
                    <a:lnTo>
                      <a:pt x="1816" y="4254"/>
                    </a:lnTo>
                    <a:lnTo>
                      <a:pt x="1642" y="4155"/>
                    </a:lnTo>
                    <a:lnTo>
                      <a:pt x="1468" y="4030"/>
                    </a:lnTo>
                    <a:lnTo>
                      <a:pt x="1344" y="3856"/>
                    </a:lnTo>
                    <a:lnTo>
                      <a:pt x="1244" y="3657"/>
                    </a:lnTo>
                    <a:lnTo>
                      <a:pt x="1194" y="3433"/>
                    </a:lnTo>
                    <a:lnTo>
                      <a:pt x="1170" y="3210"/>
                    </a:lnTo>
                    <a:lnTo>
                      <a:pt x="117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15"/>
              <p:cNvSpPr/>
              <p:nvPr/>
            </p:nvSpPr>
            <p:spPr>
              <a:xfrm>
                <a:off x="2825335" y="1730392"/>
                <a:ext cx="96428" cy="115912"/>
              </a:xfrm>
              <a:custGeom>
                <a:avLst/>
                <a:gdLst/>
                <a:ahLst/>
                <a:cxnLst/>
                <a:rect l="l" t="t" r="r" b="b"/>
                <a:pathLst>
                  <a:path w="4677" h="5622" fill="none" extrusionOk="0">
                    <a:moveTo>
                      <a:pt x="0" y="1"/>
                    </a:moveTo>
                    <a:lnTo>
                      <a:pt x="4676" y="1866"/>
                    </a:lnTo>
                    <a:lnTo>
                      <a:pt x="4676" y="5622"/>
                    </a:lnTo>
                  </a:path>
                </a:pathLst>
              </a:custGeom>
              <a:solidFill>
                <a:schemeClr val="lt2"/>
              </a:solid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15"/>
              <p:cNvSpPr/>
              <p:nvPr/>
            </p:nvSpPr>
            <p:spPr>
              <a:xfrm>
                <a:off x="3675669" y="3764185"/>
                <a:ext cx="506160" cy="494882"/>
              </a:xfrm>
              <a:custGeom>
                <a:avLst/>
                <a:gdLst/>
                <a:ahLst/>
                <a:cxnLst/>
                <a:rect l="l" t="t" r="r" b="b"/>
                <a:pathLst>
                  <a:path w="24550" h="24003" extrusionOk="0">
                    <a:moveTo>
                      <a:pt x="12337" y="5100"/>
                    </a:moveTo>
                    <a:lnTo>
                      <a:pt x="12686" y="5124"/>
                    </a:lnTo>
                    <a:lnTo>
                      <a:pt x="13009" y="5149"/>
                    </a:lnTo>
                    <a:lnTo>
                      <a:pt x="13357" y="5199"/>
                    </a:lnTo>
                    <a:lnTo>
                      <a:pt x="13680" y="5249"/>
                    </a:lnTo>
                    <a:lnTo>
                      <a:pt x="14029" y="5323"/>
                    </a:lnTo>
                    <a:lnTo>
                      <a:pt x="14377" y="5423"/>
                    </a:lnTo>
                    <a:lnTo>
                      <a:pt x="14700" y="5547"/>
                    </a:lnTo>
                    <a:lnTo>
                      <a:pt x="15024" y="5672"/>
                    </a:lnTo>
                    <a:lnTo>
                      <a:pt x="15347" y="5821"/>
                    </a:lnTo>
                    <a:lnTo>
                      <a:pt x="15645" y="5995"/>
                    </a:lnTo>
                    <a:lnTo>
                      <a:pt x="15944" y="6169"/>
                    </a:lnTo>
                    <a:lnTo>
                      <a:pt x="16242" y="6368"/>
                    </a:lnTo>
                    <a:lnTo>
                      <a:pt x="16516" y="6567"/>
                    </a:lnTo>
                    <a:lnTo>
                      <a:pt x="16765" y="6766"/>
                    </a:lnTo>
                    <a:lnTo>
                      <a:pt x="17013" y="6990"/>
                    </a:lnTo>
                    <a:lnTo>
                      <a:pt x="17262" y="7239"/>
                    </a:lnTo>
                    <a:lnTo>
                      <a:pt x="17486" y="7487"/>
                    </a:lnTo>
                    <a:lnTo>
                      <a:pt x="17685" y="7736"/>
                    </a:lnTo>
                    <a:lnTo>
                      <a:pt x="17884" y="8010"/>
                    </a:lnTo>
                    <a:lnTo>
                      <a:pt x="18083" y="8283"/>
                    </a:lnTo>
                    <a:lnTo>
                      <a:pt x="18257" y="8557"/>
                    </a:lnTo>
                    <a:lnTo>
                      <a:pt x="18406" y="8855"/>
                    </a:lnTo>
                    <a:lnTo>
                      <a:pt x="18555" y="9154"/>
                    </a:lnTo>
                    <a:lnTo>
                      <a:pt x="18680" y="9452"/>
                    </a:lnTo>
                    <a:lnTo>
                      <a:pt x="18804" y="9776"/>
                    </a:lnTo>
                    <a:lnTo>
                      <a:pt x="18904" y="10074"/>
                    </a:lnTo>
                    <a:lnTo>
                      <a:pt x="18978" y="10397"/>
                    </a:lnTo>
                    <a:lnTo>
                      <a:pt x="19053" y="10721"/>
                    </a:lnTo>
                    <a:lnTo>
                      <a:pt x="19103" y="11044"/>
                    </a:lnTo>
                    <a:lnTo>
                      <a:pt x="19152" y="11392"/>
                    </a:lnTo>
                    <a:lnTo>
                      <a:pt x="19177" y="11716"/>
                    </a:lnTo>
                    <a:lnTo>
                      <a:pt x="19177" y="12064"/>
                    </a:lnTo>
                    <a:lnTo>
                      <a:pt x="19152" y="12387"/>
                    </a:lnTo>
                    <a:lnTo>
                      <a:pt x="19127" y="12735"/>
                    </a:lnTo>
                    <a:lnTo>
                      <a:pt x="19078" y="13084"/>
                    </a:lnTo>
                    <a:lnTo>
                      <a:pt x="19028" y="13407"/>
                    </a:lnTo>
                    <a:lnTo>
                      <a:pt x="18953" y="13755"/>
                    </a:lnTo>
                    <a:lnTo>
                      <a:pt x="18854" y="14079"/>
                    </a:lnTo>
                    <a:lnTo>
                      <a:pt x="18729" y="14427"/>
                    </a:lnTo>
                    <a:lnTo>
                      <a:pt x="18605" y="14750"/>
                    </a:lnTo>
                    <a:lnTo>
                      <a:pt x="18456" y="15073"/>
                    </a:lnTo>
                    <a:lnTo>
                      <a:pt x="18282" y="15372"/>
                    </a:lnTo>
                    <a:lnTo>
                      <a:pt x="18108" y="15670"/>
                    </a:lnTo>
                    <a:lnTo>
                      <a:pt x="17934" y="15969"/>
                    </a:lnTo>
                    <a:lnTo>
                      <a:pt x="17735" y="16242"/>
                    </a:lnTo>
                    <a:lnTo>
                      <a:pt x="17511" y="16491"/>
                    </a:lnTo>
                    <a:lnTo>
                      <a:pt x="17287" y="16740"/>
                    </a:lnTo>
                    <a:lnTo>
                      <a:pt x="17038" y="16989"/>
                    </a:lnTo>
                    <a:lnTo>
                      <a:pt x="16789" y="17212"/>
                    </a:lnTo>
                    <a:lnTo>
                      <a:pt x="16541" y="17411"/>
                    </a:lnTo>
                    <a:lnTo>
                      <a:pt x="16267" y="17610"/>
                    </a:lnTo>
                    <a:lnTo>
                      <a:pt x="15994" y="17809"/>
                    </a:lnTo>
                    <a:lnTo>
                      <a:pt x="15720" y="17984"/>
                    </a:lnTo>
                    <a:lnTo>
                      <a:pt x="15421" y="18133"/>
                    </a:lnTo>
                    <a:lnTo>
                      <a:pt x="15123" y="18282"/>
                    </a:lnTo>
                    <a:lnTo>
                      <a:pt x="14825" y="18406"/>
                    </a:lnTo>
                    <a:lnTo>
                      <a:pt x="14526" y="18531"/>
                    </a:lnTo>
                    <a:lnTo>
                      <a:pt x="14203" y="18630"/>
                    </a:lnTo>
                    <a:lnTo>
                      <a:pt x="13879" y="18705"/>
                    </a:lnTo>
                    <a:lnTo>
                      <a:pt x="13556" y="18779"/>
                    </a:lnTo>
                    <a:lnTo>
                      <a:pt x="13233" y="18829"/>
                    </a:lnTo>
                    <a:lnTo>
                      <a:pt x="12884" y="18879"/>
                    </a:lnTo>
                    <a:lnTo>
                      <a:pt x="12561" y="18879"/>
                    </a:lnTo>
                    <a:lnTo>
                      <a:pt x="12213" y="18904"/>
                    </a:lnTo>
                    <a:lnTo>
                      <a:pt x="11890" y="18879"/>
                    </a:lnTo>
                    <a:lnTo>
                      <a:pt x="11541" y="18854"/>
                    </a:lnTo>
                    <a:lnTo>
                      <a:pt x="11218" y="18804"/>
                    </a:lnTo>
                    <a:lnTo>
                      <a:pt x="10870" y="18755"/>
                    </a:lnTo>
                    <a:lnTo>
                      <a:pt x="10522" y="18680"/>
                    </a:lnTo>
                    <a:lnTo>
                      <a:pt x="10198" y="18580"/>
                    </a:lnTo>
                    <a:lnTo>
                      <a:pt x="9850" y="18456"/>
                    </a:lnTo>
                    <a:lnTo>
                      <a:pt x="9527" y="18332"/>
                    </a:lnTo>
                    <a:lnTo>
                      <a:pt x="9203" y="18183"/>
                    </a:lnTo>
                    <a:lnTo>
                      <a:pt x="8905" y="18008"/>
                    </a:lnTo>
                    <a:lnTo>
                      <a:pt x="8606" y="17834"/>
                    </a:lnTo>
                    <a:lnTo>
                      <a:pt x="8333" y="17635"/>
                    </a:lnTo>
                    <a:lnTo>
                      <a:pt x="8059" y="17436"/>
                    </a:lnTo>
                    <a:lnTo>
                      <a:pt x="7786" y="17237"/>
                    </a:lnTo>
                    <a:lnTo>
                      <a:pt x="7537" y="17014"/>
                    </a:lnTo>
                    <a:lnTo>
                      <a:pt x="7288" y="16765"/>
                    </a:lnTo>
                    <a:lnTo>
                      <a:pt x="7064" y="16516"/>
                    </a:lnTo>
                    <a:lnTo>
                      <a:pt x="6865" y="16267"/>
                    </a:lnTo>
                    <a:lnTo>
                      <a:pt x="6666" y="15994"/>
                    </a:lnTo>
                    <a:lnTo>
                      <a:pt x="6467" y="15720"/>
                    </a:lnTo>
                    <a:lnTo>
                      <a:pt x="6293" y="15447"/>
                    </a:lnTo>
                    <a:lnTo>
                      <a:pt x="6144" y="15148"/>
                    </a:lnTo>
                    <a:lnTo>
                      <a:pt x="5995" y="14850"/>
                    </a:lnTo>
                    <a:lnTo>
                      <a:pt x="5871" y="14551"/>
                    </a:lnTo>
                    <a:lnTo>
                      <a:pt x="5771" y="14228"/>
                    </a:lnTo>
                    <a:lnTo>
                      <a:pt x="5647" y="13929"/>
                    </a:lnTo>
                    <a:lnTo>
                      <a:pt x="5572" y="13606"/>
                    </a:lnTo>
                    <a:lnTo>
                      <a:pt x="5497" y="13283"/>
                    </a:lnTo>
                    <a:lnTo>
                      <a:pt x="5448" y="12959"/>
                    </a:lnTo>
                    <a:lnTo>
                      <a:pt x="5423" y="12611"/>
                    </a:lnTo>
                    <a:lnTo>
                      <a:pt x="5398" y="12288"/>
                    </a:lnTo>
                    <a:lnTo>
                      <a:pt x="5373" y="11940"/>
                    </a:lnTo>
                    <a:lnTo>
                      <a:pt x="5398" y="11616"/>
                    </a:lnTo>
                    <a:lnTo>
                      <a:pt x="5423" y="11268"/>
                    </a:lnTo>
                    <a:lnTo>
                      <a:pt x="5473" y="10920"/>
                    </a:lnTo>
                    <a:lnTo>
                      <a:pt x="5522" y="10596"/>
                    </a:lnTo>
                    <a:lnTo>
                      <a:pt x="5622" y="10248"/>
                    </a:lnTo>
                    <a:lnTo>
                      <a:pt x="5721" y="9925"/>
                    </a:lnTo>
                    <a:lnTo>
                      <a:pt x="5821" y="9577"/>
                    </a:lnTo>
                    <a:lnTo>
                      <a:pt x="5970" y="9253"/>
                    </a:lnTo>
                    <a:lnTo>
                      <a:pt x="6119" y="8930"/>
                    </a:lnTo>
                    <a:lnTo>
                      <a:pt x="6268" y="8632"/>
                    </a:lnTo>
                    <a:lnTo>
                      <a:pt x="6443" y="8333"/>
                    </a:lnTo>
                    <a:lnTo>
                      <a:pt x="6642" y="8035"/>
                    </a:lnTo>
                    <a:lnTo>
                      <a:pt x="6841" y="7761"/>
                    </a:lnTo>
                    <a:lnTo>
                      <a:pt x="7040" y="7512"/>
                    </a:lnTo>
                    <a:lnTo>
                      <a:pt x="7263" y="7264"/>
                    </a:lnTo>
                    <a:lnTo>
                      <a:pt x="7512" y="7015"/>
                    </a:lnTo>
                    <a:lnTo>
                      <a:pt x="7761" y="6791"/>
                    </a:lnTo>
                    <a:lnTo>
                      <a:pt x="8010" y="6592"/>
                    </a:lnTo>
                    <a:lnTo>
                      <a:pt x="8283" y="6393"/>
                    </a:lnTo>
                    <a:lnTo>
                      <a:pt x="8557" y="6194"/>
                    </a:lnTo>
                    <a:lnTo>
                      <a:pt x="8830" y="6020"/>
                    </a:lnTo>
                    <a:lnTo>
                      <a:pt x="9129" y="5871"/>
                    </a:lnTo>
                    <a:lnTo>
                      <a:pt x="9427" y="5721"/>
                    </a:lnTo>
                    <a:lnTo>
                      <a:pt x="9726" y="5597"/>
                    </a:lnTo>
                    <a:lnTo>
                      <a:pt x="10049" y="5473"/>
                    </a:lnTo>
                    <a:lnTo>
                      <a:pt x="10348" y="5373"/>
                    </a:lnTo>
                    <a:lnTo>
                      <a:pt x="10671" y="5299"/>
                    </a:lnTo>
                    <a:lnTo>
                      <a:pt x="10994" y="5224"/>
                    </a:lnTo>
                    <a:lnTo>
                      <a:pt x="11342" y="5174"/>
                    </a:lnTo>
                    <a:lnTo>
                      <a:pt x="11666" y="5124"/>
                    </a:lnTo>
                    <a:lnTo>
                      <a:pt x="11989" y="5124"/>
                    </a:lnTo>
                    <a:lnTo>
                      <a:pt x="12337" y="5100"/>
                    </a:lnTo>
                    <a:close/>
                    <a:moveTo>
                      <a:pt x="14874" y="1"/>
                    </a:moveTo>
                    <a:lnTo>
                      <a:pt x="5945" y="1468"/>
                    </a:lnTo>
                    <a:lnTo>
                      <a:pt x="6542" y="5025"/>
                    </a:lnTo>
                    <a:lnTo>
                      <a:pt x="6542" y="5025"/>
                    </a:lnTo>
                    <a:lnTo>
                      <a:pt x="3184" y="3757"/>
                    </a:lnTo>
                    <a:lnTo>
                      <a:pt x="1" y="12213"/>
                    </a:lnTo>
                    <a:lnTo>
                      <a:pt x="3358" y="13482"/>
                    </a:lnTo>
                    <a:lnTo>
                      <a:pt x="598" y="15770"/>
                    </a:lnTo>
                    <a:lnTo>
                      <a:pt x="6318" y="22734"/>
                    </a:lnTo>
                    <a:lnTo>
                      <a:pt x="9104" y="20471"/>
                    </a:lnTo>
                    <a:lnTo>
                      <a:pt x="9701" y="24003"/>
                    </a:lnTo>
                    <a:lnTo>
                      <a:pt x="18605" y="22535"/>
                    </a:lnTo>
                    <a:lnTo>
                      <a:pt x="18008" y="18978"/>
                    </a:lnTo>
                    <a:lnTo>
                      <a:pt x="21391" y="20247"/>
                    </a:lnTo>
                    <a:lnTo>
                      <a:pt x="24550" y="11790"/>
                    </a:lnTo>
                    <a:lnTo>
                      <a:pt x="21192" y="10522"/>
                    </a:lnTo>
                    <a:lnTo>
                      <a:pt x="23978" y="8234"/>
                    </a:lnTo>
                    <a:lnTo>
                      <a:pt x="18232" y="1269"/>
                    </a:lnTo>
                    <a:lnTo>
                      <a:pt x="15446" y="3533"/>
                    </a:lnTo>
                    <a:lnTo>
                      <a:pt x="14874"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15"/>
              <p:cNvSpPr/>
              <p:nvPr/>
            </p:nvSpPr>
            <p:spPr>
              <a:xfrm>
                <a:off x="2947370" y="1410924"/>
                <a:ext cx="392846" cy="384104"/>
              </a:xfrm>
              <a:custGeom>
                <a:avLst/>
                <a:gdLst/>
                <a:ahLst/>
                <a:cxnLst/>
                <a:rect l="l" t="t" r="r" b="b"/>
                <a:pathLst>
                  <a:path w="19054" h="18630" extrusionOk="0">
                    <a:moveTo>
                      <a:pt x="9825" y="3980"/>
                    </a:moveTo>
                    <a:lnTo>
                      <a:pt x="10348" y="4030"/>
                    </a:lnTo>
                    <a:lnTo>
                      <a:pt x="10895" y="4154"/>
                    </a:lnTo>
                    <a:lnTo>
                      <a:pt x="11417" y="4303"/>
                    </a:lnTo>
                    <a:lnTo>
                      <a:pt x="11915" y="4527"/>
                    </a:lnTo>
                    <a:lnTo>
                      <a:pt x="12387" y="4801"/>
                    </a:lnTo>
                    <a:lnTo>
                      <a:pt x="12810" y="5099"/>
                    </a:lnTo>
                    <a:lnTo>
                      <a:pt x="13208" y="5423"/>
                    </a:lnTo>
                    <a:lnTo>
                      <a:pt x="13556" y="5820"/>
                    </a:lnTo>
                    <a:lnTo>
                      <a:pt x="13880" y="6218"/>
                    </a:lnTo>
                    <a:lnTo>
                      <a:pt x="14153" y="6641"/>
                    </a:lnTo>
                    <a:lnTo>
                      <a:pt x="14402" y="7114"/>
                    </a:lnTo>
                    <a:lnTo>
                      <a:pt x="14576" y="7586"/>
                    </a:lnTo>
                    <a:lnTo>
                      <a:pt x="14725" y="8084"/>
                    </a:lnTo>
                    <a:lnTo>
                      <a:pt x="14825" y="8581"/>
                    </a:lnTo>
                    <a:lnTo>
                      <a:pt x="14875" y="9104"/>
                    </a:lnTo>
                    <a:lnTo>
                      <a:pt x="14875" y="9626"/>
                    </a:lnTo>
                    <a:lnTo>
                      <a:pt x="14800" y="10148"/>
                    </a:lnTo>
                    <a:lnTo>
                      <a:pt x="14700" y="10671"/>
                    </a:lnTo>
                    <a:lnTo>
                      <a:pt x="14526" y="11193"/>
                    </a:lnTo>
                    <a:lnTo>
                      <a:pt x="14302" y="11690"/>
                    </a:lnTo>
                    <a:lnTo>
                      <a:pt x="14054" y="12163"/>
                    </a:lnTo>
                    <a:lnTo>
                      <a:pt x="13755" y="12586"/>
                    </a:lnTo>
                    <a:lnTo>
                      <a:pt x="13407" y="12984"/>
                    </a:lnTo>
                    <a:lnTo>
                      <a:pt x="13034" y="13357"/>
                    </a:lnTo>
                    <a:lnTo>
                      <a:pt x="12636" y="13655"/>
                    </a:lnTo>
                    <a:lnTo>
                      <a:pt x="12188" y="13954"/>
                    </a:lnTo>
                    <a:lnTo>
                      <a:pt x="11741" y="14178"/>
                    </a:lnTo>
                    <a:lnTo>
                      <a:pt x="11268" y="14377"/>
                    </a:lnTo>
                    <a:lnTo>
                      <a:pt x="10771" y="14501"/>
                    </a:lnTo>
                    <a:lnTo>
                      <a:pt x="10273" y="14600"/>
                    </a:lnTo>
                    <a:lnTo>
                      <a:pt x="9751" y="14650"/>
                    </a:lnTo>
                    <a:lnTo>
                      <a:pt x="9229" y="14650"/>
                    </a:lnTo>
                    <a:lnTo>
                      <a:pt x="8706" y="14600"/>
                    </a:lnTo>
                    <a:lnTo>
                      <a:pt x="8184" y="14476"/>
                    </a:lnTo>
                    <a:lnTo>
                      <a:pt x="7662" y="14327"/>
                    </a:lnTo>
                    <a:lnTo>
                      <a:pt x="7139" y="14103"/>
                    </a:lnTo>
                    <a:lnTo>
                      <a:pt x="6692" y="13829"/>
                    </a:lnTo>
                    <a:lnTo>
                      <a:pt x="6244" y="13531"/>
                    </a:lnTo>
                    <a:lnTo>
                      <a:pt x="5846" y="13183"/>
                    </a:lnTo>
                    <a:lnTo>
                      <a:pt x="5498" y="12810"/>
                    </a:lnTo>
                    <a:lnTo>
                      <a:pt x="5174" y="12412"/>
                    </a:lnTo>
                    <a:lnTo>
                      <a:pt x="4901" y="11989"/>
                    </a:lnTo>
                    <a:lnTo>
                      <a:pt x="4652" y="11516"/>
                    </a:lnTo>
                    <a:lnTo>
                      <a:pt x="4478" y="11044"/>
                    </a:lnTo>
                    <a:lnTo>
                      <a:pt x="4329" y="10546"/>
                    </a:lnTo>
                    <a:lnTo>
                      <a:pt x="4229" y="10049"/>
                    </a:lnTo>
                    <a:lnTo>
                      <a:pt x="4179" y="9526"/>
                    </a:lnTo>
                    <a:lnTo>
                      <a:pt x="4179" y="9004"/>
                    </a:lnTo>
                    <a:lnTo>
                      <a:pt x="4254" y="8482"/>
                    </a:lnTo>
                    <a:lnTo>
                      <a:pt x="4354" y="7959"/>
                    </a:lnTo>
                    <a:lnTo>
                      <a:pt x="4528" y="7437"/>
                    </a:lnTo>
                    <a:lnTo>
                      <a:pt x="4752" y="6940"/>
                    </a:lnTo>
                    <a:lnTo>
                      <a:pt x="5000" y="6467"/>
                    </a:lnTo>
                    <a:lnTo>
                      <a:pt x="5299" y="6044"/>
                    </a:lnTo>
                    <a:lnTo>
                      <a:pt x="5647" y="5646"/>
                    </a:lnTo>
                    <a:lnTo>
                      <a:pt x="6020" y="5273"/>
                    </a:lnTo>
                    <a:lnTo>
                      <a:pt x="6418" y="4950"/>
                    </a:lnTo>
                    <a:lnTo>
                      <a:pt x="6866" y="4676"/>
                    </a:lnTo>
                    <a:lnTo>
                      <a:pt x="7313" y="4452"/>
                    </a:lnTo>
                    <a:lnTo>
                      <a:pt x="7786" y="4253"/>
                    </a:lnTo>
                    <a:lnTo>
                      <a:pt x="8283" y="4104"/>
                    </a:lnTo>
                    <a:lnTo>
                      <a:pt x="8806" y="4030"/>
                    </a:lnTo>
                    <a:lnTo>
                      <a:pt x="9303" y="3980"/>
                    </a:lnTo>
                    <a:close/>
                    <a:moveTo>
                      <a:pt x="11542" y="0"/>
                    </a:moveTo>
                    <a:lnTo>
                      <a:pt x="4627" y="1144"/>
                    </a:lnTo>
                    <a:lnTo>
                      <a:pt x="5075" y="3905"/>
                    </a:lnTo>
                    <a:lnTo>
                      <a:pt x="2463" y="2935"/>
                    </a:lnTo>
                    <a:lnTo>
                      <a:pt x="1" y="9477"/>
                    </a:lnTo>
                    <a:lnTo>
                      <a:pt x="2613" y="10472"/>
                    </a:lnTo>
                    <a:lnTo>
                      <a:pt x="473" y="12238"/>
                    </a:lnTo>
                    <a:lnTo>
                      <a:pt x="4926" y="17635"/>
                    </a:lnTo>
                    <a:lnTo>
                      <a:pt x="7065" y="15869"/>
                    </a:lnTo>
                    <a:lnTo>
                      <a:pt x="7512" y="18630"/>
                    </a:lnTo>
                    <a:lnTo>
                      <a:pt x="14427" y="17461"/>
                    </a:lnTo>
                    <a:lnTo>
                      <a:pt x="13979" y="14725"/>
                    </a:lnTo>
                    <a:lnTo>
                      <a:pt x="16591" y="15695"/>
                    </a:lnTo>
                    <a:lnTo>
                      <a:pt x="19053" y="9153"/>
                    </a:lnTo>
                    <a:lnTo>
                      <a:pt x="16442" y="8158"/>
                    </a:lnTo>
                    <a:lnTo>
                      <a:pt x="18581" y="6393"/>
                    </a:lnTo>
                    <a:lnTo>
                      <a:pt x="14153" y="995"/>
                    </a:lnTo>
                    <a:lnTo>
                      <a:pt x="11989" y="2761"/>
                    </a:lnTo>
                    <a:lnTo>
                      <a:pt x="11542"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15"/>
              <p:cNvSpPr/>
              <p:nvPr/>
            </p:nvSpPr>
            <p:spPr>
              <a:xfrm>
                <a:off x="828468" y="3647263"/>
                <a:ext cx="694356" cy="693861"/>
              </a:xfrm>
              <a:custGeom>
                <a:avLst/>
                <a:gdLst/>
                <a:ahLst/>
                <a:cxnLst/>
                <a:rect l="l" t="t" r="r" b="b"/>
                <a:pathLst>
                  <a:path w="33678" h="33654" extrusionOk="0">
                    <a:moveTo>
                      <a:pt x="16889" y="8482"/>
                    </a:moveTo>
                    <a:lnTo>
                      <a:pt x="17312" y="8507"/>
                    </a:lnTo>
                    <a:lnTo>
                      <a:pt x="17735" y="8532"/>
                    </a:lnTo>
                    <a:lnTo>
                      <a:pt x="18132" y="8607"/>
                    </a:lnTo>
                    <a:lnTo>
                      <a:pt x="18555" y="8681"/>
                    </a:lnTo>
                    <a:lnTo>
                      <a:pt x="18953" y="8756"/>
                    </a:lnTo>
                    <a:lnTo>
                      <a:pt x="19351" y="8880"/>
                    </a:lnTo>
                    <a:lnTo>
                      <a:pt x="19724" y="9005"/>
                    </a:lnTo>
                    <a:lnTo>
                      <a:pt x="20097" y="9154"/>
                    </a:lnTo>
                    <a:lnTo>
                      <a:pt x="20470" y="9328"/>
                    </a:lnTo>
                    <a:lnTo>
                      <a:pt x="20819" y="9502"/>
                    </a:lnTo>
                    <a:lnTo>
                      <a:pt x="21167" y="9701"/>
                    </a:lnTo>
                    <a:lnTo>
                      <a:pt x="21515" y="9925"/>
                    </a:lnTo>
                    <a:lnTo>
                      <a:pt x="21838" y="10174"/>
                    </a:lnTo>
                    <a:lnTo>
                      <a:pt x="22162" y="10422"/>
                    </a:lnTo>
                    <a:lnTo>
                      <a:pt x="22460" y="10671"/>
                    </a:lnTo>
                    <a:lnTo>
                      <a:pt x="22759" y="10945"/>
                    </a:lnTo>
                    <a:lnTo>
                      <a:pt x="23032" y="11243"/>
                    </a:lnTo>
                    <a:lnTo>
                      <a:pt x="23281" y="11542"/>
                    </a:lnTo>
                    <a:lnTo>
                      <a:pt x="23530" y="11865"/>
                    </a:lnTo>
                    <a:lnTo>
                      <a:pt x="23754" y="12188"/>
                    </a:lnTo>
                    <a:lnTo>
                      <a:pt x="23977" y="12537"/>
                    </a:lnTo>
                    <a:lnTo>
                      <a:pt x="24176" y="12885"/>
                    </a:lnTo>
                    <a:lnTo>
                      <a:pt x="24375" y="13233"/>
                    </a:lnTo>
                    <a:lnTo>
                      <a:pt x="24525" y="13606"/>
                    </a:lnTo>
                    <a:lnTo>
                      <a:pt x="24674" y="13979"/>
                    </a:lnTo>
                    <a:lnTo>
                      <a:pt x="24823" y="14377"/>
                    </a:lnTo>
                    <a:lnTo>
                      <a:pt x="24923" y="14775"/>
                    </a:lnTo>
                    <a:lnTo>
                      <a:pt x="25022" y="15198"/>
                    </a:lnTo>
                    <a:lnTo>
                      <a:pt x="25097" y="15596"/>
                    </a:lnTo>
                    <a:lnTo>
                      <a:pt x="25146" y="16019"/>
                    </a:lnTo>
                    <a:lnTo>
                      <a:pt x="25171" y="16442"/>
                    </a:lnTo>
                    <a:lnTo>
                      <a:pt x="25171" y="16864"/>
                    </a:lnTo>
                    <a:lnTo>
                      <a:pt x="25171" y="17312"/>
                    </a:lnTo>
                    <a:lnTo>
                      <a:pt x="25122" y="17710"/>
                    </a:lnTo>
                    <a:lnTo>
                      <a:pt x="25072" y="18133"/>
                    </a:lnTo>
                    <a:lnTo>
                      <a:pt x="24997" y="18531"/>
                    </a:lnTo>
                    <a:lnTo>
                      <a:pt x="24898" y="18929"/>
                    </a:lnTo>
                    <a:lnTo>
                      <a:pt x="24798" y="19327"/>
                    </a:lnTo>
                    <a:lnTo>
                      <a:pt x="24674" y="19725"/>
                    </a:lnTo>
                    <a:lnTo>
                      <a:pt x="24525" y="20098"/>
                    </a:lnTo>
                    <a:lnTo>
                      <a:pt x="24351" y="20471"/>
                    </a:lnTo>
                    <a:lnTo>
                      <a:pt x="24152" y="20819"/>
                    </a:lnTo>
                    <a:lnTo>
                      <a:pt x="23953" y="21167"/>
                    </a:lnTo>
                    <a:lnTo>
                      <a:pt x="23754" y="21516"/>
                    </a:lnTo>
                    <a:lnTo>
                      <a:pt x="23505" y="21839"/>
                    </a:lnTo>
                    <a:lnTo>
                      <a:pt x="23256" y="22137"/>
                    </a:lnTo>
                    <a:lnTo>
                      <a:pt x="23007" y="22436"/>
                    </a:lnTo>
                    <a:lnTo>
                      <a:pt x="22734" y="22734"/>
                    </a:lnTo>
                    <a:lnTo>
                      <a:pt x="22435" y="23008"/>
                    </a:lnTo>
                    <a:lnTo>
                      <a:pt x="22137" y="23281"/>
                    </a:lnTo>
                    <a:lnTo>
                      <a:pt x="21814" y="23530"/>
                    </a:lnTo>
                    <a:lnTo>
                      <a:pt x="21490" y="23754"/>
                    </a:lnTo>
                    <a:lnTo>
                      <a:pt x="21142" y="23978"/>
                    </a:lnTo>
                    <a:lnTo>
                      <a:pt x="20794" y="24177"/>
                    </a:lnTo>
                    <a:lnTo>
                      <a:pt x="20421" y="24351"/>
                    </a:lnTo>
                    <a:lnTo>
                      <a:pt x="20073" y="24525"/>
                    </a:lnTo>
                    <a:lnTo>
                      <a:pt x="19675" y="24674"/>
                    </a:lnTo>
                    <a:lnTo>
                      <a:pt x="19301" y="24799"/>
                    </a:lnTo>
                    <a:lnTo>
                      <a:pt x="18904" y="24923"/>
                    </a:lnTo>
                    <a:lnTo>
                      <a:pt x="18481" y="24998"/>
                    </a:lnTo>
                    <a:lnTo>
                      <a:pt x="18083" y="25072"/>
                    </a:lnTo>
                    <a:lnTo>
                      <a:pt x="17660" y="25122"/>
                    </a:lnTo>
                    <a:lnTo>
                      <a:pt x="17237" y="25147"/>
                    </a:lnTo>
                    <a:lnTo>
                      <a:pt x="16789" y="25172"/>
                    </a:lnTo>
                    <a:lnTo>
                      <a:pt x="16367" y="25147"/>
                    </a:lnTo>
                    <a:lnTo>
                      <a:pt x="15944" y="25122"/>
                    </a:lnTo>
                    <a:lnTo>
                      <a:pt x="15546" y="25072"/>
                    </a:lnTo>
                    <a:lnTo>
                      <a:pt x="15123" y="24998"/>
                    </a:lnTo>
                    <a:lnTo>
                      <a:pt x="14725" y="24898"/>
                    </a:lnTo>
                    <a:lnTo>
                      <a:pt x="14352" y="24774"/>
                    </a:lnTo>
                    <a:lnTo>
                      <a:pt x="13954" y="24649"/>
                    </a:lnTo>
                    <a:lnTo>
                      <a:pt x="13581" y="24500"/>
                    </a:lnTo>
                    <a:lnTo>
                      <a:pt x="13208" y="24326"/>
                    </a:lnTo>
                    <a:lnTo>
                      <a:pt x="12860" y="24152"/>
                    </a:lnTo>
                    <a:lnTo>
                      <a:pt x="12511" y="23953"/>
                    </a:lnTo>
                    <a:lnTo>
                      <a:pt x="12163" y="23729"/>
                    </a:lnTo>
                    <a:lnTo>
                      <a:pt x="11840" y="23505"/>
                    </a:lnTo>
                    <a:lnTo>
                      <a:pt x="11541" y="23257"/>
                    </a:lnTo>
                    <a:lnTo>
                      <a:pt x="11218" y="22983"/>
                    </a:lnTo>
                    <a:lnTo>
                      <a:pt x="10944" y="22709"/>
                    </a:lnTo>
                    <a:lnTo>
                      <a:pt x="10671" y="22411"/>
                    </a:lnTo>
                    <a:lnTo>
                      <a:pt x="10397" y="22112"/>
                    </a:lnTo>
                    <a:lnTo>
                      <a:pt x="10148" y="21789"/>
                    </a:lnTo>
                    <a:lnTo>
                      <a:pt x="9925" y="21466"/>
                    </a:lnTo>
                    <a:lnTo>
                      <a:pt x="9701" y="21142"/>
                    </a:lnTo>
                    <a:lnTo>
                      <a:pt x="9502" y="20794"/>
                    </a:lnTo>
                    <a:lnTo>
                      <a:pt x="9328" y="20421"/>
                    </a:lnTo>
                    <a:lnTo>
                      <a:pt x="9154" y="20048"/>
                    </a:lnTo>
                    <a:lnTo>
                      <a:pt x="9004" y="19675"/>
                    </a:lnTo>
                    <a:lnTo>
                      <a:pt x="8880" y="19277"/>
                    </a:lnTo>
                    <a:lnTo>
                      <a:pt x="8756" y="18879"/>
                    </a:lnTo>
                    <a:lnTo>
                      <a:pt x="8681" y="18481"/>
                    </a:lnTo>
                    <a:lnTo>
                      <a:pt x="8606" y="18058"/>
                    </a:lnTo>
                    <a:lnTo>
                      <a:pt x="8557" y="17635"/>
                    </a:lnTo>
                    <a:lnTo>
                      <a:pt x="8507" y="17213"/>
                    </a:lnTo>
                    <a:lnTo>
                      <a:pt x="8507" y="16790"/>
                    </a:lnTo>
                    <a:lnTo>
                      <a:pt x="8507" y="16367"/>
                    </a:lnTo>
                    <a:lnTo>
                      <a:pt x="8557" y="15944"/>
                    </a:lnTo>
                    <a:lnTo>
                      <a:pt x="8606" y="15521"/>
                    </a:lnTo>
                    <a:lnTo>
                      <a:pt x="8681" y="15123"/>
                    </a:lnTo>
                    <a:lnTo>
                      <a:pt x="8780" y="14725"/>
                    </a:lnTo>
                    <a:lnTo>
                      <a:pt x="8880" y="14327"/>
                    </a:lnTo>
                    <a:lnTo>
                      <a:pt x="9029" y="13954"/>
                    </a:lnTo>
                    <a:lnTo>
                      <a:pt x="9178" y="13556"/>
                    </a:lnTo>
                    <a:lnTo>
                      <a:pt x="9328" y="13208"/>
                    </a:lnTo>
                    <a:lnTo>
                      <a:pt x="9527" y="12835"/>
                    </a:lnTo>
                    <a:lnTo>
                      <a:pt x="9726" y="12487"/>
                    </a:lnTo>
                    <a:lnTo>
                      <a:pt x="9949" y="12163"/>
                    </a:lnTo>
                    <a:lnTo>
                      <a:pt x="10173" y="11840"/>
                    </a:lnTo>
                    <a:lnTo>
                      <a:pt x="10422" y="11517"/>
                    </a:lnTo>
                    <a:lnTo>
                      <a:pt x="10696" y="11218"/>
                    </a:lnTo>
                    <a:lnTo>
                      <a:pt x="10969" y="10920"/>
                    </a:lnTo>
                    <a:lnTo>
                      <a:pt x="11243" y="10646"/>
                    </a:lnTo>
                    <a:lnTo>
                      <a:pt x="11566" y="10398"/>
                    </a:lnTo>
                    <a:lnTo>
                      <a:pt x="11865" y="10149"/>
                    </a:lnTo>
                    <a:lnTo>
                      <a:pt x="12213" y="9900"/>
                    </a:lnTo>
                    <a:lnTo>
                      <a:pt x="12536" y="9701"/>
                    </a:lnTo>
                    <a:lnTo>
                      <a:pt x="12884" y="9502"/>
                    </a:lnTo>
                    <a:lnTo>
                      <a:pt x="13257" y="9303"/>
                    </a:lnTo>
                    <a:lnTo>
                      <a:pt x="13631" y="9129"/>
                    </a:lnTo>
                    <a:lnTo>
                      <a:pt x="14004" y="8980"/>
                    </a:lnTo>
                    <a:lnTo>
                      <a:pt x="14402" y="8855"/>
                    </a:lnTo>
                    <a:lnTo>
                      <a:pt x="14800" y="8756"/>
                    </a:lnTo>
                    <a:lnTo>
                      <a:pt x="15198" y="8656"/>
                    </a:lnTo>
                    <a:lnTo>
                      <a:pt x="15620" y="8582"/>
                    </a:lnTo>
                    <a:lnTo>
                      <a:pt x="16043" y="8532"/>
                    </a:lnTo>
                    <a:lnTo>
                      <a:pt x="16466" y="8507"/>
                    </a:lnTo>
                    <a:lnTo>
                      <a:pt x="16889" y="8482"/>
                    </a:lnTo>
                    <a:close/>
                    <a:moveTo>
                      <a:pt x="20172" y="1"/>
                    </a:moveTo>
                    <a:lnTo>
                      <a:pt x="11989" y="374"/>
                    </a:lnTo>
                    <a:lnTo>
                      <a:pt x="12188" y="4354"/>
                    </a:lnTo>
                    <a:lnTo>
                      <a:pt x="11666" y="4553"/>
                    </a:lnTo>
                    <a:lnTo>
                      <a:pt x="11193" y="4776"/>
                    </a:lnTo>
                    <a:lnTo>
                      <a:pt x="10696" y="5000"/>
                    </a:lnTo>
                    <a:lnTo>
                      <a:pt x="10223" y="5274"/>
                    </a:lnTo>
                    <a:lnTo>
                      <a:pt x="7288" y="2588"/>
                    </a:lnTo>
                    <a:lnTo>
                      <a:pt x="1766" y="8632"/>
                    </a:lnTo>
                    <a:lnTo>
                      <a:pt x="4726" y="11318"/>
                    </a:lnTo>
                    <a:lnTo>
                      <a:pt x="4502" y="11790"/>
                    </a:lnTo>
                    <a:lnTo>
                      <a:pt x="4303" y="12288"/>
                    </a:lnTo>
                    <a:lnTo>
                      <a:pt x="4154" y="12810"/>
                    </a:lnTo>
                    <a:lnTo>
                      <a:pt x="3980" y="13332"/>
                    </a:lnTo>
                    <a:lnTo>
                      <a:pt x="1" y="13507"/>
                    </a:lnTo>
                    <a:lnTo>
                      <a:pt x="374" y="21690"/>
                    </a:lnTo>
                    <a:lnTo>
                      <a:pt x="4353" y="21491"/>
                    </a:lnTo>
                    <a:lnTo>
                      <a:pt x="4552" y="21988"/>
                    </a:lnTo>
                    <a:lnTo>
                      <a:pt x="4776" y="22486"/>
                    </a:lnTo>
                    <a:lnTo>
                      <a:pt x="5025" y="22958"/>
                    </a:lnTo>
                    <a:lnTo>
                      <a:pt x="5273" y="23431"/>
                    </a:lnTo>
                    <a:lnTo>
                      <a:pt x="2587" y="26390"/>
                    </a:lnTo>
                    <a:lnTo>
                      <a:pt x="8631" y="31887"/>
                    </a:lnTo>
                    <a:lnTo>
                      <a:pt x="11317" y="28952"/>
                    </a:lnTo>
                    <a:lnTo>
                      <a:pt x="11815" y="29151"/>
                    </a:lnTo>
                    <a:lnTo>
                      <a:pt x="12312" y="29350"/>
                    </a:lnTo>
                    <a:lnTo>
                      <a:pt x="12810" y="29524"/>
                    </a:lnTo>
                    <a:lnTo>
                      <a:pt x="13332" y="29674"/>
                    </a:lnTo>
                    <a:lnTo>
                      <a:pt x="13531" y="33653"/>
                    </a:lnTo>
                    <a:lnTo>
                      <a:pt x="21689" y="33280"/>
                    </a:lnTo>
                    <a:lnTo>
                      <a:pt x="21515" y="29301"/>
                    </a:lnTo>
                    <a:lnTo>
                      <a:pt x="22013" y="29102"/>
                    </a:lnTo>
                    <a:lnTo>
                      <a:pt x="22510" y="28878"/>
                    </a:lnTo>
                    <a:lnTo>
                      <a:pt x="22983" y="28654"/>
                    </a:lnTo>
                    <a:lnTo>
                      <a:pt x="23455" y="28405"/>
                    </a:lnTo>
                    <a:lnTo>
                      <a:pt x="26390" y="31091"/>
                    </a:lnTo>
                    <a:lnTo>
                      <a:pt x="31912" y="25047"/>
                    </a:lnTo>
                    <a:lnTo>
                      <a:pt x="28952" y="22361"/>
                    </a:lnTo>
                    <a:lnTo>
                      <a:pt x="29176" y="21864"/>
                    </a:lnTo>
                    <a:lnTo>
                      <a:pt x="29375" y="21366"/>
                    </a:lnTo>
                    <a:lnTo>
                      <a:pt x="29549" y="20844"/>
                    </a:lnTo>
                    <a:lnTo>
                      <a:pt x="29698" y="20322"/>
                    </a:lnTo>
                    <a:lnTo>
                      <a:pt x="33678" y="20148"/>
                    </a:lnTo>
                    <a:lnTo>
                      <a:pt x="33305" y="11989"/>
                    </a:lnTo>
                    <a:lnTo>
                      <a:pt x="29325" y="12163"/>
                    </a:lnTo>
                    <a:lnTo>
                      <a:pt x="29126" y="11666"/>
                    </a:lnTo>
                    <a:lnTo>
                      <a:pt x="28902" y="11169"/>
                    </a:lnTo>
                    <a:lnTo>
                      <a:pt x="28653" y="10696"/>
                    </a:lnTo>
                    <a:lnTo>
                      <a:pt x="28405" y="10223"/>
                    </a:lnTo>
                    <a:lnTo>
                      <a:pt x="31091" y="7264"/>
                    </a:lnTo>
                    <a:lnTo>
                      <a:pt x="25047" y="1767"/>
                    </a:lnTo>
                    <a:lnTo>
                      <a:pt x="22361" y="4702"/>
                    </a:lnTo>
                    <a:lnTo>
                      <a:pt x="21863" y="4503"/>
                    </a:lnTo>
                    <a:lnTo>
                      <a:pt x="21366" y="4304"/>
                    </a:lnTo>
                    <a:lnTo>
                      <a:pt x="20868" y="4130"/>
                    </a:lnTo>
                    <a:lnTo>
                      <a:pt x="20346" y="3980"/>
                    </a:lnTo>
                    <a:lnTo>
                      <a:pt x="20172" y="1"/>
                    </a:lnTo>
                    <a:close/>
                  </a:path>
                </a:pathLst>
              </a:custGeom>
              <a:solidFill>
                <a:srgbClr val="6182B4">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15"/>
              <p:cNvSpPr/>
              <p:nvPr/>
            </p:nvSpPr>
            <p:spPr>
              <a:xfrm>
                <a:off x="1779203" y="1326825"/>
                <a:ext cx="470265" cy="470780"/>
              </a:xfrm>
              <a:custGeom>
                <a:avLst/>
                <a:gdLst/>
                <a:ahLst/>
                <a:cxnLst/>
                <a:rect l="l" t="t" r="r" b="b"/>
                <a:pathLst>
                  <a:path w="22809" h="22834" extrusionOk="0">
                    <a:moveTo>
                      <a:pt x="11716" y="5771"/>
                    </a:moveTo>
                    <a:lnTo>
                      <a:pt x="12288" y="5845"/>
                    </a:lnTo>
                    <a:lnTo>
                      <a:pt x="12835" y="5945"/>
                    </a:lnTo>
                    <a:lnTo>
                      <a:pt x="13357" y="6119"/>
                    </a:lnTo>
                    <a:lnTo>
                      <a:pt x="13855" y="6343"/>
                    </a:lnTo>
                    <a:lnTo>
                      <a:pt x="14327" y="6591"/>
                    </a:lnTo>
                    <a:lnTo>
                      <a:pt x="14775" y="6890"/>
                    </a:lnTo>
                    <a:lnTo>
                      <a:pt x="15198" y="7238"/>
                    </a:lnTo>
                    <a:lnTo>
                      <a:pt x="15571" y="7636"/>
                    </a:lnTo>
                    <a:lnTo>
                      <a:pt x="15919" y="8059"/>
                    </a:lnTo>
                    <a:lnTo>
                      <a:pt x="16242" y="8507"/>
                    </a:lnTo>
                    <a:lnTo>
                      <a:pt x="16491" y="8979"/>
                    </a:lnTo>
                    <a:lnTo>
                      <a:pt x="16715" y="9502"/>
                    </a:lnTo>
                    <a:lnTo>
                      <a:pt x="16864" y="10024"/>
                    </a:lnTo>
                    <a:lnTo>
                      <a:pt x="16989" y="10571"/>
                    </a:lnTo>
                    <a:lnTo>
                      <a:pt x="17038" y="11168"/>
                    </a:lnTo>
                    <a:lnTo>
                      <a:pt x="17038" y="11740"/>
                    </a:lnTo>
                    <a:lnTo>
                      <a:pt x="16964" y="12287"/>
                    </a:lnTo>
                    <a:lnTo>
                      <a:pt x="16864" y="12834"/>
                    </a:lnTo>
                    <a:lnTo>
                      <a:pt x="16690" y="13382"/>
                    </a:lnTo>
                    <a:lnTo>
                      <a:pt x="16466" y="13879"/>
                    </a:lnTo>
                    <a:lnTo>
                      <a:pt x="16218" y="14352"/>
                    </a:lnTo>
                    <a:lnTo>
                      <a:pt x="15919" y="14799"/>
                    </a:lnTo>
                    <a:lnTo>
                      <a:pt x="15571" y="15222"/>
                    </a:lnTo>
                    <a:lnTo>
                      <a:pt x="15173" y="15595"/>
                    </a:lnTo>
                    <a:lnTo>
                      <a:pt x="14750" y="15943"/>
                    </a:lnTo>
                    <a:lnTo>
                      <a:pt x="14302" y="16242"/>
                    </a:lnTo>
                    <a:lnTo>
                      <a:pt x="13830" y="16516"/>
                    </a:lnTo>
                    <a:lnTo>
                      <a:pt x="13307" y="16739"/>
                    </a:lnTo>
                    <a:lnTo>
                      <a:pt x="12785" y="16889"/>
                    </a:lnTo>
                    <a:lnTo>
                      <a:pt x="12238" y="17013"/>
                    </a:lnTo>
                    <a:lnTo>
                      <a:pt x="11666" y="17063"/>
                    </a:lnTo>
                    <a:lnTo>
                      <a:pt x="11069" y="17063"/>
                    </a:lnTo>
                    <a:lnTo>
                      <a:pt x="10522" y="16988"/>
                    </a:lnTo>
                    <a:lnTo>
                      <a:pt x="9975" y="16889"/>
                    </a:lnTo>
                    <a:lnTo>
                      <a:pt x="9427" y="16714"/>
                    </a:lnTo>
                    <a:lnTo>
                      <a:pt x="8930" y="16491"/>
                    </a:lnTo>
                    <a:lnTo>
                      <a:pt x="8457" y="16242"/>
                    </a:lnTo>
                    <a:lnTo>
                      <a:pt x="8010" y="15943"/>
                    </a:lnTo>
                    <a:lnTo>
                      <a:pt x="7587" y="15595"/>
                    </a:lnTo>
                    <a:lnTo>
                      <a:pt x="7214" y="15197"/>
                    </a:lnTo>
                    <a:lnTo>
                      <a:pt x="6866" y="14774"/>
                    </a:lnTo>
                    <a:lnTo>
                      <a:pt x="6567" y="14327"/>
                    </a:lnTo>
                    <a:lnTo>
                      <a:pt x="6293" y="13854"/>
                    </a:lnTo>
                    <a:lnTo>
                      <a:pt x="6095" y="13332"/>
                    </a:lnTo>
                    <a:lnTo>
                      <a:pt x="5920" y="12810"/>
                    </a:lnTo>
                    <a:lnTo>
                      <a:pt x="5796" y="12262"/>
                    </a:lnTo>
                    <a:lnTo>
                      <a:pt x="5746" y="11665"/>
                    </a:lnTo>
                    <a:lnTo>
                      <a:pt x="5746" y="11093"/>
                    </a:lnTo>
                    <a:lnTo>
                      <a:pt x="5821" y="10546"/>
                    </a:lnTo>
                    <a:lnTo>
                      <a:pt x="5920" y="9999"/>
                    </a:lnTo>
                    <a:lnTo>
                      <a:pt x="6095" y="9452"/>
                    </a:lnTo>
                    <a:lnTo>
                      <a:pt x="6318" y="8954"/>
                    </a:lnTo>
                    <a:lnTo>
                      <a:pt x="6567" y="8482"/>
                    </a:lnTo>
                    <a:lnTo>
                      <a:pt x="6890" y="8034"/>
                    </a:lnTo>
                    <a:lnTo>
                      <a:pt x="7214" y="7611"/>
                    </a:lnTo>
                    <a:lnTo>
                      <a:pt x="7612" y="7238"/>
                    </a:lnTo>
                    <a:lnTo>
                      <a:pt x="8035" y="6890"/>
                    </a:lnTo>
                    <a:lnTo>
                      <a:pt x="8482" y="6591"/>
                    </a:lnTo>
                    <a:lnTo>
                      <a:pt x="8955" y="6318"/>
                    </a:lnTo>
                    <a:lnTo>
                      <a:pt x="9477" y="6094"/>
                    </a:lnTo>
                    <a:lnTo>
                      <a:pt x="9999" y="5945"/>
                    </a:lnTo>
                    <a:lnTo>
                      <a:pt x="10572" y="5820"/>
                    </a:lnTo>
                    <a:lnTo>
                      <a:pt x="11144" y="5771"/>
                    </a:lnTo>
                    <a:close/>
                    <a:moveTo>
                      <a:pt x="13656" y="0"/>
                    </a:moveTo>
                    <a:lnTo>
                      <a:pt x="8109" y="274"/>
                    </a:lnTo>
                    <a:lnTo>
                      <a:pt x="8234" y="2960"/>
                    </a:lnTo>
                    <a:lnTo>
                      <a:pt x="7885" y="3109"/>
                    </a:lnTo>
                    <a:lnTo>
                      <a:pt x="7562" y="3259"/>
                    </a:lnTo>
                    <a:lnTo>
                      <a:pt x="6915" y="3582"/>
                    </a:lnTo>
                    <a:lnTo>
                      <a:pt x="4926" y="1766"/>
                    </a:lnTo>
                    <a:lnTo>
                      <a:pt x="1195" y="5845"/>
                    </a:lnTo>
                    <a:lnTo>
                      <a:pt x="3184" y="7686"/>
                    </a:lnTo>
                    <a:lnTo>
                      <a:pt x="2911" y="8357"/>
                    </a:lnTo>
                    <a:lnTo>
                      <a:pt x="2787" y="8681"/>
                    </a:lnTo>
                    <a:lnTo>
                      <a:pt x="2687" y="9054"/>
                    </a:lnTo>
                    <a:lnTo>
                      <a:pt x="1" y="9178"/>
                    </a:lnTo>
                    <a:lnTo>
                      <a:pt x="250" y="14700"/>
                    </a:lnTo>
                    <a:lnTo>
                      <a:pt x="2936" y="14575"/>
                    </a:lnTo>
                    <a:lnTo>
                      <a:pt x="3085" y="14924"/>
                    </a:lnTo>
                    <a:lnTo>
                      <a:pt x="3234" y="15247"/>
                    </a:lnTo>
                    <a:lnTo>
                      <a:pt x="3558" y="15894"/>
                    </a:lnTo>
                    <a:lnTo>
                      <a:pt x="1742" y="17884"/>
                    </a:lnTo>
                    <a:lnTo>
                      <a:pt x="5821" y="21614"/>
                    </a:lnTo>
                    <a:lnTo>
                      <a:pt x="7661" y="19625"/>
                    </a:lnTo>
                    <a:lnTo>
                      <a:pt x="8333" y="19898"/>
                    </a:lnTo>
                    <a:lnTo>
                      <a:pt x="8681" y="20023"/>
                    </a:lnTo>
                    <a:lnTo>
                      <a:pt x="9029" y="20122"/>
                    </a:lnTo>
                    <a:lnTo>
                      <a:pt x="9154" y="22833"/>
                    </a:lnTo>
                    <a:lnTo>
                      <a:pt x="14675" y="22560"/>
                    </a:lnTo>
                    <a:lnTo>
                      <a:pt x="14551" y="19873"/>
                    </a:lnTo>
                    <a:lnTo>
                      <a:pt x="14899" y="19724"/>
                    </a:lnTo>
                    <a:lnTo>
                      <a:pt x="15223" y="19575"/>
                    </a:lnTo>
                    <a:lnTo>
                      <a:pt x="15869" y="19251"/>
                    </a:lnTo>
                    <a:lnTo>
                      <a:pt x="17859" y="21067"/>
                    </a:lnTo>
                    <a:lnTo>
                      <a:pt x="21615" y="16988"/>
                    </a:lnTo>
                    <a:lnTo>
                      <a:pt x="19600" y="15148"/>
                    </a:lnTo>
                    <a:lnTo>
                      <a:pt x="19874" y="14476"/>
                    </a:lnTo>
                    <a:lnTo>
                      <a:pt x="19998" y="14153"/>
                    </a:lnTo>
                    <a:lnTo>
                      <a:pt x="20098" y="13780"/>
                    </a:lnTo>
                    <a:lnTo>
                      <a:pt x="22809" y="13655"/>
                    </a:lnTo>
                    <a:lnTo>
                      <a:pt x="22535" y="8134"/>
                    </a:lnTo>
                    <a:lnTo>
                      <a:pt x="19849" y="8258"/>
                    </a:lnTo>
                    <a:lnTo>
                      <a:pt x="19725" y="7910"/>
                    </a:lnTo>
                    <a:lnTo>
                      <a:pt x="19575" y="7586"/>
                    </a:lnTo>
                    <a:lnTo>
                      <a:pt x="19227" y="6940"/>
                    </a:lnTo>
                    <a:lnTo>
                      <a:pt x="21043" y="4950"/>
                    </a:lnTo>
                    <a:lnTo>
                      <a:pt x="16964" y="1219"/>
                    </a:lnTo>
                    <a:lnTo>
                      <a:pt x="15148" y="3209"/>
                    </a:lnTo>
                    <a:lnTo>
                      <a:pt x="14476" y="2935"/>
                    </a:lnTo>
                    <a:lnTo>
                      <a:pt x="14128" y="2811"/>
                    </a:lnTo>
                    <a:lnTo>
                      <a:pt x="13780" y="2711"/>
                    </a:lnTo>
                    <a:lnTo>
                      <a:pt x="13656" y="0"/>
                    </a:lnTo>
                    <a:close/>
                  </a:path>
                </a:pathLst>
              </a:custGeom>
              <a:solidFill>
                <a:srgbClr val="666666">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15"/>
              <p:cNvSpPr/>
              <p:nvPr/>
            </p:nvSpPr>
            <p:spPr>
              <a:xfrm>
                <a:off x="1070002" y="3153432"/>
                <a:ext cx="62574" cy="63110"/>
              </a:xfrm>
              <a:custGeom>
                <a:avLst/>
                <a:gdLst/>
                <a:ahLst/>
                <a:cxnLst/>
                <a:rect l="l" t="t" r="r" b="b"/>
                <a:pathLst>
                  <a:path w="3035" h="3061" fill="none" extrusionOk="0">
                    <a:moveTo>
                      <a:pt x="3035" y="1543"/>
                    </a:moveTo>
                    <a:lnTo>
                      <a:pt x="3035" y="1543"/>
                    </a:lnTo>
                    <a:lnTo>
                      <a:pt x="3035" y="1692"/>
                    </a:lnTo>
                    <a:lnTo>
                      <a:pt x="3010" y="1841"/>
                    </a:lnTo>
                    <a:lnTo>
                      <a:pt x="2960" y="1991"/>
                    </a:lnTo>
                    <a:lnTo>
                      <a:pt x="2910" y="2115"/>
                    </a:lnTo>
                    <a:lnTo>
                      <a:pt x="2786" y="2389"/>
                    </a:lnTo>
                    <a:lnTo>
                      <a:pt x="2587" y="2612"/>
                    </a:lnTo>
                    <a:lnTo>
                      <a:pt x="2363" y="2786"/>
                    </a:lnTo>
                    <a:lnTo>
                      <a:pt x="2115" y="2936"/>
                    </a:lnTo>
                    <a:lnTo>
                      <a:pt x="1965" y="2985"/>
                    </a:lnTo>
                    <a:lnTo>
                      <a:pt x="1816" y="3035"/>
                    </a:lnTo>
                    <a:lnTo>
                      <a:pt x="1667" y="3060"/>
                    </a:lnTo>
                    <a:lnTo>
                      <a:pt x="1518" y="3060"/>
                    </a:lnTo>
                    <a:lnTo>
                      <a:pt x="1518" y="3060"/>
                    </a:lnTo>
                    <a:lnTo>
                      <a:pt x="1368" y="3060"/>
                    </a:lnTo>
                    <a:lnTo>
                      <a:pt x="1219" y="3035"/>
                    </a:lnTo>
                    <a:lnTo>
                      <a:pt x="1070" y="2985"/>
                    </a:lnTo>
                    <a:lnTo>
                      <a:pt x="921" y="2936"/>
                    </a:lnTo>
                    <a:lnTo>
                      <a:pt x="672" y="2786"/>
                    </a:lnTo>
                    <a:lnTo>
                      <a:pt x="448" y="2612"/>
                    </a:lnTo>
                    <a:lnTo>
                      <a:pt x="249" y="2389"/>
                    </a:lnTo>
                    <a:lnTo>
                      <a:pt x="100" y="2115"/>
                    </a:lnTo>
                    <a:lnTo>
                      <a:pt x="50" y="1991"/>
                    </a:lnTo>
                    <a:lnTo>
                      <a:pt x="25" y="1841"/>
                    </a:lnTo>
                    <a:lnTo>
                      <a:pt x="0" y="1692"/>
                    </a:lnTo>
                    <a:lnTo>
                      <a:pt x="0" y="1543"/>
                    </a:lnTo>
                    <a:lnTo>
                      <a:pt x="0" y="1543"/>
                    </a:lnTo>
                    <a:lnTo>
                      <a:pt x="0" y="1369"/>
                    </a:lnTo>
                    <a:lnTo>
                      <a:pt x="25" y="1219"/>
                    </a:lnTo>
                    <a:lnTo>
                      <a:pt x="50" y="1070"/>
                    </a:lnTo>
                    <a:lnTo>
                      <a:pt x="100" y="946"/>
                    </a:lnTo>
                    <a:lnTo>
                      <a:pt x="249" y="672"/>
                    </a:lnTo>
                    <a:lnTo>
                      <a:pt x="448" y="448"/>
                    </a:lnTo>
                    <a:lnTo>
                      <a:pt x="672" y="274"/>
                    </a:lnTo>
                    <a:lnTo>
                      <a:pt x="921" y="125"/>
                    </a:lnTo>
                    <a:lnTo>
                      <a:pt x="1070" y="75"/>
                    </a:lnTo>
                    <a:lnTo>
                      <a:pt x="1219" y="50"/>
                    </a:lnTo>
                    <a:lnTo>
                      <a:pt x="1368" y="26"/>
                    </a:lnTo>
                    <a:lnTo>
                      <a:pt x="1518" y="1"/>
                    </a:lnTo>
                    <a:lnTo>
                      <a:pt x="1518" y="1"/>
                    </a:lnTo>
                    <a:lnTo>
                      <a:pt x="1667" y="26"/>
                    </a:lnTo>
                    <a:lnTo>
                      <a:pt x="1816" y="50"/>
                    </a:lnTo>
                    <a:lnTo>
                      <a:pt x="1965" y="75"/>
                    </a:lnTo>
                    <a:lnTo>
                      <a:pt x="2115" y="125"/>
                    </a:lnTo>
                    <a:lnTo>
                      <a:pt x="2363" y="274"/>
                    </a:lnTo>
                    <a:lnTo>
                      <a:pt x="2587" y="448"/>
                    </a:lnTo>
                    <a:lnTo>
                      <a:pt x="2786" y="672"/>
                    </a:lnTo>
                    <a:lnTo>
                      <a:pt x="2910" y="946"/>
                    </a:lnTo>
                    <a:lnTo>
                      <a:pt x="2960" y="1070"/>
                    </a:lnTo>
                    <a:lnTo>
                      <a:pt x="3010" y="1219"/>
                    </a:lnTo>
                    <a:lnTo>
                      <a:pt x="3035" y="1369"/>
                    </a:lnTo>
                    <a:lnTo>
                      <a:pt x="3035" y="1543"/>
                    </a:lnTo>
                    <a:lnTo>
                      <a:pt x="3035" y="1543"/>
                    </a:lnTo>
                    <a:close/>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15"/>
              <p:cNvSpPr/>
              <p:nvPr/>
            </p:nvSpPr>
            <p:spPr>
              <a:xfrm>
                <a:off x="914113" y="3487786"/>
                <a:ext cx="21" cy="213350"/>
              </a:xfrm>
              <a:custGeom>
                <a:avLst/>
                <a:gdLst/>
                <a:ahLst/>
                <a:cxnLst/>
                <a:rect l="l" t="t" r="r" b="b"/>
                <a:pathLst>
                  <a:path w="1" h="10348" fill="none" extrusionOk="0">
                    <a:moveTo>
                      <a:pt x="0" y="10347"/>
                    </a:moveTo>
                    <a:lnTo>
                      <a:pt x="0"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15"/>
              <p:cNvSpPr/>
              <p:nvPr/>
            </p:nvSpPr>
            <p:spPr>
              <a:xfrm>
                <a:off x="1088455" y="3216522"/>
                <a:ext cx="126695" cy="484614"/>
              </a:xfrm>
              <a:custGeom>
                <a:avLst/>
                <a:gdLst/>
                <a:ahLst/>
                <a:cxnLst/>
                <a:rect l="l" t="t" r="r" b="b"/>
                <a:pathLst>
                  <a:path w="6145" h="23505" fill="none" extrusionOk="0">
                    <a:moveTo>
                      <a:pt x="6144" y="23504"/>
                    </a:moveTo>
                    <a:lnTo>
                      <a:pt x="6144" y="11193"/>
                    </a:lnTo>
                    <a:lnTo>
                      <a:pt x="1" y="8059"/>
                    </a:lnTo>
                    <a:lnTo>
                      <a:pt x="1"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5"/>
              <p:cNvSpPr/>
              <p:nvPr/>
            </p:nvSpPr>
            <p:spPr>
              <a:xfrm>
                <a:off x="983326" y="3279591"/>
                <a:ext cx="45668" cy="327695"/>
              </a:xfrm>
              <a:custGeom>
                <a:avLst/>
                <a:gdLst/>
                <a:ahLst/>
                <a:cxnLst/>
                <a:rect l="l" t="t" r="r" b="b"/>
                <a:pathLst>
                  <a:path w="2215" h="15894" fill="none" extrusionOk="0">
                    <a:moveTo>
                      <a:pt x="2215" y="0"/>
                    </a:moveTo>
                    <a:lnTo>
                      <a:pt x="2215" y="9850"/>
                    </a:lnTo>
                    <a:lnTo>
                      <a:pt x="1" y="11292"/>
                    </a:lnTo>
                    <a:lnTo>
                      <a:pt x="1" y="15894"/>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15"/>
              <p:cNvSpPr/>
              <p:nvPr/>
            </p:nvSpPr>
            <p:spPr>
              <a:xfrm>
                <a:off x="1088455" y="3432923"/>
                <a:ext cx="21" cy="86161"/>
              </a:xfrm>
              <a:custGeom>
                <a:avLst/>
                <a:gdLst/>
                <a:ahLst/>
                <a:cxnLst/>
                <a:rect l="l" t="t" r="r" b="b"/>
                <a:pathLst>
                  <a:path w="1" h="4179" fill="none" extrusionOk="0">
                    <a:moveTo>
                      <a:pt x="1" y="4179"/>
                    </a:moveTo>
                    <a:lnTo>
                      <a:pt x="1"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15"/>
              <p:cNvSpPr/>
              <p:nvPr/>
            </p:nvSpPr>
            <p:spPr>
              <a:xfrm>
                <a:off x="1181275" y="3341134"/>
                <a:ext cx="21" cy="31297"/>
              </a:xfrm>
              <a:custGeom>
                <a:avLst/>
                <a:gdLst/>
                <a:ahLst/>
                <a:cxnLst/>
                <a:rect l="l" t="t" r="r" b="b"/>
                <a:pathLst>
                  <a:path w="1" h="1518" fill="none" extrusionOk="0">
                    <a:moveTo>
                      <a:pt x="1" y="0"/>
                    </a:moveTo>
                    <a:lnTo>
                      <a:pt x="1" y="1517"/>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5"/>
              <p:cNvSpPr/>
              <p:nvPr/>
            </p:nvSpPr>
            <p:spPr>
              <a:xfrm>
                <a:off x="3852588" y="3318043"/>
                <a:ext cx="114881" cy="309757"/>
              </a:xfrm>
              <a:custGeom>
                <a:avLst/>
                <a:gdLst/>
                <a:ahLst/>
                <a:cxnLst/>
                <a:rect l="l" t="t" r="r" b="b"/>
                <a:pathLst>
                  <a:path w="5572" h="15024" fill="none" extrusionOk="0">
                    <a:moveTo>
                      <a:pt x="1" y="15024"/>
                    </a:moveTo>
                    <a:lnTo>
                      <a:pt x="1" y="8134"/>
                    </a:lnTo>
                    <a:lnTo>
                      <a:pt x="5572" y="4975"/>
                    </a:lnTo>
                    <a:lnTo>
                      <a:pt x="5572"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15"/>
              <p:cNvSpPr/>
              <p:nvPr/>
            </p:nvSpPr>
            <p:spPr>
              <a:xfrm>
                <a:off x="3936171" y="3255489"/>
                <a:ext cx="63110" cy="62574"/>
              </a:xfrm>
              <a:custGeom>
                <a:avLst/>
                <a:gdLst/>
                <a:ahLst/>
                <a:cxnLst/>
                <a:rect l="l" t="t" r="r" b="b"/>
                <a:pathLst>
                  <a:path w="3061" h="3035" fill="none" extrusionOk="0">
                    <a:moveTo>
                      <a:pt x="1" y="1518"/>
                    </a:moveTo>
                    <a:lnTo>
                      <a:pt x="1" y="1518"/>
                    </a:lnTo>
                    <a:lnTo>
                      <a:pt x="1" y="1368"/>
                    </a:lnTo>
                    <a:lnTo>
                      <a:pt x="26" y="1219"/>
                    </a:lnTo>
                    <a:lnTo>
                      <a:pt x="75" y="1070"/>
                    </a:lnTo>
                    <a:lnTo>
                      <a:pt x="125" y="921"/>
                    </a:lnTo>
                    <a:lnTo>
                      <a:pt x="249" y="672"/>
                    </a:lnTo>
                    <a:lnTo>
                      <a:pt x="448" y="448"/>
                    </a:lnTo>
                    <a:lnTo>
                      <a:pt x="672" y="249"/>
                    </a:lnTo>
                    <a:lnTo>
                      <a:pt x="921" y="100"/>
                    </a:lnTo>
                    <a:lnTo>
                      <a:pt x="1070" y="50"/>
                    </a:lnTo>
                    <a:lnTo>
                      <a:pt x="1220" y="25"/>
                    </a:lnTo>
                    <a:lnTo>
                      <a:pt x="1369" y="0"/>
                    </a:lnTo>
                    <a:lnTo>
                      <a:pt x="1518" y="0"/>
                    </a:lnTo>
                    <a:lnTo>
                      <a:pt x="1518" y="0"/>
                    </a:lnTo>
                    <a:lnTo>
                      <a:pt x="1667" y="0"/>
                    </a:lnTo>
                    <a:lnTo>
                      <a:pt x="1841" y="25"/>
                    </a:lnTo>
                    <a:lnTo>
                      <a:pt x="1966" y="50"/>
                    </a:lnTo>
                    <a:lnTo>
                      <a:pt x="2115" y="100"/>
                    </a:lnTo>
                    <a:lnTo>
                      <a:pt x="2364" y="249"/>
                    </a:lnTo>
                    <a:lnTo>
                      <a:pt x="2612" y="448"/>
                    </a:lnTo>
                    <a:lnTo>
                      <a:pt x="2786" y="672"/>
                    </a:lnTo>
                    <a:lnTo>
                      <a:pt x="2936" y="921"/>
                    </a:lnTo>
                    <a:lnTo>
                      <a:pt x="2985" y="1070"/>
                    </a:lnTo>
                    <a:lnTo>
                      <a:pt x="3010" y="1219"/>
                    </a:lnTo>
                    <a:lnTo>
                      <a:pt x="3035" y="1368"/>
                    </a:lnTo>
                    <a:lnTo>
                      <a:pt x="3060" y="1518"/>
                    </a:lnTo>
                    <a:lnTo>
                      <a:pt x="3060" y="1518"/>
                    </a:lnTo>
                    <a:lnTo>
                      <a:pt x="3035" y="1667"/>
                    </a:lnTo>
                    <a:lnTo>
                      <a:pt x="3010" y="1816"/>
                    </a:lnTo>
                    <a:lnTo>
                      <a:pt x="2985" y="1965"/>
                    </a:lnTo>
                    <a:lnTo>
                      <a:pt x="2936" y="2115"/>
                    </a:lnTo>
                    <a:lnTo>
                      <a:pt x="2786" y="2363"/>
                    </a:lnTo>
                    <a:lnTo>
                      <a:pt x="2612" y="2587"/>
                    </a:lnTo>
                    <a:lnTo>
                      <a:pt x="2364" y="2786"/>
                    </a:lnTo>
                    <a:lnTo>
                      <a:pt x="2115" y="2910"/>
                    </a:lnTo>
                    <a:lnTo>
                      <a:pt x="1966" y="2985"/>
                    </a:lnTo>
                    <a:lnTo>
                      <a:pt x="1841" y="3010"/>
                    </a:lnTo>
                    <a:lnTo>
                      <a:pt x="1667" y="3035"/>
                    </a:lnTo>
                    <a:lnTo>
                      <a:pt x="1518" y="3035"/>
                    </a:lnTo>
                    <a:lnTo>
                      <a:pt x="1518" y="3035"/>
                    </a:lnTo>
                    <a:lnTo>
                      <a:pt x="1369" y="3035"/>
                    </a:lnTo>
                    <a:lnTo>
                      <a:pt x="1220" y="3010"/>
                    </a:lnTo>
                    <a:lnTo>
                      <a:pt x="1070" y="2985"/>
                    </a:lnTo>
                    <a:lnTo>
                      <a:pt x="921" y="2910"/>
                    </a:lnTo>
                    <a:lnTo>
                      <a:pt x="672" y="2786"/>
                    </a:lnTo>
                    <a:lnTo>
                      <a:pt x="448" y="2587"/>
                    </a:lnTo>
                    <a:lnTo>
                      <a:pt x="249" y="2363"/>
                    </a:lnTo>
                    <a:lnTo>
                      <a:pt x="125" y="2115"/>
                    </a:lnTo>
                    <a:lnTo>
                      <a:pt x="75" y="1965"/>
                    </a:lnTo>
                    <a:lnTo>
                      <a:pt x="26" y="1816"/>
                    </a:lnTo>
                    <a:lnTo>
                      <a:pt x="1" y="1667"/>
                    </a:lnTo>
                    <a:lnTo>
                      <a:pt x="1" y="1518"/>
                    </a:lnTo>
                    <a:lnTo>
                      <a:pt x="1" y="1518"/>
                    </a:lnTo>
                    <a:close/>
                  </a:path>
                </a:pathLst>
              </a:custGeom>
              <a:noFill/>
              <a:ln w="23625" cap="rnd" cmpd="sng">
                <a:solidFill>
                  <a:srgbClr val="B1B2B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169;p15"/>
              <p:cNvSpPr/>
              <p:nvPr/>
            </p:nvSpPr>
            <p:spPr>
              <a:xfrm>
                <a:off x="3780282" y="3578545"/>
                <a:ext cx="21" cy="132839"/>
              </a:xfrm>
              <a:custGeom>
                <a:avLst/>
                <a:gdLst/>
                <a:ahLst/>
                <a:cxnLst/>
                <a:rect l="l" t="t" r="r" b="b"/>
                <a:pathLst>
                  <a:path w="1" h="6443" fill="none" extrusionOk="0">
                    <a:moveTo>
                      <a:pt x="1" y="6443"/>
                    </a:moveTo>
                    <a:lnTo>
                      <a:pt x="1"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5"/>
              <p:cNvSpPr/>
              <p:nvPr/>
            </p:nvSpPr>
            <p:spPr>
              <a:xfrm>
                <a:off x="3700286" y="3391379"/>
                <a:ext cx="20535" cy="562054"/>
              </a:xfrm>
              <a:custGeom>
                <a:avLst/>
                <a:gdLst/>
                <a:ahLst/>
                <a:cxnLst/>
                <a:rect l="l" t="t" r="r" b="b"/>
                <a:pathLst>
                  <a:path w="996" h="27261" fill="none" extrusionOk="0">
                    <a:moveTo>
                      <a:pt x="995" y="27261"/>
                    </a:moveTo>
                    <a:lnTo>
                      <a:pt x="995" y="9079"/>
                    </a:lnTo>
                    <a:lnTo>
                      <a:pt x="1" y="8333"/>
                    </a:lnTo>
                    <a:lnTo>
                      <a:pt x="1"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15"/>
              <p:cNvSpPr/>
              <p:nvPr/>
            </p:nvSpPr>
            <p:spPr>
              <a:xfrm>
                <a:off x="3898750" y="3365236"/>
                <a:ext cx="21" cy="94366"/>
              </a:xfrm>
              <a:custGeom>
                <a:avLst/>
                <a:gdLst/>
                <a:ahLst/>
                <a:cxnLst/>
                <a:rect l="l" t="t" r="r" b="b"/>
                <a:pathLst>
                  <a:path w="1" h="4577" fill="none" extrusionOk="0">
                    <a:moveTo>
                      <a:pt x="0" y="4577"/>
                    </a:moveTo>
                    <a:lnTo>
                      <a:pt x="0"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172;p15"/>
              <p:cNvSpPr/>
              <p:nvPr/>
            </p:nvSpPr>
            <p:spPr>
              <a:xfrm>
                <a:off x="3841825" y="3629841"/>
                <a:ext cx="10783" cy="190258"/>
              </a:xfrm>
              <a:custGeom>
                <a:avLst/>
                <a:gdLst/>
                <a:ahLst/>
                <a:cxnLst/>
                <a:rect l="l" t="t" r="r" b="b"/>
                <a:pathLst>
                  <a:path w="523" h="9228" fill="none" extrusionOk="0">
                    <a:moveTo>
                      <a:pt x="523" y="0"/>
                    </a:moveTo>
                    <a:lnTo>
                      <a:pt x="0" y="373"/>
                    </a:lnTo>
                    <a:lnTo>
                      <a:pt x="0" y="9228"/>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5"/>
              <p:cNvSpPr/>
              <p:nvPr/>
            </p:nvSpPr>
            <p:spPr>
              <a:xfrm>
                <a:off x="3749005" y="3459582"/>
                <a:ext cx="63090" cy="63090"/>
              </a:xfrm>
              <a:custGeom>
                <a:avLst/>
                <a:gdLst/>
                <a:ahLst/>
                <a:cxnLst/>
                <a:rect l="l" t="t" r="r" b="b"/>
                <a:pathLst>
                  <a:path w="3060" h="3060" fill="none" extrusionOk="0">
                    <a:moveTo>
                      <a:pt x="0" y="1543"/>
                    </a:moveTo>
                    <a:lnTo>
                      <a:pt x="0" y="1543"/>
                    </a:lnTo>
                    <a:lnTo>
                      <a:pt x="0" y="1369"/>
                    </a:lnTo>
                    <a:lnTo>
                      <a:pt x="25" y="1219"/>
                    </a:lnTo>
                    <a:lnTo>
                      <a:pt x="75" y="1070"/>
                    </a:lnTo>
                    <a:lnTo>
                      <a:pt x="125" y="946"/>
                    </a:lnTo>
                    <a:lnTo>
                      <a:pt x="249" y="672"/>
                    </a:lnTo>
                    <a:lnTo>
                      <a:pt x="448" y="448"/>
                    </a:lnTo>
                    <a:lnTo>
                      <a:pt x="672" y="274"/>
                    </a:lnTo>
                    <a:lnTo>
                      <a:pt x="921" y="125"/>
                    </a:lnTo>
                    <a:lnTo>
                      <a:pt x="1070" y="75"/>
                    </a:lnTo>
                    <a:lnTo>
                      <a:pt x="1219" y="50"/>
                    </a:lnTo>
                    <a:lnTo>
                      <a:pt x="1368" y="25"/>
                    </a:lnTo>
                    <a:lnTo>
                      <a:pt x="1518" y="1"/>
                    </a:lnTo>
                    <a:lnTo>
                      <a:pt x="1518" y="1"/>
                    </a:lnTo>
                    <a:lnTo>
                      <a:pt x="1692" y="25"/>
                    </a:lnTo>
                    <a:lnTo>
                      <a:pt x="1841" y="50"/>
                    </a:lnTo>
                    <a:lnTo>
                      <a:pt x="1990" y="75"/>
                    </a:lnTo>
                    <a:lnTo>
                      <a:pt x="2115" y="125"/>
                    </a:lnTo>
                    <a:lnTo>
                      <a:pt x="2388" y="274"/>
                    </a:lnTo>
                    <a:lnTo>
                      <a:pt x="2612" y="448"/>
                    </a:lnTo>
                    <a:lnTo>
                      <a:pt x="2786" y="672"/>
                    </a:lnTo>
                    <a:lnTo>
                      <a:pt x="2935" y="946"/>
                    </a:lnTo>
                    <a:lnTo>
                      <a:pt x="2985" y="1070"/>
                    </a:lnTo>
                    <a:lnTo>
                      <a:pt x="3010" y="1219"/>
                    </a:lnTo>
                    <a:lnTo>
                      <a:pt x="3035" y="1369"/>
                    </a:lnTo>
                    <a:lnTo>
                      <a:pt x="3060" y="1543"/>
                    </a:lnTo>
                    <a:lnTo>
                      <a:pt x="3060" y="1543"/>
                    </a:lnTo>
                    <a:lnTo>
                      <a:pt x="3035" y="1692"/>
                    </a:lnTo>
                    <a:lnTo>
                      <a:pt x="3010" y="1841"/>
                    </a:lnTo>
                    <a:lnTo>
                      <a:pt x="2985" y="1990"/>
                    </a:lnTo>
                    <a:lnTo>
                      <a:pt x="2935" y="2140"/>
                    </a:lnTo>
                    <a:lnTo>
                      <a:pt x="2786" y="2388"/>
                    </a:lnTo>
                    <a:lnTo>
                      <a:pt x="2612" y="2612"/>
                    </a:lnTo>
                    <a:lnTo>
                      <a:pt x="2388" y="2811"/>
                    </a:lnTo>
                    <a:lnTo>
                      <a:pt x="2115" y="2936"/>
                    </a:lnTo>
                    <a:lnTo>
                      <a:pt x="1990" y="2985"/>
                    </a:lnTo>
                    <a:lnTo>
                      <a:pt x="1841" y="3035"/>
                    </a:lnTo>
                    <a:lnTo>
                      <a:pt x="1692" y="3060"/>
                    </a:lnTo>
                    <a:lnTo>
                      <a:pt x="1518" y="3060"/>
                    </a:lnTo>
                    <a:lnTo>
                      <a:pt x="1518" y="3060"/>
                    </a:lnTo>
                    <a:lnTo>
                      <a:pt x="1368" y="3060"/>
                    </a:lnTo>
                    <a:lnTo>
                      <a:pt x="1219" y="3035"/>
                    </a:lnTo>
                    <a:lnTo>
                      <a:pt x="1070" y="2985"/>
                    </a:lnTo>
                    <a:lnTo>
                      <a:pt x="921" y="2936"/>
                    </a:lnTo>
                    <a:lnTo>
                      <a:pt x="672" y="2811"/>
                    </a:lnTo>
                    <a:lnTo>
                      <a:pt x="448" y="2612"/>
                    </a:lnTo>
                    <a:lnTo>
                      <a:pt x="249" y="2388"/>
                    </a:lnTo>
                    <a:lnTo>
                      <a:pt x="125" y="2140"/>
                    </a:lnTo>
                    <a:lnTo>
                      <a:pt x="75" y="1990"/>
                    </a:lnTo>
                    <a:lnTo>
                      <a:pt x="25" y="1841"/>
                    </a:lnTo>
                    <a:lnTo>
                      <a:pt x="0" y="1692"/>
                    </a:lnTo>
                    <a:lnTo>
                      <a:pt x="0" y="1543"/>
                    </a:lnTo>
                    <a:lnTo>
                      <a:pt x="0" y="1543"/>
                    </a:lnTo>
                    <a:close/>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15"/>
              <p:cNvSpPr/>
              <p:nvPr/>
            </p:nvSpPr>
            <p:spPr>
              <a:xfrm>
                <a:off x="3599776" y="3358556"/>
                <a:ext cx="21" cy="94387"/>
              </a:xfrm>
              <a:custGeom>
                <a:avLst/>
                <a:gdLst/>
                <a:ahLst/>
                <a:cxnLst/>
                <a:rect l="l" t="t" r="r" b="b"/>
                <a:pathLst>
                  <a:path w="1" h="4578" fill="none" extrusionOk="0">
                    <a:moveTo>
                      <a:pt x="1" y="4577"/>
                    </a:moveTo>
                    <a:lnTo>
                      <a:pt x="1"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15"/>
              <p:cNvSpPr/>
              <p:nvPr/>
            </p:nvSpPr>
            <p:spPr>
              <a:xfrm>
                <a:off x="3660288" y="3659056"/>
                <a:ext cx="21" cy="52327"/>
              </a:xfrm>
              <a:custGeom>
                <a:avLst/>
                <a:gdLst/>
                <a:ahLst/>
                <a:cxnLst/>
                <a:rect l="l" t="t" r="r" b="b"/>
                <a:pathLst>
                  <a:path w="1" h="2538" fill="none" extrusionOk="0">
                    <a:moveTo>
                      <a:pt x="0" y="2538"/>
                    </a:moveTo>
                    <a:lnTo>
                      <a:pt x="0" y="1"/>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15"/>
              <p:cNvSpPr/>
              <p:nvPr/>
            </p:nvSpPr>
            <p:spPr>
              <a:xfrm>
                <a:off x="3602333" y="3524197"/>
                <a:ext cx="57976" cy="91810"/>
              </a:xfrm>
              <a:custGeom>
                <a:avLst/>
                <a:gdLst/>
                <a:ahLst/>
                <a:cxnLst/>
                <a:rect l="l" t="t" r="r" b="b"/>
                <a:pathLst>
                  <a:path w="2812" h="4453" fill="none" extrusionOk="0">
                    <a:moveTo>
                      <a:pt x="2811" y="4453"/>
                    </a:moveTo>
                    <a:lnTo>
                      <a:pt x="1" y="3458"/>
                    </a:lnTo>
                    <a:lnTo>
                      <a:pt x="1"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15"/>
              <p:cNvSpPr/>
              <p:nvPr/>
            </p:nvSpPr>
            <p:spPr>
              <a:xfrm>
                <a:off x="457209" y="2634985"/>
                <a:ext cx="509232" cy="862574"/>
              </a:xfrm>
              <a:custGeom>
                <a:avLst/>
                <a:gdLst/>
                <a:ahLst/>
                <a:cxnLst/>
                <a:rect l="l" t="t" r="r" b="b"/>
                <a:pathLst>
                  <a:path w="24699" h="41837" extrusionOk="0">
                    <a:moveTo>
                      <a:pt x="1890" y="1"/>
                    </a:moveTo>
                    <a:lnTo>
                      <a:pt x="1666" y="50"/>
                    </a:lnTo>
                    <a:lnTo>
                      <a:pt x="1467" y="100"/>
                    </a:lnTo>
                    <a:lnTo>
                      <a:pt x="1268" y="175"/>
                    </a:lnTo>
                    <a:lnTo>
                      <a:pt x="1094" y="249"/>
                    </a:lnTo>
                    <a:lnTo>
                      <a:pt x="920" y="349"/>
                    </a:lnTo>
                    <a:lnTo>
                      <a:pt x="746" y="473"/>
                    </a:lnTo>
                    <a:lnTo>
                      <a:pt x="597" y="623"/>
                    </a:lnTo>
                    <a:lnTo>
                      <a:pt x="473" y="772"/>
                    </a:lnTo>
                    <a:lnTo>
                      <a:pt x="348" y="921"/>
                    </a:lnTo>
                    <a:lnTo>
                      <a:pt x="249" y="1095"/>
                    </a:lnTo>
                    <a:lnTo>
                      <a:pt x="149" y="1294"/>
                    </a:lnTo>
                    <a:lnTo>
                      <a:pt x="99" y="1468"/>
                    </a:lnTo>
                    <a:lnTo>
                      <a:pt x="25" y="1692"/>
                    </a:lnTo>
                    <a:lnTo>
                      <a:pt x="0" y="1891"/>
                    </a:lnTo>
                    <a:lnTo>
                      <a:pt x="0" y="2115"/>
                    </a:lnTo>
                    <a:lnTo>
                      <a:pt x="0" y="39722"/>
                    </a:lnTo>
                    <a:lnTo>
                      <a:pt x="0" y="39946"/>
                    </a:lnTo>
                    <a:lnTo>
                      <a:pt x="25" y="40145"/>
                    </a:lnTo>
                    <a:lnTo>
                      <a:pt x="99" y="40369"/>
                    </a:lnTo>
                    <a:lnTo>
                      <a:pt x="149" y="40543"/>
                    </a:lnTo>
                    <a:lnTo>
                      <a:pt x="249" y="40742"/>
                    </a:lnTo>
                    <a:lnTo>
                      <a:pt x="348" y="40916"/>
                    </a:lnTo>
                    <a:lnTo>
                      <a:pt x="473" y="41065"/>
                    </a:lnTo>
                    <a:lnTo>
                      <a:pt x="597" y="41214"/>
                    </a:lnTo>
                    <a:lnTo>
                      <a:pt x="746" y="41364"/>
                    </a:lnTo>
                    <a:lnTo>
                      <a:pt x="920" y="41463"/>
                    </a:lnTo>
                    <a:lnTo>
                      <a:pt x="1094" y="41587"/>
                    </a:lnTo>
                    <a:lnTo>
                      <a:pt x="1268" y="41662"/>
                    </a:lnTo>
                    <a:lnTo>
                      <a:pt x="1467" y="41737"/>
                    </a:lnTo>
                    <a:lnTo>
                      <a:pt x="1666" y="41786"/>
                    </a:lnTo>
                    <a:lnTo>
                      <a:pt x="1890" y="41811"/>
                    </a:lnTo>
                    <a:lnTo>
                      <a:pt x="2089" y="41836"/>
                    </a:lnTo>
                    <a:lnTo>
                      <a:pt x="22609" y="41836"/>
                    </a:lnTo>
                    <a:lnTo>
                      <a:pt x="22808" y="41811"/>
                    </a:lnTo>
                    <a:lnTo>
                      <a:pt x="23032" y="41786"/>
                    </a:lnTo>
                    <a:lnTo>
                      <a:pt x="23231" y="41737"/>
                    </a:lnTo>
                    <a:lnTo>
                      <a:pt x="23430" y="41662"/>
                    </a:lnTo>
                    <a:lnTo>
                      <a:pt x="23604" y="41587"/>
                    </a:lnTo>
                    <a:lnTo>
                      <a:pt x="23778" y="41463"/>
                    </a:lnTo>
                    <a:lnTo>
                      <a:pt x="23927" y="41364"/>
                    </a:lnTo>
                    <a:lnTo>
                      <a:pt x="24076" y="41214"/>
                    </a:lnTo>
                    <a:lnTo>
                      <a:pt x="24226" y="41065"/>
                    </a:lnTo>
                    <a:lnTo>
                      <a:pt x="24350" y="40916"/>
                    </a:lnTo>
                    <a:lnTo>
                      <a:pt x="24449" y="40742"/>
                    </a:lnTo>
                    <a:lnTo>
                      <a:pt x="24549" y="40543"/>
                    </a:lnTo>
                    <a:lnTo>
                      <a:pt x="24599" y="40369"/>
                    </a:lnTo>
                    <a:lnTo>
                      <a:pt x="24673" y="40145"/>
                    </a:lnTo>
                    <a:lnTo>
                      <a:pt x="24698" y="39946"/>
                    </a:lnTo>
                    <a:lnTo>
                      <a:pt x="24698" y="39722"/>
                    </a:lnTo>
                    <a:lnTo>
                      <a:pt x="24698" y="2115"/>
                    </a:lnTo>
                    <a:lnTo>
                      <a:pt x="24698" y="1891"/>
                    </a:lnTo>
                    <a:lnTo>
                      <a:pt x="24673" y="1692"/>
                    </a:lnTo>
                    <a:lnTo>
                      <a:pt x="24599" y="1468"/>
                    </a:lnTo>
                    <a:lnTo>
                      <a:pt x="24549" y="1294"/>
                    </a:lnTo>
                    <a:lnTo>
                      <a:pt x="24449" y="1095"/>
                    </a:lnTo>
                    <a:lnTo>
                      <a:pt x="24350" y="921"/>
                    </a:lnTo>
                    <a:lnTo>
                      <a:pt x="24226" y="772"/>
                    </a:lnTo>
                    <a:lnTo>
                      <a:pt x="24076" y="623"/>
                    </a:lnTo>
                    <a:lnTo>
                      <a:pt x="23927" y="473"/>
                    </a:lnTo>
                    <a:lnTo>
                      <a:pt x="23778" y="349"/>
                    </a:lnTo>
                    <a:lnTo>
                      <a:pt x="23604" y="249"/>
                    </a:lnTo>
                    <a:lnTo>
                      <a:pt x="23430" y="175"/>
                    </a:lnTo>
                    <a:lnTo>
                      <a:pt x="23231" y="100"/>
                    </a:lnTo>
                    <a:lnTo>
                      <a:pt x="23032" y="50"/>
                    </a:lnTo>
                    <a:lnTo>
                      <a:pt x="2280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15"/>
              <p:cNvSpPr/>
              <p:nvPr/>
            </p:nvSpPr>
            <p:spPr>
              <a:xfrm>
                <a:off x="480795" y="2698569"/>
                <a:ext cx="462059" cy="688728"/>
              </a:xfrm>
              <a:custGeom>
                <a:avLst/>
                <a:gdLst/>
                <a:ahLst/>
                <a:cxnLst/>
                <a:rect l="l" t="t" r="r" b="b"/>
                <a:pathLst>
                  <a:path w="22411" h="33405" extrusionOk="0">
                    <a:moveTo>
                      <a:pt x="0" y="1"/>
                    </a:moveTo>
                    <a:lnTo>
                      <a:pt x="0" y="33405"/>
                    </a:lnTo>
                    <a:lnTo>
                      <a:pt x="22410" y="33405"/>
                    </a:lnTo>
                    <a:lnTo>
                      <a:pt x="2241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15"/>
              <p:cNvSpPr/>
              <p:nvPr/>
            </p:nvSpPr>
            <p:spPr>
              <a:xfrm>
                <a:off x="480795" y="2698569"/>
                <a:ext cx="12824" cy="688728"/>
              </a:xfrm>
              <a:custGeom>
                <a:avLst/>
                <a:gdLst/>
                <a:ahLst/>
                <a:cxnLst/>
                <a:rect l="l" t="t" r="r" b="b"/>
                <a:pathLst>
                  <a:path w="622" h="33405" extrusionOk="0">
                    <a:moveTo>
                      <a:pt x="0" y="1"/>
                    </a:moveTo>
                    <a:lnTo>
                      <a:pt x="0" y="33405"/>
                    </a:lnTo>
                    <a:lnTo>
                      <a:pt x="622" y="33405"/>
                    </a:lnTo>
                    <a:lnTo>
                      <a:pt x="622" y="1"/>
                    </a:lnTo>
                    <a:close/>
                  </a:path>
                </a:pathLst>
              </a:custGeom>
              <a:solidFill>
                <a:srgbClr val="EDED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15"/>
              <p:cNvSpPr/>
              <p:nvPr/>
            </p:nvSpPr>
            <p:spPr>
              <a:xfrm>
                <a:off x="480795" y="2698569"/>
                <a:ext cx="462059" cy="688728"/>
              </a:xfrm>
              <a:custGeom>
                <a:avLst/>
                <a:gdLst/>
                <a:ahLst/>
                <a:cxnLst/>
                <a:rect l="l" t="t" r="r" b="b"/>
                <a:pathLst>
                  <a:path w="22411" h="33405" extrusionOk="0">
                    <a:moveTo>
                      <a:pt x="0" y="1"/>
                    </a:moveTo>
                    <a:lnTo>
                      <a:pt x="0" y="33405"/>
                    </a:lnTo>
                    <a:lnTo>
                      <a:pt x="22410" y="33405"/>
                    </a:lnTo>
                    <a:lnTo>
                      <a:pt x="2241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5"/>
              <p:cNvSpPr/>
              <p:nvPr/>
            </p:nvSpPr>
            <p:spPr>
              <a:xfrm>
                <a:off x="663858" y="2667292"/>
                <a:ext cx="95913" cy="9773"/>
              </a:xfrm>
              <a:custGeom>
                <a:avLst/>
                <a:gdLst/>
                <a:ahLst/>
                <a:cxnLst/>
                <a:rect l="l" t="t" r="r" b="b"/>
                <a:pathLst>
                  <a:path w="4652" h="474" extrusionOk="0">
                    <a:moveTo>
                      <a:pt x="1" y="1"/>
                    </a:moveTo>
                    <a:lnTo>
                      <a:pt x="1" y="473"/>
                    </a:lnTo>
                    <a:lnTo>
                      <a:pt x="4652" y="473"/>
                    </a:lnTo>
                    <a:lnTo>
                      <a:pt x="4652"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15"/>
              <p:cNvSpPr/>
              <p:nvPr/>
            </p:nvSpPr>
            <p:spPr>
              <a:xfrm>
                <a:off x="710515" y="3014470"/>
                <a:ext cx="21" cy="21"/>
              </a:xfrm>
              <a:custGeom>
                <a:avLst/>
                <a:gdLst/>
                <a:ahLst/>
                <a:cxnLst/>
                <a:rect l="l" t="t" r="r" b="b"/>
                <a:pathLst>
                  <a:path w="1" h="1" extrusionOk="0">
                    <a:moveTo>
                      <a:pt x="1" y="0"/>
                    </a:moveTo>
                    <a:lnTo>
                      <a:pt x="1" y="0"/>
                    </a:lnTo>
                    <a:close/>
                  </a:path>
                </a:pathLst>
              </a:custGeom>
              <a:solidFill>
                <a:srgbClr val="DBF1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15"/>
              <p:cNvSpPr/>
              <p:nvPr/>
            </p:nvSpPr>
            <p:spPr>
              <a:xfrm>
                <a:off x="710515" y="3014470"/>
                <a:ext cx="21" cy="21"/>
              </a:xfrm>
              <a:custGeom>
                <a:avLst/>
                <a:gdLst/>
                <a:ahLst/>
                <a:cxnLst/>
                <a:rect l="l" t="t" r="r" b="b"/>
                <a:pathLst>
                  <a:path w="1" h="1" fill="none" extrusionOk="0">
                    <a:moveTo>
                      <a:pt x="1" y="0"/>
                    </a:moveTo>
                    <a:lnTo>
                      <a:pt x="1"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15"/>
              <p:cNvSpPr/>
              <p:nvPr/>
            </p:nvSpPr>
            <p:spPr>
              <a:xfrm>
                <a:off x="664889" y="3122671"/>
                <a:ext cx="93851" cy="138983"/>
              </a:xfrm>
              <a:custGeom>
                <a:avLst/>
                <a:gdLst/>
                <a:ahLst/>
                <a:cxnLst/>
                <a:rect l="l" t="t" r="r" b="b"/>
                <a:pathLst>
                  <a:path w="4552" h="6741" extrusionOk="0">
                    <a:moveTo>
                      <a:pt x="2264" y="697"/>
                    </a:moveTo>
                    <a:lnTo>
                      <a:pt x="2488" y="722"/>
                    </a:lnTo>
                    <a:lnTo>
                      <a:pt x="2662" y="771"/>
                    </a:lnTo>
                    <a:lnTo>
                      <a:pt x="2836" y="871"/>
                    </a:lnTo>
                    <a:lnTo>
                      <a:pt x="2985" y="995"/>
                    </a:lnTo>
                    <a:lnTo>
                      <a:pt x="3109" y="1145"/>
                    </a:lnTo>
                    <a:lnTo>
                      <a:pt x="3209" y="1294"/>
                    </a:lnTo>
                    <a:lnTo>
                      <a:pt x="3259" y="1493"/>
                    </a:lnTo>
                    <a:lnTo>
                      <a:pt x="3283" y="1692"/>
                    </a:lnTo>
                    <a:lnTo>
                      <a:pt x="3283" y="3234"/>
                    </a:lnTo>
                    <a:lnTo>
                      <a:pt x="1269" y="3234"/>
                    </a:lnTo>
                    <a:lnTo>
                      <a:pt x="1269" y="1692"/>
                    </a:lnTo>
                    <a:lnTo>
                      <a:pt x="1294" y="1493"/>
                    </a:lnTo>
                    <a:lnTo>
                      <a:pt x="1343" y="1294"/>
                    </a:lnTo>
                    <a:lnTo>
                      <a:pt x="1443" y="1145"/>
                    </a:lnTo>
                    <a:lnTo>
                      <a:pt x="1567" y="995"/>
                    </a:lnTo>
                    <a:lnTo>
                      <a:pt x="1716" y="871"/>
                    </a:lnTo>
                    <a:lnTo>
                      <a:pt x="1891" y="771"/>
                    </a:lnTo>
                    <a:lnTo>
                      <a:pt x="2065" y="722"/>
                    </a:lnTo>
                    <a:lnTo>
                      <a:pt x="2264" y="697"/>
                    </a:lnTo>
                    <a:close/>
                    <a:moveTo>
                      <a:pt x="2114" y="0"/>
                    </a:moveTo>
                    <a:lnTo>
                      <a:pt x="1940" y="25"/>
                    </a:lnTo>
                    <a:lnTo>
                      <a:pt x="1766" y="75"/>
                    </a:lnTo>
                    <a:lnTo>
                      <a:pt x="1617" y="125"/>
                    </a:lnTo>
                    <a:lnTo>
                      <a:pt x="1468" y="199"/>
                    </a:lnTo>
                    <a:lnTo>
                      <a:pt x="1319" y="299"/>
                    </a:lnTo>
                    <a:lnTo>
                      <a:pt x="1194" y="398"/>
                    </a:lnTo>
                    <a:lnTo>
                      <a:pt x="1070" y="498"/>
                    </a:lnTo>
                    <a:lnTo>
                      <a:pt x="970" y="622"/>
                    </a:lnTo>
                    <a:lnTo>
                      <a:pt x="871" y="747"/>
                    </a:lnTo>
                    <a:lnTo>
                      <a:pt x="796" y="896"/>
                    </a:lnTo>
                    <a:lnTo>
                      <a:pt x="722" y="1045"/>
                    </a:lnTo>
                    <a:lnTo>
                      <a:pt x="672" y="1194"/>
                    </a:lnTo>
                    <a:lnTo>
                      <a:pt x="622" y="1344"/>
                    </a:lnTo>
                    <a:lnTo>
                      <a:pt x="597" y="1518"/>
                    </a:lnTo>
                    <a:lnTo>
                      <a:pt x="572" y="1692"/>
                    </a:lnTo>
                    <a:lnTo>
                      <a:pt x="572" y="3234"/>
                    </a:lnTo>
                    <a:lnTo>
                      <a:pt x="0" y="3234"/>
                    </a:lnTo>
                    <a:lnTo>
                      <a:pt x="0" y="6741"/>
                    </a:lnTo>
                    <a:lnTo>
                      <a:pt x="4552" y="6741"/>
                    </a:lnTo>
                    <a:lnTo>
                      <a:pt x="4552" y="3234"/>
                    </a:lnTo>
                    <a:lnTo>
                      <a:pt x="3955" y="3234"/>
                    </a:lnTo>
                    <a:lnTo>
                      <a:pt x="3955" y="1692"/>
                    </a:lnTo>
                    <a:lnTo>
                      <a:pt x="3955" y="1518"/>
                    </a:lnTo>
                    <a:lnTo>
                      <a:pt x="3930" y="1344"/>
                    </a:lnTo>
                    <a:lnTo>
                      <a:pt x="3880" y="1194"/>
                    </a:lnTo>
                    <a:lnTo>
                      <a:pt x="3831" y="1045"/>
                    </a:lnTo>
                    <a:lnTo>
                      <a:pt x="3756" y="896"/>
                    </a:lnTo>
                    <a:lnTo>
                      <a:pt x="3681" y="747"/>
                    </a:lnTo>
                    <a:lnTo>
                      <a:pt x="3582" y="622"/>
                    </a:lnTo>
                    <a:lnTo>
                      <a:pt x="3482" y="498"/>
                    </a:lnTo>
                    <a:lnTo>
                      <a:pt x="3358" y="398"/>
                    </a:lnTo>
                    <a:lnTo>
                      <a:pt x="3209" y="299"/>
                    </a:lnTo>
                    <a:lnTo>
                      <a:pt x="3084" y="199"/>
                    </a:lnTo>
                    <a:lnTo>
                      <a:pt x="2935" y="125"/>
                    </a:lnTo>
                    <a:lnTo>
                      <a:pt x="2786" y="75"/>
                    </a:lnTo>
                    <a:lnTo>
                      <a:pt x="2612" y="25"/>
                    </a:lnTo>
                    <a:lnTo>
                      <a:pt x="243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15"/>
              <p:cNvSpPr/>
              <p:nvPr/>
            </p:nvSpPr>
            <p:spPr>
              <a:xfrm>
                <a:off x="3956576" y="1796038"/>
                <a:ext cx="478986" cy="312829"/>
              </a:xfrm>
              <a:custGeom>
                <a:avLst/>
                <a:gdLst/>
                <a:ahLst/>
                <a:cxnLst/>
                <a:rect l="l" t="t" r="r" b="b"/>
                <a:pathLst>
                  <a:path w="23232" h="15173" extrusionOk="0">
                    <a:moveTo>
                      <a:pt x="1" y="0"/>
                    </a:moveTo>
                    <a:lnTo>
                      <a:pt x="1" y="15173"/>
                    </a:lnTo>
                    <a:lnTo>
                      <a:pt x="23231" y="15173"/>
                    </a:lnTo>
                    <a:lnTo>
                      <a:pt x="23231" y="0"/>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15"/>
              <p:cNvSpPr/>
              <p:nvPr/>
            </p:nvSpPr>
            <p:spPr>
              <a:xfrm>
                <a:off x="3956576" y="1796038"/>
                <a:ext cx="478986" cy="144116"/>
              </a:xfrm>
              <a:custGeom>
                <a:avLst/>
                <a:gdLst/>
                <a:ahLst/>
                <a:cxnLst/>
                <a:rect l="l" t="t" r="r" b="b"/>
                <a:pathLst>
                  <a:path w="23232" h="6990" extrusionOk="0">
                    <a:moveTo>
                      <a:pt x="1" y="0"/>
                    </a:moveTo>
                    <a:lnTo>
                      <a:pt x="11616" y="6990"/>
                    </a:lnTo>
                    <a:lnTo>
                      <a:pt x="23231"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15"/>
              <p:cNvSpPr/>
              <p:nvPr/>
            </p:nvSpPr>
            <p:spPr>
              <a:xfrm>
                <a:off x="4100781" y="3340103"/>
                <a:ext cx="241039" cy="227700"/>
              </a:xfrm>
              <a:custGeom>
                <a:avLst/>
                <a:gdLst/>
                <a:ahLst/>
                <a:cxnLst/>
                <a:rect l="l" t="t" r="r" b="b"/>
                <a:pathLst>
                  <a:path w="11691" h="11044" extrusionOk="0">
                    <a:moveTo>
                      <a:pt x="1" y="0"/>
                    </a:moveTo>
                    <a:lnTo>
                      <a:pt x="1" y="11044"/>
                    </a:lnTo>
                    <a:lnTo>
                      <a:pt x="11691" y="11044"/>
                    </a:lnTo>
                    <a:lnTo>
                      <a:pt x="1169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15"/>
              <p:cNvSpPr/>
              <p:nvPr/>
            </p:nvSpPr>
            <p:spPr>
              <a:xfrm>
                <a:off x="4001302" y="3559061"/>
                <a:ext cx="439998" cy="21050"/>
              </a:xfrm>
              <a:custGeom>
                <a:avLst/>
                <a:gdLst/>
                <a:ahLst/>
                <a:cxnLst/>
                <a:rect l="l" t="t" r="r" b="b"/>
                <a:pathLst>
                  <a:path w="21341" h="1021" extrusionOk="0">
                    <a:moveTo>
                      <a:pt x="1" y="1"/>
                    </a:moveTo>
                    <a:lnTo>
                      <a:pt x="1" y="1021"/>
                    </a:lnTo>
                    <a:lnTo>
                      <a:pt x="21341" y="1021"/>
                    </a:lnTo>
                    <a:lnTo>
                      <a:pt x="2134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15"/>
              <p:cNvSpPr/>
              <p:nvPr/>
            </p:nvSpPr>
            <p:spPr>
              <a:xfrm>
                <a:off x="3599776" y="2531918"/>
                <a:ext cx="1243050" cy="830246"/>
              </a:xfrm>
              <a:custGeom>
                <a:avLst/>
                <a:gdLst/>
                <a:ahLst/>
                <a:cxnLst/>
                <a:rect l="l" t="t" r="r" b="b"/>
                <a:pathLst>
                  <a:path w="60291" h="40269" extrusionOk="0">
                    <a:moveTo>
                      <a:pt x="971" y="0"/>
                    </a:moveTo>
                    <a:lnTo>
                      <a:pt x="772" y="25"/>
                    </a:lnTo>
                    <a:lnTo>
                      <a:pt x="597" y="75"/>
                    </a:lnTo>
                    <a:lnTo>
                      <a:pt x="423" y="174"/>
                    </a:lnTo>
                    <a:lnTo>
                      <a:pt x="299" y="274"/>
                    </a:lnTo>
                    <a:lnTo>
                      <a:pt x="175" y="423"/>
                    </a:lnTo>
                    <a:lnTo>
                      <a:pt x="75" y="597"/>
                    </a:lnTo>
                    <a:lnTo>
                      <a:pt x="25" y="771"/>
                    </a:lnTo>
                    <a:lnTo>
                      <a:pt x="1" y="970"/>
                    </a:lnTo>
                    <a:lnTo>
                      <a:pt x="1" y="39299"/>
                    </a:lnTo>
                    <a:lnTo>
                      <a:pt x="25" y="39498"/>
                    </a:lnTo>
                    <a:lnTo>
                      <a:pt x="75" y="39672"/>
                    </a:lnTo>
                    <a:lnTo>
                      <a:pt x="175" y="39846"/>
                    </a:lnTo>
                    <a:lnTo>
                      <a:pt x="299" y="39995"/>
                    </a:lnTo>
                    <a:lnTo>
                      <a:pt x="423" y="40095"/>
                    </a:lnTo>
                    <a:lnTo>
                      <a:pt x="597" y="40194"/>
                    </a:lnTo>
                    <a:lnTo>
                      <a:pt x="772" y="40244"/>
                    </a:lnTo>
                    <a:lnTo>
                      <a:pt x="971" y="40269"/>
                    </a:lnTo>
                    <a:lnTo>
                      <a:pt x="59321" y="40269"/>
                    </a:lnTo>
                    <a:lnTo>
                      <a:pt x="59520" y="40244"/>
                    </a:lnTo>
                    <a:lnTo>
                      <a:pt x="59719" y="40194"/>
                    </a:lnTo>
                    <a:lnTo>
                      <a:pt x="59868" y="40095"/>
                    </a:lnTo>
                    <a:lnTo>
                      <a:pt x="60017" y="39995"/>
                    </a:lnTo>
                    <a:lnTo>
                      <a:pt x="60142" y="39846"/>
                    </a:lnTo>
                    <a:lnTo>
                      <a:pt x="60216" y="39672"/>
                    </a:lnTo>
                    <a:lnTo>
                      <a:pt x="60266" y="39498"/>
                    </a:lnTo>
                    <a:lnTo>
                      <a:pt x="60291" y="39299"/>
                    </a:lnTo>
                    <a:lnTo>
                      <a:pt x="60291" y="970"/>
                    </a:lnTo>
                    <a:lnTo>
                      <a:pt x="60266" y="771"/>
                    </a:lnTo>
                    <a:lnTo>
                      <a:pt x="60216" y="597"/>
                    </a:lnTo>
                    <a:lnTo>
                      <a:pt x="60142" y="423"/>
                    </a:lnTo>
                    <a:lnTo>
                      <a:pt x="60017" y="274"/>
                    </a:lnTo>
                    <a:lnTo>
                      <a:pt x="59868" y="174"/>
                    </a:lnTo>
                    <a:lnTo>
                      <a:pt x="59719" y="75"/>
                    </a:lnTo>
                    <a:lnTo>
                      <a:pt x="59520" y="25"/>
                    </a:lnTo>
                    <a:lnTo>
                      <a:pt x="5932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15"/>
              <p:cNvSpPr/>
              <p:nvPr/>
            </p:nvSpPr>
            <p:spPr>
              <a:xfrm>
                <a:off x="3642331" y="2586781"/>
                <a:ext cx="1157941" cy="664626"/>
              </a:xfrm>
              <a:custGeom>
                <a:avLst/>
                <a:gdLst/>
                <a:ahLst/>
                <a:cxnLst/>
                <a:rect l="l" t="t" r="r" b="b"/>
                <a:pathLst>
                  <a:path w="56163" h="32236" extrusionOk="0">
                    <a:moveTo>
                      <a:pt x="1" y="1"/>
                    </a:moveTo>
                    <a:lnTo>
                      <a:pt x="1" y="32235"/>
                    </a:lnTo>
                    <a:lnTo>
                      <a:pt x="56163" y="32235"/>
                    </a:lnTo>
                    <a:lnTo>
                      <a:pt x="561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191;p15"/>
              <p:cNvSpPr/>
              <p:nvPr/>
            </p:nvSpPr>
            <p:spPr>
              <a:xfrm>
                <a:off x="3642331" y="2649871"/>
                <a:ext cx="1157941" cy="62574"/>
              </a:xfrm>
              <a:custGeom>
                <a:avLst/>
                <a:gdLst/>
                <a:ahLst/>
                <a:cxnLst/>
                <a:rect l="l" t="t" r="r" b="b"/>
                <a:pathLst>
                  <a:path w="56163" h="3035" extrusionOk="0">
                    <a:moveTo>
                      <a:pt x="1" y="0"/>
                    </a:moveTo>
                    <a:lnTo>
                      <a:pt x="1" y="3034"/>
                    </a:lnTo>
                    <a:lnTo>
                      <a:pt x="56163" y="3034"/>
                    </a:lnTo>
                    <a:lnTo>
                      <a:pt x="56163"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92;p15"/>
              <p:cNvSpPr/>
              <p:nvPr/>
            </p:nvSpPr>
            <p:spPr>
              <a:xfrm>
                <a:off x="3642331" y="3130877"/>
                <a:ext cx="1157941" cy="16948"/>
              </a:xfrm>
              <a:custGeom>
                <a:avLst/>
                <a:gdLst/>
                <a:ahLst/>
                <a:cxnLst/>
                <a:rect l="l" t="t" r="r" b="b"/>
                <a:pathLst>
                  <a:path w="56163" h="822" extrusionOk="0">
                    <a:moveTo>
                      <a:pt x="1" y="0"/>
                    </a:moveTo>
                    <a:lnTo>
                      <a:pt x="1" y="821"/>
                    </a:lnTo>
                    <a:lnTo>
                      <a:pt x="56163" y="821"/>
                    </a:lnTo>
                    <a:lnTo>
                      <a:pt x="56163"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5"/>
              <p:cNvSpPr/>
              <p:nvPr/>
            </p:nvSpPr>
            <p:spPr>
              <a:xfrm>
                <a:off x="3642331" y="3186771"/>
                <a:ext cx="1157941" cy="16432"/>
              </a:xfrm>
              <a:custGeom>
                <a:avLst/>
                <a:gdLst/>
                <a:ahLst/>
                <a:cxnLst/>
                <a:rect l="l" t="t" r="r" b="b"/>
                <a:pathLst>
                  <a:path w="56163" h="797" extrusionOk="0">
                    <a:moveTo>
                      <a:pt x="1" y="0"/>
                    </a:moveTo>
                    <a:lnTo>
                      <a:pt x="1" y="796"/>
                    </a:lnTo>
                    <a:lnTo>
                      <a:pt x="56163" y="796"/>
                    </a:lnTo>
                    <a:lnTo>
                      <a:pt x="56163"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15"/>
              <p:cNvSpPr/>
              <p:nvPr/>
            </p:nvSpPr>
            <p:spPr>
              <a:xfrm>
                <a:off x="3711564" y="2784214"/>
                <a:ext cx="389238" cy="293346"/>
              </a:xfrm>
              <a:custGeom>
                <a:avLst/>
                <a:gdLst/>
                <a:ahLst/>
                <a:cxnLst/>
                <a:rect l="l" t="t" r="r" b="b"/>
                <a:pathLst>
                  <a:path w="18879" h="14228" extrusionOk="0">
                    <a:moveTo>
                      <a:pt x="1" y="1"/>
                    </a:moveTo>
                    <a:lnTo>
                      <a:pt x="1" y="14228"/>
                    </a:lnTo>
                    <a:lnTo>
                      <a:pt x="18879" y="14228"/>
                    </a:lnTo>
                    <a:lnTo>
                      <a:pt x="18879"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15"/>
              <p:cNvSpPr/>
              <p:nvPr/>
            </p:nvSpPr>
            <p:spPr>
              <a:xfrm>
                <a:off x="4189498" y="2784214"/>
                <a:ext cx="540014" cy="11298"/>
              </a:xfrm>
              <a:custGeom>
                <a:avLst/>
                <a:gdLst/>
                <a:ahLst/>
                <a:cxnLst/>
                <a:rect l="l" t="t" r="r" b="b"/>
                <a:pathLst>
                  <a:path w="26192" h="548" extrusionOk="0">
                    <a:moveTo>
                      <a:pt x="1" y="1"/>
                    </a:moveTo>
                    <a:lnTo>
                      <a:pt x="1" y="548"/>
                    </a:lnTo>
                    <a:lnTo>
                      <a:pt x="26191" y="548"/>
                    </a:lnTo>
                    <a:lnTo>
                      <a:pt x="26191"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15"/>
              <p:cNvSpPr/>
              <p:nvPr/>
            </p:nvSpPr>
            <p:spPr>
              <a:xfrm>
                <a:off x="4189498" y="2823181"/>
                <a:ext cx="540014" cy="11319"/>
              </a:xfrm>
              <a:custGeom>
                <a:avLst/>
                <a:gdLst/>
                <a:ahLst/>
                <a:cxnLst/>
                <a:rect l="l" t="t" r="r" b="b"/>
                <a:pathLst>
                  <a:path w="26192" h="549" extrusionOk="0">
                    <a:moveTo>
                      <a:pt x="1" y="1"/>
                    </a:moveTo>
                    <a:lnTo>
                      <a:pt x="1" y="548"/>
                    </a:lnTo>
                    <a:lnTo>
                      <a:pt x="26191" y="548"/>
                    </a:lnTo>
                    <a:lnTo>
                      <a:pt x="26191"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15"/>
              <p:cNvSpPr/>
              <p:nvPr/>
            </p:nvSpPr>
            <p:spPr>
              <a:xfrm>
                <a:off x="4189498" y="2862169"/>
                <a:ext cx="361548" cy="11298"/>
              </a:xfrm>
              <a:custGeom>
                <a:avLst/>
                <a:gdLst/>
                <a:ahLst/>
                <a:cxnLst/>
                <a:rect l="l" t="t" r="r" b="b"/>
                <a:pathLst>
                  <a:path w="17536" h="548" extrusionOk="0">
                    <a:moveTo>
                      <a:pt x="1" y="0"/>
                    </a:moveTo>
                    <a:lnTo>
                      <a:pt x="1" y="547"/>
                    </a:lnTo>
                    <a:lnTo>
                      <a:pt x="17536" y="547"/>
                    </a:lnTo>
                    <a:lnTo>
                      <a:pt x="17536"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15"/>
              <p:cNvSpPr/>
              <p:nvPr/>
            </p:nvSpPr>
            <p:spPr>
              <a:xfrm>
                <a:off x="4189498" y="2901136"/>
                <a:ext cx="361548" cy="11298"/>
              </a:xfrm>
              <a:custGeom>
                <a:avLst/>
                <a:gdLst/>
                <a:ahLst/>
                <a:cxnLst/>
                <a:rect l="l" t="t" r="r" b="b"/>
                <a:pathLst>
                  <a:path w="17536" h="548" extrusionOk="0">
                    <a:moveTo>
                      <a:pt x="1" y="1"/>
                    </a:moveTo>
                    <a:lnTo>
                      <a:pt x="1" y="548"/>
                    </a:lnTo>
                    <a:lnTo>
                      <a:pt x="17536" y="548"/>
                    </a:lnTo>
                    <a:lnTo>
                      <a:pt x="17536"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15"/>
              <p:cNvSpPr/>
              <p:nvPr/>
            </p:nvSpPr>
            <p:spPr>
              <a:xfrm>
                <a:off x="4189498" y="2940103"/>
                <a:ext cx="361548" cy="11319"/>
              </a:xfrm>
              <a:custGeom>
                <a:avLst/>
                <a:gdLst/>
                <a:ahLst/>
                <a:cxnLst/>
                <a:rect l="l" t="t" r="r" b="b"/>
                <a:pathLst>
                  <a:path w="17536" h="549" extrusionOk="0">
                    <a:moveTo>
                      <a:pt x="1" y="1"/>
                    </a:moveTo>
                    <a:lnTo>
                      <a:pt x="1" y="548"/>
                    </a:lnTo>
                    <a:lnTo>
                      <a:pt x="17536" y="548"/>
                    </a:lnTo>
                    <a:lnTo>
                      <a:pt x="17536"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15"/>
              <p:cNvSpPr/>
              <p:nvPr/>
            </p:nvSpPr>
            <p:spPr>
              <a:xfrm>
                <a:off x="4616672" y="2862169"/>
                <a:ext cx="112840" cy="11298"/>
              </a:xfrm>
              <a:custGeom>
                <a:avLst/>
                <a:gdLst/>
                <a:ahLst/>
                <a:cxnLst/>
                <a:rect l="l" t="t" r="r" b="b"/>
                <a:pathLst>
                  <a:path w="5473" h="548" extrusionOk="0">
                    <a:moveTo>
                      <a:pt x="0" y="0"/>
                    </a:moveTo>
                    <a:lnTo>
                      <a:pt x="0" y="547"/>
                    </a:lnTo>
                    <a:lnTo>
                      <a:pt x="5472" y="547"/>
                    </a:lnTo>
                    <a:lnTo>
                      <a:pt x="5472"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15"/>
              <p:cNvSpPr/>
              <p:nvPr/>
            </p:nvSpPr>
            <p:spPr>
              <a:xfrm>
                <a:off x="4616672" y="2901136"/>
                <a:ext cx="112840" cy="11298"/>
              </a:xfrm>
              <a:custGeom>
                <a:avLst/>
                <a:gdLst/>
                <a:ahLst/>
                <a:cxnLst/>
                <a:rect l="l" t="t" r="r" b="b"/>
                <a:pathLst>
                  <a:path w="5473" h="548" extrusionOk="0">
                    <a:moveTo>
                      <a:pt x="0" y="1"/>
                    </a:moveTo>
                    <a:lnTo>
                      <a:pt x="0" y="548"/>
                    </a:lnTo>
                    <a:lnTo>
                      <a:pt x="5472" y="548"/>
                    </a:lnTo>
                    <a:lnTo>
                      <a:pt x="5472"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15"/>
              <p:cNvSpPr/>
              <p:nvPr/>
            </p:nvSpPr>
            <p:spPr>
              <a:xfrm>
                <a:off x="4616672" y="2940103"/>
                <a:ext cx="112840" cy="11319"/>
              </a:xfrm>
              <a:custGeom>
                <a:avLst/>
                <a:gdLst/>
                <a:ahLst/>
                <a:cxnLst/>
                <a:rect l="l" t="t" r="r" b="b"/>
                <a:pathLst>
                  <a:path w="5473" h="549" extrusionOk="0">
                    <a:moveTo>
                      <a:pt x="0" y="1"/>
                    </a:moveTo>
                    <a:lnTo>
                      <a:pt x="0" y="548"/>
                    </a:lnTo>
                    <a:lnTo>
                      <a:pt x="5472" y="548"/>
                    </a:lnTo>
                    <a:lnTo>
                      <a:pt x="5472" y="1"/>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15"/>
              <p:cNvSpPr/>
              <p:nvPr/>
            </p:nvSpPr>
            <p:spPr>
              <a:xfrm>
                <a:off x="4189498" y="2979091"/>
                <a:ext cx="540014" cy="11298"/>
              </a:xfrm>
              <a:custGeom>
                <a:avLst/>
                <a:gdLst/>
                <a:ahLst/>
                <a:cxnLst/>
                <a:rect l="l" t="t" r="r" b="b"/>
                <a:pathLst>
                  <a:path w="26192" h="548" extrusionOk="0">
                    <a:moveTo>
                      <a:pt x="1" y="0"/>
                    </a:moveTo>
                    <a:lnTo>
                      <a:pt x="1" y="547"/>
                    </a:lnTo>
                    <a:lnTo>
                      <a:pt x="26191" y="547"/>
                    </a:lnTo>
                    <a:lnTo>
                      <a:pt x="26191"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15"/>
              <p:cNvSpPr/>
              <p:nvPr/>
            </p:nvSpPr>
            <p:spPr>
              <a:xfrm>
                <a:off x="4189498" y="3018058"/>
                <a:ext cx="427195" cy="10783"/>
              </a:xfrm>
              <a:custGeom>
                <a:avLst/>
                <a:gdLst/>
                <a:ahLst/>
                <a:cxnLst/>
                <a:rect l="l" t="t" r="r" b="b"/>
                <a:pathLst>
                  <a:path w="20720" h="523" extrusionOk="0">
                    <a:moveTo>
                      <a:pt x="1" y="0"/>
                    </a:moveTo>
                    <a:lnTo>
                      <a:pt x="1" y="523"/>
                    </a:lnTo>
                    <a:lnTo>
                      <a:pt x="20719" y="523"/>
                    </a:lnTo>
                    <a:lnTo>
                      <a:pt x="20719"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15"/>
              <p:cNvSpPr/>
              <p:nvPr/>
            </p:nvSpPr>
            <p:spPr>
              <a:xfrm>
                <a:off x="4189498" y="3066262"/>
                <a:ext cx="427195" cy="11298"/>
              </a:xfrm>
              <a:custGeom>
                <a:avLst/>
                <a:gdLst/>
                <a:ahLst/>
                <a:cxnLst/>
                <a:rect l="l" t="t" r="r" b="b"/>
                <a:pathLst>
                  <a:path w="20720" h="548" extrusionOk="0">
                    <a:moveTo>
                      <a:pt x="1" y="0"/>
                    </a:moveTo>
                    <a:lnTo>
                      <a:pt x="1" y="548"/>
                    </a:lnTo>
                    <a:lnTo>
                      <a:pt x="20719" y="548"/>
                    </a:lnTo>
                    <a:lnTo>
                      <a:pt x="20719" y="0"/>
                    </a:lnTo>
                    <a:close/>
                  </a:path>
                </a:pathLst>
              </a:custGeom>
              <a:solidFill>
                <a:srgbClr val="D1D1D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15"/>
              <p:cNvSpPr/>
              <p:nvPr/>
            </p:nvSpPr>
            <p:spPr>
              <a:xfrm>
                <a:off x="1268961" y="2030913"/>
                <a:ext cx="410268" cy="256935"/>
              </a:xfrm>
              <a:custGeom>
                <a:avLst/>
                <a:gdLst/>
                <a:ahLst/>
                <a:cxnLst/>
                <a:rect l="l" t="t" r="r" b="b"/>
                <a:pathLst>
                  <a:path w="19899" h="12462" extrusionOk="0">
                    <a:moveTo>
                      <a:pt x="1" y="0"/>
                    </a:moveTo>
                    <a:lnTo>
                      <a:pt x="1" y="12461"/>
                    </a:lnTo>
                    <a:lnTo>
                      <a:pt x="19899" y="12461"/>
                    </a:lnTo>
                    <a:lnTo>
                      <a:pt x="1989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5"/>
              <p:cNvSpPr/>
              <p:nvPr/>
            </p:nvSpPr>
            <p:spPr>
              <a:xfrm>
                <a:off x="1299743" y="2243211"/>
                <a:ext cx="121045" cy="153848"/>
              </a:xfrm>
              <a:custGeom>
                <a:avLst/>
                <a:gdLst/>
                <a:ahLst/>
                <a:cxnLst/>
                <a:rect l="l" t="t" r="r" b="b"/>
                <a:pathLst>
                  <a:path w="5871" h="7462" extrusionOk="0">
                    <a:moveTo>
                      <a:pt x="5870" y="0"/>
                    </a:moveTo>
                    <a:lnTo>
                      <a:pt x="0" y="722"/>
                    </a:lnTo>
                    <a:lnTo>
                      <a:pt x="0" y="7462"/>
                    </a:lnTo>
                    <a:lnTo>
                      <a:pt x="587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15"/>
              <p:cNvSpPr/>
              <p:nvPr/>
            </p:nvSpPr>
            <p:spPr>
              <a:xfrm>
                <a:off x="1400253" y="2070395"/>
                <a:ext cx="226669" cy="15917"/>
              </a:xfrm>
              <a:custGeom>
                <a:avLst/>
                <a:gdLst/>
                <a:ahLst/>
                <a:cxnLst/>
                <a:rect l="l" t="t" r="r" b="b"/>
                <a:pathLst>
                  <a:path w="10994" h="772" extrusionOk="0">
                    <a:moveTo>
                      <a:pt x="0" y="0"/>
                    </a:moveTo>
                    <a:lnTo>
                      <a:pt x="0" y="771"/>
                    </a:lnTo>
                    <a:lnTo>
                      <a:pt x="10994" y="771"/>
                    </a:lnTo>
                    <a:lnTo>
                      <a:pt x="1099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15"/>
              <p:cNvSpPr/>
              <p:nvPr/>
            </p:nvSpPr>
            <p:spPr>
              <a:xfrm>
                <a:off x="1517670" y="2121155"/>
                <a:ext cx="109252" cy="15917"/>
              </a:xfrm>
              <a:custGeom>
                <a:avLst/>
                <a:gdLst/>
                <a:ahLst/>
                <a:cxnLst/>
                <a:rect l="l" t="t" r="r" b="b"/>
                <a:pathLst>
                  <a:path w="5299" h="772" extrusionOk="0">
                    <a:moveTo>
                      <a:pt x="1" y="1"/>
                    </a:moveTo>
                    <a:lnTo>
                      <a:pt x="1" y="772"/>
                    </a:lnTo>
                    <a:lnTo>
                      <a:pt x="5299" y="772"/>
                    </a:lnTo>
                    <a:lnTo>
                      <a:pt x="5299"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15"/>
              <p:cNvSpPr/>
              <p:nvPr/>
            </p:nvSpPr>
            <p:spPr>
              <a:xfrm>
                <a:off x="1517670" y="2172431"/>
                <a:ext cx="109252" cy="15917"/>
              </a:xfrm>
              <a:custGeom>
                <a:avLst/>
                <a:gdLst/>
                <a:ahLst/>
                <a:cxnLst/>
                <a:rect l="l" t="t" r="r" b="b"/>
                <a:pathLst>
                  <a:path w="5299" h="772" extrusionOk="0">
                    <a:moveTo>
                      <a:pt x="1" y="1"/>
                    </a:moveTo>
                    <a:lnTo>
                      <a:pt x="1" y="772"/>
                    </a:lnTo>
                    <a:lnTo>
                      <a:pt x="5299" y="772"/>
                    </a:lnTo>
                    <a:lnTo>
                      <a:pt x="5299"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15"/>
              <p:cNvSpPr/>
              <p:nvPr/>
            </p:nvSpPr>
            <p:spPr>
              <a:xfrm>
                <a:off x="1400253" y="2223212"/>
                <a:ext cx="226669" cy="15917"/>
              </a:xfrm>
              <a:custGeom>
                <a:avLst/>
                <a:gdLst/>
                <a:ahLst/>
                <a:cxnLst/>
                <a:rect l="l" t="t" r="r" b="b"/>
                <a:pathLst>
                  <a:path w="10994" h="772" extrusionOk="0">
                    <a:moveTo>
                      <a:pt x="0" y="0"/>
                    </a:moveTo>
                    <a:lnTo>
                      <a:pt x="0" y="771"/>
                    </a:lnTo>
                    <a:lnTo>
                      <a:pt x="10994" y="771"/>
                    </a:lnTo>
                    <a:lnTo>
                      <a:pt x="1099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15"/>
              <p:cNvSpPr/>
              <p:nvPr/>
            </p:nvSpPr>
            <p:spPr>
              <a:xfrm>
                <a:off x="997696" y="1942196"/>
                <a:ext cx="478470" cy="299490"/>
              </a:xfrm>
              <a:custGeom>
                <a:avLst/>
                <a:gdLst/>
                <a:ahLst/>
                <a:cxnLst/>
                <a:rect l="l" t="t" r="r" b="b"/>
                <a:pathLst>
                  <a:path w="23207" h="14526" extrusionOk="0">
                    <a:moveTo>
                      <a:pt x="0" y="0"/>
                    </a:moveTo>
                    <a:lnTo>
                      <a:pt x="0" y="14526"/>
                    </a:lnTo>
                    <a:lnTo>
                      <a:pt x="23206" y="14526"/>
                    </a:lnTo>
                    <a:lnTo>
                      <a:pt x="23206"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15"/>
              <p:cNvSpPr/>
              <p:nvPr/>
            </p:nvSpPr>
            <p:spPr>
              <a:xfrm>
                <a:off x="1033591" y="2189358"/>
                <a:ext cx="141560" cy="179496"/>
              </a:xfrm>
              <a:custGeom>
                <a:avLst/>
                <a:gdLst/>
                <a:ahLst/>
                <a:cxnLst/>
                <a:rect l="l" t="t" r="r" b="b"/>
                <a:pathLst>
                  <a:path w="6866" h="8706" extrusionOk="0">
                    <a:moveTo>
                      <a:pt x="6865" y="1"/>
                    </a:moveTo>
                    <a:lnTo>
                      <a:pt x="0" y="821"/>
                    </a:lnTo>
                    <a:lnTo>
                      <a:pt x="0" y="8706"/>
                    </a:lnTo>
                    <a:lnTo>
                      <a:pt x="686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15"/>
              <p:cNvSpPr/>
              <p:nvPr/>
            </p:nvSpPr>
            <p:spPr>
              <a:xfrm>
                <a:off x="1058724" y="1987822"/>
                <a:ext cx="356415" cy="18494"/>
              </a:xfrm>
              <a:custGeom>
                <a:avLst/>
                <a:gdLst/>
                <a:ahLst/>
                <a:cxnLst/>
                <a:rect l="l" t="t" r="r" b="b"/>
                <a:pathLst>
                  <a:path w="17287" h="897" extrusionOk="0">
                    <a:moveTo>
                      <a:pt x="0" y="1"/>
                    </a:moveTo>
                    <a:lnTo>
                      <a:pt x="0" y="896"/>
                    </a:lnTo>
                    <a:lnTo>
                      <a:pt x="17286" y="896"/>
                    </a:lnTo>
                    <a:lnTo>
                      <a:pt x="1728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15"/>
              <p:cNvSpPr/>
              <p:nvPr/>
            </p:nvSpPr>
            <p:spPr>
              <a:xfrm>
                <a:off x="1243333" y="2047304"/>
                <a:ext cx="171806" cy="18494"/>
              </a:xfrm>
              <a:custGeom>
                <a:avLst/>
                <a:gdLst/>
                <a:ahLst/>
                <a:cxnLst/>
                <a:rect l="l" t="t" r="r" b="b"/>
                <a:pathLst>
                  <a:path w="8333" h="897" extrusionOk="0">
                    <a:moveTo>
                      <a:pt x="0" y="1"/>
                    </a:moveTo>
                    <a:lnTo>
                      <a:pt x="0" y="896"/>
                    </a:lnTo>
                    <a:lnTo>
                      <a:pt x="8332" y="896"/>
                    </a:lnTo>
                    <a:lnTo>
                      <a:pt x="833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15"/>
              <p:cNvSpPr/>
              <p:nvPr/>
            </p:nvSpPr>
            <p:spPr>
              <a:xfrm>
                <a:off x="1243333" y="2106290"/>
                <a:ext cx="171806" cy="18989"/>
              </a:xfrm>
              <a:custGeom>
                <a:avLst/>
                <a:gdLst/>
                <a:ahLst/>
                <a:cxnLst/>
                <a:rect l="l" t="t" r="r" b="b"/>
                <a:pathLst>
                  <a:path w="8333" h="921" extrusionOk="0">
                    <a:moveTo>
                      <a:pt x="0" y="0"/>
                    </a:moveTo>
                    <a:lnTo>
                      <a:pt x="0" y="921"/>
                    </a:lnTo>
                    <a:lnTo>
                      <a:pt x="8332" y="921"/>
                    </a:lnTo>
                    <a:lnTo>
                      <a:pt x="833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17;p15"/>
              <p:cNvSpPr/>
              <p:nvPr/>
            </p:nvSpPr>
            <p:spPr>
              <a:xfrm>
                <a:off x="1058724" y="2047304"/>
                <a:ext cx="134880" cy="18494"/>
              </a:xfrm>
              <a:custGeom>
                <a:avLst/>
                <a:gdLst/>
                <a:ahLst/>
                <a:cxnLst/>
                <a:rect l="l" t="t" r="r" b="b"/>
                <a:pathLst>
                  <a:path w="6542" h="897" extrusionOk="0">
                    <a:moveTo>
                      <a:pt x="0" y="1"/>
                    </a:moveTo>
                    <a:lnTo>
                      <a:pt x="0" y="896"/>
                    </a:lnTo>
                    <a:lnTo>
                      <a:pt x="6542" y="896"/>
                    </a:lnTo>
                    <a:lnTo>
                      <a:pt x="654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18;p15"/>
              <p:cNvSpPr/>
              <p:nvPr/>
            </p:nvSpPr>
            <p:spPr>
              <a:xfrm>
                <a:off x="1058724" y="2106290"/>
                <a:ext cx="134880" cy="18989"/>
              </a:xfrm>
              <a:custGeom>
                <a:avLst/>
                <a:gdLst/>
                <a:ahLst/>
                <a:cxnLst/>
                <a:rect l="l" t="t" r="r" b="b"/>
                <a:pathLst>
                  <a:path w="6542" h="921" extrusionOk="0">
                    <a:moveTo>
                      <a:pt x="0" y="0"/>
                    </a:moveTo>
                    <a:lnTo>
                      <a:pt x="0" y="921"/>
                    </a:lnTo>
                    <a:lnTo>
                      <a:pt x="6542" y="921"/>
                    </a:lnTo>
                    <a:lnTo>
                      <a:pt x="654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19;p15"/>
              <p:cNvSpPr/>
              <p:nvPr/>
            </p:nvSpPr>
            <p:spPr>
              <a:xfrm>
                <a:off x="1058724" y="2165772"/>
                <a:ext cx="356415" cy="18473"/>
              </a:xfrm>
              <a:custGeom>
                <a:avLst/>
                <a:gdLst/>
                <a:ahLst/>
                <a:cxnLst/>
                <a:rect l="l" t="t" r="r" b="b"/>
                <a:pathLst>
                  <a:path w="17287" h="896" extrusionOk="0">
                    <a:moveTo>
                      <a:pt x="0" y="0"/>
                    </a:moveTo>
                    <a:lnTo>
                      <a:pt x="0" y="896"/>
                    </a:lnTo>
                    <a:lnTo>
                      <a:pt x="17286" y="896"/>
                    </a:lnTo>
                    <a:lnTo>
                      <a:pt x="17286"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20;p15"/>
              <p:cNvSpPr/>
              <p:nvPr/>
            </p:nvSpPr>
            <p:spPr>
              <a:xfrm>
                <a:off x="1506392" y="2733969"/>
                <a:ext cx="62595" cy="62574"/>
              </a:xfrm>
              <a:custGeom>
                <a:avLst/>
                <a:gdLst/>
                <a:ahLst/>
                <a:cxnLst/>
                <a:rect l="l" t="t" r="r" b="b"/>
                <a:pathLst>
                  <a:path w="3036" h="3035" fill="none" extrusionOk="0">
                    <a:moveTo>
                      <a:pt x="1" y="1517"/>
                    </a:moveTo>
                    <a:lnTo>
                      <a:pt x="1" y="1517"/>
                    </a:lnTo>
                    <a:lnTo>
                      <a:pt x="1" y="1368"/>
                    </a:lnTo>
                    <a:lnTo>
                      <a:pt x="26" y="1219"/>
                    </a:lnTo>
                    <a:lnTo>
                      <a:pt x="50" y="1070"/>
                    </a:lnTo>
                    <a:lnTo>
                      <a:pt x="100" y="920"/>
                    </a:lnTo>
                    <a:lnTo>
                      <a:pt x="249" y="672"/>
                    </a:lnTo>
                    <a:lnTo>
                      <a:pt x="448" y="448"/>
                    </a:lnTo>
                    <a:lnTo>
                      <a:pt x="672" y="249"/>
                    </a:lnTo>
                    <a:lnTo>
                      <a:pt x="921" y="100"/>
                    </a:lnTo>
                    <a:lnTo>
                      <a:pt x="1070" y="50"/>
                    </a:lnTo>
                    <a:lnTo>
                      <a:pt x="1219" y="25"/>
                    </a:lnTo>
                    <a:lnTo>
                      <a:pt x="1369" y="0"/>
                    </a:lnTo>
                    <a:lnTo>
                      <a:pt x="1518" y="0"/>
                    </a:lnTo>
                    <a:lnTo>
                      <a:pt x="1518" y="0"/>
                    </a:lnTo>
                    <a:lnTo>
                      <a:pt x="1667" y="0"/>
                    </a:lnTo>
                    <a:lnTo>
                      <a:pt x="1816" y="25"/>
                    </a:lnTo>
                    <a:lnTo>
                      <a:pt x="1966" y="50"/>
                    </a:lnTo>
                    <a:lnTo>
                      <a:pt x="2115" y="100"/>
                    </a:lnTo>
                    <a:lnTo>
                      <a:pt x="2364" y="249"/>
                    </a:lnTo>
                    <a:lnTo>
                      <a:pt x="2587" y="448"/>
                    </a:lnTo>
                    <a:lnTo>
                      <a:pt x="2786" y="672"/>
                    </a:lnTo>
                    <a:lnTo>
                      <a:pt x="2936" y="920"/>
                    </a:lnTo>
                    <a:lnTo>
                      <a:pt x="2985" y="1070"/>
                    </a:lnTo>
                    <a:lnTo>
                      <a:pt x="3010" y="1219"/>
                    </a:lnTo>
                    <a:lnTo>
                      <a:pt x="3035" y="1368"/>
                    </a:lnTo>
                    <a:lnTo>
                      <a:pt x="3035" y="1517"/>
                    </a:lnTo>
                    <a:lnTo>
                      <a:pt x="3035" y="1517"/>
                    </a:lnTo>
                    <a:lnTo>
                      <a:pt x="3035" y="1667"/>
                    </a:lnTo>
                    <a:lnTo>
                      <a:pt x="3010" y="1816"/>
                    </a:lnTo>
                    <a:lnTo>
                      <a:pt x="2985" y="1965"/>
                    </a:lnTo>
                    <a:lnTo>
                      <a:pt x="2936" y="2114"/>
                    </a:lnTo>
                    <a:lnTo>
                      <a:pt x="2786" y="2363"/>
                    </a:lnTo>
                    <a:lnTo>
                      <a:pt x="2587" y="2587"/>
                    </a:lnTo>
                    <a:lnTo>
                      <a:pt x="2364" y="2786"/>
                    </a:lnTo>
                    <a:lnTo>
                      <a:pt x="2115" y="2910"/>
                    </a:lnTo>
                    <a:lnTo>
                      <a:pt x="1966" y="2985"/>
                    </a:lnTo>
                    <a:lnTo>
                      <a:pt x="1816" y="3010"/>
                    </a:lnTo>
                    <a:lnTo>
                      <a:pt x="1667" y="3035"/>
                    </a:lnTo>
                    <a:lnTo>
                      <a:pt x="1518" y="3035"/>
                    </a:lnTo>
                    <a:lnTo>
                      <a:pt x="1518" y="3035"/>
                    </a:lnTo>
                    <a:lnTo>
                      <a:pt x="1369" y="3035"/>
                    </a:lnTo>
                    <a:lnTo>
                      <a:pt x="1219" y="3010"/>
                    </a:lnTo>
                    <a:lnTo>
                      <a:pt x="1070" y="2985"/>
                    </a:lnTo>
                    <a:lnTo>
                      <a:pt x="921" y="2910"/>
                    </a:lnTo>
                    <a:lnTo>
                      <a:pt x="672" y="2786"/>
                    </a:lnTo>
                    <a:lnTo>
                      <a:pt x="448" y="2587"/>
                    </a:lnTo>
                    <a:lnTo>
                      <a:pt x="249" y="2363"/>
                    </a:lnTo>
                    <a:lnTo>
                      <a:pt x="100" y="2114"/>
                    </a:lnTo>
                    <a:lnTo>
                      <a:pt x="50" y="1965"/>
                    </a:lnTo>
                    <a:lnTo>
                      <a:pt x="26" y="1816"/>
                    </a:lnTo>
                    <a:lnTo>
                      <a:pt x="1" y="1667"/>
                    </a:lnTo>
                    <a:lnTo>
                      <a:pt x="1" y="1517"/>
                    </a:lnTo>
                    <a:lnTo>
                      <a:pt x="1" y="1517"/>
                    </a:lnTo>
                    <a:close/>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21;p15"/>
              <p:cNvSpPr/>
              <p:nvPr/>
            </p:nvSpPr>
            <p:spPr>
              <a:xfrm>
                <a:off x="1411015" y="2328341"/>
                <a:ext cx="126674" cy="405649"/>
              </a:xfrm>
              <a:custGeom>
                <a:avLst/>
                <a:gdLst/>
                <a:ahLst/>
                <a:cxnLst/>
                <a:rect l="l" t="t" r="r" b="b"/>
                <a:pathLst>
                  <a:path w="6144" h="19675" fill="none" extrusionOk="0">
                    <a:moveTo>
                      <a:pt x="0" y="0"/>
                    </a:moveTo>
                    <a:lnTo>
                      <a:pt x="0" y="8482"/>
                    </a:lnTo>
                    <a:lnTo>
                      <a:pt x="6144" y="11615"/>
                    </a:lnTo>
                    <a:lnTo>
                      <a:pt x="6144" y="19674"/>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15"/>
              <p:cNvSpPr/>
              <p:nvPr/>
            </p:nvSpPr>
            <p:spPr>
              <a:xfrm>
                <a:off x="1466909" y="2287827"/>
                <a:ext cx="46183" cy="387691"/>
              </a:xfrm>
              <a:custGeom>
                <a:avLst/>
                <a:gdLst/>
                <a:ahLst/>
                <a:cxnLst/>
                <a:rect l="l" t="t" r="r" b="b"/>
                <a:pathLst>
                  <a:path w="2240" h="18804" fill="none" extrusionOk="0">
                    <a:moveTo>
                      <a:pt x="1" y="18804"/>
                    </a:moveTo>
                    <a:lnTo>
                      <a:pt x="1" y="8929"/>
                    </a:lnTo>
                    <a:lnTo>
                      <a:pt x="2239" y="7512"/>
                    </a:lnTo>
                    <a:lnTo>
                      <a:pt x="2239" y="0"/>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15"/>
              <p:cNvSpPr/>
              <p:nvPr/>
            </p:nvSpPr>
            <p:spPr>
              <a:xfrm>
                <a:off x="1466909" y="2749350"/>
                <a:ext cx="21" cy="157456"/>
              </a:xfrm>
              <a:custGeom>
                <a:avLst/>
                <a:gdLst/>
                <a:ahLst/>
                <a:cxnLst/>
                <a:rect l="l" t="t" r="r" b="b"/>
                <a:pathLst>
                  <a:path w="1" h="7637" fill="none" extrusionOk="0">
                    <a:moveTo>
                      <a:pt x="1" y="0"/>
                    </a:moveTo>
                    <a:lnTo>
                      <a:pt x="1" y="7636"/>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15"/>
              <p:cNvSpPr/>
              <p:nvPr/>
            </p:nvSpPr>
            <p:spPr>
              <a:xfrm>
                <a:off x="1466909" y="2983689"/>
                <a:ext cx="21" cy="54904"/>
              </a:xfrm>
              <a:custGeom>
                <a:avLst/>
                <a:gdLst/>
                <a:ahLst/>
                <a:cxnLst/>
                <a:rect l="l" t="t" r="r" b="b"/>
                <a:pathLst>
                  <a:path w="1" h="2663" fill="none" extrusionOk="0">
                    <a:moveTo>
                      <a:pt x="1" y="1"/>
                    </a:moveTo>
                    <a:lnTo>
                      <a:pt x="1" y="2662"/>
                    </a:lnTo>
                  </a:path>
                </a:pathLst>
              </a:custGeom>
              <a:noFill/>
              <a:ln w="23625" cap="rnd"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5" name="Google Shape;225;p15"/>
            <p:cNvSpPr/>
            <p:nvPr/>
          </p:nvSpPr>
          <p:spPr>
            <a:xfrm>
              <a:off x="2897110" y="1017082"/>
              <a:ext cx="90343" cy="90343"/>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15"/>
            <p:cNvSpPr/>
            <p:nvPr/>
          </p:nvSpPr>
          <p:spPr>
            <a:xfrm>
              <a:off x="1125181" y="1473122"/>
              <a:ext cx="90300" cy="903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15"/>
            <p:cNvSpPr/>
            <p:nvPr/>
          </p:nvSpPr>
          <p:spPr>
            <a:xfrm>
              <a:off x="790781" y="3096605"/>
              <a:ext cx="90300" cy="903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15"/>
            <p:cNvSpPr/>
            <p:nvPr/>
          </p:nvSpPr>
          <p:spPr>
            <a:xfrm>
              <a:off x="4107158" y="1563464"/>
              <a:ext cx="90343" cy="90343"/>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15"/>
            <p:cNvSpPr/>
            <p:nvPr/>
          </p:nvSpPr>
          <p:spPr>
            <a:xfrm>
              <a:off x="4739527" y="2628883"/>
              <a:ext cx="90343" cy="90343"/>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15"/>
            <p:cNvSpPr/>
            <p:nvPr/>
          </p:nvSpPr>
          <p:spPr>
            <a:xfrm>
              <a:off x="3998124" y="4018260"/>
              <a:ext cx="90343" cy="90343"/>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32" name="TextBox 231">
            <a:extLst>
              <a:ext uri="{FF2B5EF4-FFF2-40B4-BE49-F238E27FC236}">
                <a16:creationId xmlns:a16="http://schemas.microsoft.com/office/drawing/2014/main" id="{EE475A51-FEDE-478F-9AB7-9F3F22BB0B66}"/>
              </a:ext>
            </a:extLst>
          </p:cNvPr>
          <p:cNvSpPr txBox="1"/>
          <p:nvPr/>
        </p:nvSpPr>
        <p:spPr>
          <a:xfrm>
            <a:off x="2875049" y="45318"/>
            <a:ext cx="4572000" cy="706284"/>
          </a:xfrm>
          <a:prstGeom prst="rect">
            <a:avLst/>
          </a:prstGeom>
          <a:noFill/>
        </p:spPr>
        <p:txBody>
          <a:bodyPr wrap="square">
            <a:spAutoFit/>
          </a:bodyPr>
          <a:lstStyle/>
          <a:p>
            <a:pPr algn="ctr">
              <a:lnSpc>
                <a:spcPct val="130000"/>
              </a:lnSpc>
            </a:pPr>
            <a:r>
              <a:rPr lang="en-US" sz="1600" b="1">
                <a:solidFill>
                  <a:srgbClr val="0070C0"/>
                </a:solidFill>
                <a:latin typeface="Anton" pitchFamily="2" charset="0"/>
                <a:ea typeface="Barlow Bold"/>
                <a:cs typeface="Barlow Bold"/>
                <a:sym typeface="Barlow Bold"/>
              </a:rPr>
              <a:t>HỌC VIỆN KỸ THUẬT MẬT MÃ</a:t>
            </a:r>
          </a:p>
          <a:p>
            <a:pPr algn="ctr">
              <a:lnSpc>
                <a:spcPct val="130000"/>
              </a:lnSpc>
            </a:pPr>
            <a:r>
              <a:rPr lang="en-US" sz="1600" b="1">
                <a:solidFill>
                  <a:srgbClr val="0070C0"/>
                </a:solidFill>
                <a:latin typeface="Anton" pitchFamily="2" charset="0"/>
                <a:ea typeface="Barlow Bold"/>
                <a:cs typeface="Barlow Bold"/>
                <a:sym typeface="Barlow Bold"/>
              </a:rPr>
              <a:t>MÔN HỌC: HỌC MÁY TRONG AN TOÀN THÔNG TIN</a:t>
            </a:r>
          </a:p>
        </p:txBody>
      </p:sp>
      <p:sp>
        <p:nvSpPr>
          <p:cNvPr id="233" name="Google Shape;47;p15">
            <a:extLst>
              <a:ext uri="{FF2B5EF4-FFF2-40B4-BE49-F238E27FC236}">
                <a16:creationId xmlns:a16="http://schemas.microsoft.com/office/drawing/2014/main" id="{2D0C9A4F-4784-4F73-B065-E38EAE87EBCD}"/>
              </a:ext>
            </a:extLst>
          </p:cNvPr>
          <p:cNvSpPr txBox="1">
            <a:spLocks/>
          </p:cNvSpPr>
          <p:nvPr/>
        </p:nvSpPr>
        <p:spPr>
          <a:xfrm>
            <a:off x="5433693" y="2059033"/>
            <a:ext cx="3876437" cy="38178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17500" algn="r" rtl="0">
              <a:lnSpc>
                <a:spcPct val="100000"/>
              </a:lnSpc>
              <a:spcBef>
                <a:spcPts val="0"/>
              </a:spcBef>
              <a:spcAft>
                <a:spcPts val="0"/>
              </a:spcAft>
              <a:buClr>
                <a:schemeClr val="dk1"/>
              </a:buClr>
              <a:buSzPts val="2800"/>
              <a:buFont typeface="Roboto"/>
              <a:buNone/>
              <a:defRPr sz="1800" b="0" i="0" u="none" strike="noStrike" cap="none">
                <a:solidFill>
                  <a:schemeClr val="dk1"/>
                </a:solidFill>
                <a:latin typeface="Roboto"/>
                <a:ea typeface="Roboto"/>
                <a:cs typeface="Roboto"/>
                <a:sym typeface="Roboto"/>
              </a:defRPr>
            </a:lvl1pPr>
            <a:lvl2pPr marL="914400" marR="0" lvl="1"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2pPr>
            <a:lvl3pPr marL="1371600" marR="0" lvl="2"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3pPr>
            <a:lvl4pPr marL="1828800" marR="0" lvl="3"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4pPr>
            <a:lvl5pPr marL="2286000" marR="0" lvl="4"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5pPr>
            <a:lvl6pPr marL="2743200" marR="0" lvl="5"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6pPr>
            <a:lvl7pPr marL="3200400" marR="0" lvl="6"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7pPr>
            <a:lvl8pPr marL="3657600" marR="0" lvl="7"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8pPr>
            <a:lvl9pPr marL="4114800" marR="0" lvl="8" indent="-317500" algn="l" rtl="0">
              <a:lnSpc>
                <a:spcPct val="100000"/>
              </a:lnSpc>
              <a:spcBef>
                <a:spcPts val="0"/>
              </a:spcBef>
              <a:spcAft>
                <a:spcPts val="0"/>
              </a:spcAft>
              <a:buClr>
                <a:schemeClr val="dk1"/>
              </a:buClr>
              <a:buSzPts val="2800"/>
              <a:buFont typeface="Roboto"/>
              <a:buNone/>
              <a:defRPr sz="2800" b="0" i="0" u="none" strike="noStrike" cap="none">
                <a:solidFill>
                  <a:schemeClr val="dk1"/>
                </a:solidFill>
                <a:latin typeface="Roboto"/>
                <a:ea typeface="Roboto"/>
                <a:cs typeface="Roboto"/>
                <a:sym typeface="Roboto"/>
              </a:defRPr>
            </a:lvl9pPr>
          </a:lstStyle>
          <a:p>
            <a:pPr algn="l">
              <a:spcBef>
                <a:spcPct val="0"/>
              </a:spcBef>
            </a:pPr>
            <a:r>
              <a:rPr lang="en-US" b="1">
                <a:solidFill>
                  <a:schemeClr val="tx1"/>
                </a:solidFill>
                <a:latin typeface="Barlow" panose="00000500000000000000" pitchFamily="2" charset="0"/>
                <a:ea typeface="Poppins Medium"/>
                <a:cs typeface="Poppins Medium"/>
                <a:sym typeface="Poppins Medium"/>
              </a:rPr>
              <a:t>GVHD: TS Nguyễn An Khương</a:t>
            </a:r>
          </a:p>
        </p:txBody>
      </p:sp>
      <p:sp>
        <p:nvSpPr>
          <p:cNvPr id="234" name="Rounded Rectangle 118">
            <a:extLst>
              <a:ext uri="{FF2B5EF4-FFF2-40B4-BE49-F238E27FC236}">
                <a16:creationId xmlns:a16="http://schemas.microsoft.com/office/drawing/2014/main" id="{0257B260-6AE4-416E-BA39-463B6C254E7B}"/>
              </a:ext>
            </a:extLst>
          </p:cNvPr>
          <p:cNvSpPr/>
          <p:nvPr/>
        </p:nvSpPr>
        <p:spPr>
          <a:xfrm>
            <a:off x="3829955" y="4592744"/>
            <a:ext cx="5231121" cy="469975"/>
          </a:xfrm>
          <a:prstGeom prst="roundRect">
            <a:avLst>
              <a:gd name="adj" fmla="val 50000"/>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Tahoma" panose="020B0604030504040204" pitchFamily="34" charset="0"/>
                <a:ea typeface="Tahoma" panose="020B0604030504040204" pitchFamily="34" charset="0"/>
                <a:cs typeface="Tahoma" panose="020B0604030504040204" pitchFamily="34" charset="0"/>
              </a:rPr>
              <a:t>Detecting Brute-Force Attacks Using Machine Learn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5">
            <a:extLst>
              <a:ext uri="{FF2B5EF4-FFF2-40B4-BE49-F238E27FC236}">
                <a16:creationId xmlns:a16="http://schemas.microsoft.com/office/drawing/2014/main" id="{276D5E69-57A5-4ECF-B10E-A20E1492C8CA}"/>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4" name="Google Shape;412;p18">
            <a:extLst>
              <a:ext uri="{FF2B5EF4-FFF2-40B4-BE49-F238E27FC236}">
                <a16:creationId xmlns:a16="http://schemas.microsoft.com/office/drawing/2014/main" id="{D3264540-065D-4489-A553-D7EF3459A25D}"/>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CỤ THỂ CÁC BƯỚC XỬ LÝ DỮ LIỆU </a:t>
            </a:r>
          </a:p>
        </p:txBody>
      </p:sp>
      <p:sp>
        <p:nvSpPr>
          <p:cNvPr id="15" name="Flèche : pentagone 6">
            <a:extLst>
              <a:ext uri="{FF2B5EF4-FFF2-40B4-BE49-F238E27FC236}">
                <a16:creationId xmlns:a16="http://schemas.microsoft.com/office/drawing/2014/main" id="{B8F45D7B-25B9-47F5-9068-A2E3FFB71BA2}"/>
              </a:ext>
            </a:extLst>
          </p:cNvPr>
          <p:cNvSpPr/>
          <p:nvPr/>
        </p:nvSpPr>
        <p:spPr>
          <a:xfrm rot="10800000" flipV="1">
            <a:off x="3334373" y="1133684"/>
            <a:ext cx="737909" cy="924026"/>
          </a:xfrm>
          <a:prstGeom prst="homePlate">
            <a:avLst>
              <a:gd name="adj" fmla="val 2272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b="1" dirty="0">
                <a:latin typeface="Tahoma" panose="020B0604030504040204" pitchFamily="34" charset="0"/>
                <a:ea typeface="Tahoma" panose="020B0604030504040204" pitchFamily="34" charset="0"/>
                <a:cs typeface="Tahoma" panose="020B0604030504040204" pitchFamily="34" charset="0"/>
              </a:rPr>
              <a:t>1</a:t>
            </a:r>
          </a:p>
        </p:txBody>
      </p:sp>
      <p:sp>
        <p:nvSpPr>
          <p:cNvPr id="16" name="Rectangle 15">
            <a:extLst>
              <a:ext uri="{FF2B5EF4-FFF2-40B4-BE49-F238E27FC236}">
                <a16:creationId xmlns:a16="http://schemas.microsoft.com/office/drawing/2014/main" id="{0B4A4A83-8DD2-4D65-982F-8C29315C4BDF}"/>
              </a:ext>
            </a:extLst>
          </p:cNvPr>
          <p:cNvSpPr/>
          <p:nvPr/>
        </p:nvSpPr>
        <p:spPr>
          <a:xfrm>
            <a:off x="4072283" y="1133685"/>
            <a:ext cx="4905464" cy="92402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vi-VN" b="1">
                <a:solidFill>
                  <a:schemeClr val="tx1"/>
                </a:solidFill>
              </a:rPr>
              <a:t>Làm sạch và chuẩn hóa dữ liệu: Chuyển đổi tất cả các đặc trưng cần thiết thành giá trị danh nghĩa và làm sạch dữ liệu. Dữ liệu được xử lý dựa trên các đặc trưng đã được tạo.</a:t>
            </a:r>
            <a:endParaRPr lang="vi-VN" b="1" dirty="0">
              <a:solidFill>
                <a:schemeClr val="tx1"/>
              </a:solidFill>
            </a:endParaRPr>
          </a:p>
        </p:txBody>
      </p:sp>
      <p:sp>
        <p:nvSpPr>
          <p:cNvPr id="17" name="Rectangle 16">
            <a:extLst>
              <a:ext uri="{FF2B5EF4-FFF2-40B4-BE49-F238E27FC236}">
                <a16:creationId xmlns:a16="http://schemas.microsoft.com/office/drawing/2014/main" id="{83E9F4D8-CA97-40D1-82E3-CA23F69EB1E1}"/>
              </a:ext>
            </a:extLst>
          </p:cNvPr>
          <p:cNvSpPr/>
          <p:nvPr/>
        </p:nvSpPr>
        <p:spPr>
          <a:xfrm>
            <a:off x="4072282" y="2333588"/>
            <a:ext cx="4905465" cy="92402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vi-VN" b="1">
                <a:solidFill>
                  <a:schemeClr val="tx1"/>
                </a:solidFill>
              </a:rPr>
              <a:t>Chuẩn hóa dữ liệu: Chuẩn hóa các giá trị đặc trưng số về một thang đo được chọn, chẳng hạn như khoảng. Điều này giúp giảm tỷ lệ dữ liệu, cải thiện độ chính xác của mô hình và rút ngắn thời gian xử lý.</a:t>
            </a:r>
          </a:p>
        </p:txBody>
      </p:sp>
      <p:sp>
        <p:nvSpPr>
          <p:cNvPr id="18" name="Flèche : pentagone 6">
            <a:extLst>
              <a:ext uri="{FF2B5EF4-FFF2-40B4-BE49-F238E27FC236}">
                <a16:creationId xmlns:a16="http://schemas.microsoft.com/office/drawing/2014/main" id="{D1FE86A3-A27F-474C-9510-62BA872986AF}"/>
              </a:ext>
            </a:extLst>
          </p:cNvPr>
          <p:cNvSpPr/>
          <p:nvPr/>
        </p:nvSpPr>
        <p:spPr>
          <a:xfrm rot="10800000" flipV="1">
            <a:off x="3334373" y="3533491"/>
            <a:ext cx="737909" cy="924026"/>
          </a:xfrm>
          <a:prstGeom prst="homePlate">
            <a:avLst>
              <a:gd name="adj" fmla="val 22727"/>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b="1" dirty="0">
                <a:latin typeface="Tahoma" panose="020B0604030504040204" pitchFamily="34" charset="0"/>
                <a:ea typeface="Tahoma" panose="020B0604030504040204" pitchFamily="34" charset="0"/>
                <a:cs typeface="Tahoma" panose="020B0604030504040204" pitchFamily="34" charset="0"/>
              </a:rPr>
              <a:t>3</a:t>
            </a:r>
          </a:p>
        </p:txBody>
      </p:sp>
      <p:sp>
        <p:nvSpPr>
          <p:cNvPr id="19" name="Rectangle 18">
            <a:extLst>
              <a:ext uri="{FF2B5EF4-FFF2-40B4-BE49-F238E27FC236}">
                <a16:creationId xmlns:a16="http://schemas.microsoft.com/office/drawing/2014/main" id="{8B978068-4C9A-46EF-9EF7-36AF8C862CFB}"/>
              </a:ext>
            </a:extLst>
          </p:cNvPr>
          <p:cNvSpPr/>
          <p:nvPr/>
        </p:nvSpPr>
        <p:spPr>
          <a:xfrm>
            <a:off x="4072283" y="3533491"/>
            <a:ext cx="4905464" cy="92402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vi-VN" b="1">
                <a:solidFill>
                  <a:schemeClr val="tx1"/>
                </a:solidFill>
              </a:rPr>
              <a:t>Chia dữ liệu: Tập dữ liệu được chia thành ba phần: tập huấn luyện (60%), tập xác thực (20%) và tập kiểm tra (20%).</a:t>
            </a:r>
            <a:endParaRPr lang="vi-VN" b="1" dirty="0">
              <a:solidFill>
                <a:schemeClr val="tx1"/>
              </a:solidFill>
            </a:endParaRPr>
          </a:p>
        </p:txBody>
      </p:sp>
      <p:sp>
        <p:nvSpPr>
          <p:cNvPr id="20" name="Flèche : pentagone 6">
            <a:extLst>
              <a:ext uri="{FF2B5EF4-FFF2-40B4-BE49-F238E27FC236}">
                <a16:creationId xmlns:a16="http://schemas.microsoft.com/office/drawing/2014/main" id="{AF1D4258-930E-49DB-90CD-5C8C556CA4F8}"/>
              </a:ext>
            </a:extLst>
          </p:cNvPr>
          <p:cNvSpPr/>
          <p:nvPr/>
        </p:nvSpPr>
        <p:spPr>
          <a:xfrm rot="10800000" flipV="1">
            <a:off x="3334373" y="2333587"/>
            <a:ext cx="737909" cy="924026"/>
          </a:xfrm>
          <a:prstGeom prst="homePlate">
            <a:avLst>
              <a:gd name="adj" fmla="val 2272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00" b="1" dirty="0">
                <a:latin typeface="Tahoma" panose="020B0604030504040204" pitchFamily="34" charset="0"/>
                <a:ea typeface="Tahoma" panose="020B0604030504040204" pitchFamily="34" charset="0"/>
                <a:cs typeface="Tahoma" panose="020B0604030504040204" pitchFamily="34" charset="0"/>
              </a:rPr>
              <a:t>2</a:t>
            </a:r>
          </a:p>
        </p:txBody>
      </p:sp>
      <p:grpSp>
        <p:nvGrpSpPr>
          <p:cNvPr id="8" name="Group 7">
            <a:extLst>
              <a:ext uri="{FF2B5EF4-FFF2-40B4-BE49-F238E27FC236}">
                <a16:creationId xmlns:a16="http://schemas.microsoft.com/office/drawing/2014/main" id="{C9ECD07F-C825-4C29-BF85-EA03293662D7}"/>
              </a:ext>
            </a:extLst>
          </p:cNvPr>
          <p:cNvGrpSpPr/>
          <p:nvPr/>
        </p:nvGrpSpPr>
        <p:grpSpPr>
          <a:xfrm>
            <a:off x="-646272" y="1572225"/>
            <a:ext cx="3900086" cy="2191174"/>
            <a:chOff x="1809760" y="1072925"/>
            <a:chExt cx="6079183" cy="3415450"/>
          </a:xfrm>
        </p:grpSpPr>
        <p:pic>
          <p:nvPicPr>
            <p:cNvPr id="21" name="Google Shape;1376;p31" title="Gráfico">
              <a:hlinkClick r:id="rId4"/>
              <a:extLst>
                <a:ext uri="{FF2B5EF4-FFF2-40B4-BE49-F238E27FC236}">
                  <a16:creationId xmlns:a16="http://schemas.microsoft.com/office/drawing/2014/main" id="{7409D14B-082F-48B9-A1F4-F93D4E3B9CF1}"/>
                </a:ext>
              </a:extLst>
            </p:cNvPr>
            <p:cNvPicPr preferRelativeResize="0"/>
            <p:nvPr/>
          </p:nvPicPr>
          <p:blipFill>
            <a:blip r:embed="rId5">
              <a:alphaModFix/>
            </a:blip>
            <a:stretch>
              <a:fillRect/>
            </a:stretch>
          </p:blipFill>
          <p:spPr>
            <a:xfrm>
              <a:off x="1809760" y="1072925"/>
              <a:ext cx="5524481" cy="3415450"/>
            </a:xfrm>
            <a:prstGeom prst="rect">
              <a:avLst/>
            </a:prstGeom>
            <a:noFill/>
            <a:ln>
              <a:noFill/>
            </a:ln>
          </p:spPr>
        </p:pic>
        <p:grpSp>
          <p:nvGrpSpPr>
            <p:cNvPr id="22" name="Google Shape;1378;p31">
              <a:extLst>
                <a:ext uri="{FF2B5EF4-FFF2-40B4-BE49-F238E27FC236}">
                  <a16:creationId xmlns:a16="http://schemas.microsoft.com/office/drawing/2014/main" id="{43383CC1-0991-43A9-9EE4-9559B0A47C7E}"/>
                </a:ext>
              </a:extLst>
            </p:cNvPr>
            <p:cNvGrpSpPr/>
            <p:nvPr/>
          </p:nvGrpSpPr>
          <p:grpSpPr>
            <a:xfrm flipH="1">
              <a:off x="5324632" y="1737393"/>
              <a:ext cx="2564311" cy="2664201"/>
              <a:chOff x="457200" y="1322450"/>
              <a:chExt cx="3281689" cy="3409523"/>
            </a:xfrm>
          </p:grpSpPr>
          <p:sp>
            <p:nvSpPr>
              <p:cNvPr id="23" name="Google Shape;1379;p31">
                <a:extLst>
                  <a:ext uri="{FF2B5EF4-FFF2-40B4-BE49-F238E27FC236}">
                    <a16:creationId xmlns:a16="http://schemas.microsoft.com/office/drawing/2014/main" id="{1255FAB8-A8C9-444D-8715-F207AF655E95}"/>
                  </a:ext>
                </a:extLst>
              </p:cNvPr>
              <p:cNvSpPr/>
              <p:nvPr/>
            </p:nvSpPr>
            <p:spPr>
              <a:xfrm>
                <a:off x="2776429" y="4574428"/>
                <a:ext cx="750464" cy="76155"/>
              </a:xfrm>
              <a:custGeom>
                <a:avLst/>
                <a:gdLst/>
                <a:ahLst/>
                <a:cxnLst/>
                <a:rect l="l" t="t" r="r" b="b"/>
                <a:pathLst>
                  <a:path w="23227" h="2357" extrusionOk="0">
                    <a:moveTo>
                      <a:pt x="11609" y="1"/>
                    </a:moveTo>
                    <a:lnTo>
                      <a:pt x="10421" y="10"/>
                    </a:lnTo>
                    <a:lnTo>
                      <a:pt x="9272" y="29"/>
                    </a:lnTo>
                    <a:lnTo>
                      <a:pt x="8161" y="58"/>
                    </a:lnTo>
                    <a:lnTo>
                      <a:pt x="7088" y="97"/>
                    </a:lnTo>
                    <a:lnTo>
                      <a:pt x="6073" y="144"/>
                    </a:lnTo>
                    <a:lnTo>
                      <a:pt x="5115" y="202"/>
                    </a:lnTo>
                    <a:lnTo>
                      <a:pt x="4224" y="269"/>
                    </a:lnTo>
                    <a:lnTo>
                      <a:pt x="3400" y="346"/>
                    </a:lnTo>
                    <a:lnTo>
                      <a:pt x="2653" y="432"/>
                    </a:lnTo>
                    <a:lnTo>
                      <a:pt x="1983" y="518"/>
                    </a:lnTo>
                    <a:lnTo>
                      <a:pt x="1398" y="614"/>
                    </a:lnTo>
                    <a:lnTo>
                      <a:pt x="1140" y="671"/>
                    </a:lnTo>
                    <a:lnTo>
                      <a:pt x="910" y="719"/>
                    </a:lnTo>
                    <a:lnTo>
                      <a:pt x="699" y="777"/>
                    </a:lnTo>
                    <a:lnTo>
                      <a:pt x="517" y="834"/>
                    </a:lnTo>
                    <a:lnTo>
                      <a:pt x="364" y="882"/>
                    </a:lnTo>
                    <a:lnTo>
                      <a:pt x="230" y="939"/>
                    </a:lnTo>
                    <a:lnTo>
                      <a:pt x="134" y="997"/>
                    </a:lnTo>
                    <a:lnTo>
                      <a:pt x="58" y="1064"/>
                    </a:lnTo>
                    <a:lnTo>
                      <a:pt x="29" y="1093"/>
                    </a:lnTo>
                    <a:lnTo>
                      <a:pt x="10" y="1121"/>
                    </a:lnTo>
                    <a:lnTo>
                      <a:pt x="0" y="1150"/>
                    </a:lnTo>
                    <a:lnTo>
                      <a:pt x="0" y="1179"/>
                    </a:lnTo>
                    <a:lnTo>
                      <a:pt x="0" y="1208"/>
                    </a:lnTo>
                    <a:lnTo>
                      <a:pt x="10" y="1236"/>
                    </a:lnTo>
                    <a:lnTo>
                      <a:pt x="29" y="1275"/>
                    </a:lnTo>
                    <a:lnTo>
                      <a:pt x="58" y="1303"/>
                    </a:lnTo>
                    <a:lnTo>
                      <a:pt x="134" y="1361"/>
                    </a:lnTo>
                    <a:lnTo>
                      <a:pt x="230" y="1418"/>
                    </a:lnTo>
                    <a:lnTo>
                      <a:pt x="364" y="1476"/>
                    </a:lnTo>
                    <a:lnTo>
                      <a:pt x="517" y="1533"/>
                    </a:lnTo>
                    <a:lnTo>
                      <a:pt x="699" y="1581"/>
                    </a:lnTo>
                    <a:lnTo>
                      <a:pt x="910" y="1639"/>
                    </a:lnTo>
                    <a:lnTo>
                      <a:pt x="1140" y="1686"/>
                    </a:lnTo>
                    <a:lnTo>
                      <a:pt x="1398" y="1744"/>
                    </a:lnTo>
                    <a:lnTo>
                      <a:pt x="1983" y="1840"/>
                    </a:lnTo>
                    <a:lnTo>
                      <a:pt x="2653" y="1926"/>
                    </a:lnTo>
                    <a:lnTo>
                      <a:pt x="3400" y="2012"/>
                    </a:lnTo>
                    <a:lnTo>
                      <a:pt x="4224" y="2089"/>
                    </a:lnTo>
                    <a:lnTo>
                      <a:pt x="5115" y="2156"/>
                    </a:lnTo>
                    <a:lnTo>
                      <a:pt x="6073" y="2213"/>
                    </a:lnTo>
                    <a:lnTo>
                      <a:pt x="7088" y="2261"/>
                    </a:lnTo>
                    <a:lnTo>
                      <a:pt x="8161" y="2299"/>
                    </a:lnTo>
                    <a:lnTo>
                      <a:pt x="9272" y="2328"/>
                    </a:lnTo>
                    <a:lnTo>
                      <a:pt x="10421" y="2347"/>
                    </a:lnTo>
                    <a:lnTo>
                      <a:pt x="11609" y="2357"/>
                    </a:lnTo>
                    <a:lnTo>
                      <a:pt x="12796" y="2347"/>
                    </a:lnTo>
                    <a:lnTo>
                      <a:pt x="13955" y="2328"/>
                    </a:lnTo>
                    <a:lnTo>
                      <a:pt x="15066" y="2299"/>
                    </a:lnTo>
                    <a:lnTo>
                      <a:pt x="16130" y="2261"/>
                    </a:lnTo>
                    <a:lnTo>
                      <a:pt x="17145" y="2213"/>
                    </a:lnTo>
                    <a:lnTo>
                      <a:pt x="18103" y="2156"/>
                    </a:lnTo>
                    <a:lnTo>
                      <a:pt x="19003" y="2089"/>
                    </a:lnTo>
                    <a:lnTo>
                      <a:pt x="19827" y="2012"/>
                    </a:lnTo>
                    <a:lnTo>
                      <a:pt x="20574" y="1926"/>
                    </a:lnTo>
                    <a:lnTo>
                      <a:pt x="21244" y="1840"/>
                    </a:lnTo>
                    <a:lnTo>
                      <a:pt x="21829" y="1744"/>
                    </a:lnTo>
                    <a:lnTo>
                      <a:pt x="22078" y="1686"/>
                    </a:lnTo>
                    <a:lnTo>
                      <a:pt x="22317" y="1639"/>
                    </a:lnTo>
                    <a:lnTo>
                      <a:pt x="22518" y="1581"/>
                    </a:lnTo>
                    <a:lnTo>
                      <a:pt x="22700" y="1533"/>
                    </a:lnTo>
                    <a:lnTo>
                      <a:pt x="22863" y="1476"/>
                    </a:lnTo>
                    <a:lnTo>
                      <a:pt x="22987" y="1418"/>
                    </a:lnTo>
                    <a:lnTo>
                      <a:pt x="23093" y="1361"/>
                    </a:lnTo>
                    <a:lnTo>
                      <a:pt x="23169" y="1303"/>
                    </a:lnTo>
                    <a:lnTo>
                      <a:pt x="23189" y="1275"/>
                    </a:lnTo>
                    <a:lnTo>
                      <a:pt x="23208" y="1236"/>
                    </a:lnTo>
                    <a:lnTo>
                      <a:pt x="23217" y="1208"/>
                    </a:lnTo>
                    <a:lnTo>
                      <a:pt x="23227" y="1179"/>
                    </a:lnTo>
                    <a:lnTo>
                      <a:pt x="23217" y="1150"/>
                    </a:lnTo>
                    <a:lnTo>
                      <a:pt x="23208" y="1121"/>
                    </a:lnTo>
                    <a:lnTo>
                      <a:pt x="23189" y="1093"/>
                    </a:lnTo>
                    <a:lnTo>
                      <a:pt x="23169" y="1064"/>
                    </a:lnTo>
                    <a:lnTo>
                      <a:pt x="23093" y="997"/>
                    </a:lnTo>
                    <a:lnTo>
                      <a:pt x="22987" y="939"/>
                    </a:lnTo>
                    <a:lnTo>
                      <a:pt x="22863" y="882"/>
                    </a:lnTo>
                    <a:lnTo>
                      <a:pt x="22700" y="834"/>
                    </a:lnTo>
                    <a:lnTo>
                      <a:pt x="22518" y="777"/>
                    </a:lnTo>
                    <a:lnTo>
                      <a:pt x="22317" y="719"/>
                    </a:lnTo>
                    <a:lnTo>
                      <a:pt x="22078" y="671"/>
                    </a:lnTo>
                    <a:lnTo>
                      <a:pt x="21829" y="614"/>
                    </a:lnTo>
                    <a:lnTo>
                      <a:pt x="21244" y="518"/>
                    </a:lnTo>
                    <a:lnTo>
                      <a:pt x="20574" y="432"/>
                    </a:lnTo>
                    <a:lnTo>
                      <a:pt x="19827" y="346"/>
                    </a:lnTo>
                    <a:lnTo>
                      <a:pt x="19003" y="269"/>
                    </a:lnTo>
                    <a:lnTo>
                      <a:pt x="18103" y="202"/>
                    </a:lnTo>
                    <a:lnTo>
                      <a:pt x="17145" y="144"/>
                    </a:lnTo>
                    <a:lnTo>
                      <a:pt x="16130" y="97"/>
                    </a:lnTo>
                    <a:lnTo>
                      <a:pt x="15066" y="58"/>
                    </a:lnTo>
                    <a:lnTo>
                      <a:pt x="13955" y="29"/>
                    </a:lnTo>
                    <a:lnTo>
                      <a:pt x="12796" y="10"/>
                    </a:lnTo>
                    <a:lnTo>
                      <a:pt x="11609" y="1"/>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380;p31">
                <a:extLst>
                  <a:ext uri="{FF2B5EF4-FFF2-40B4-BE49-F238E27FC236}">
                    <a16:creationId xmlns:a16="http://schemas.microsoft.com/office/drawing/2014/main" id="{09FE1EA7-E7D4-4AE2-BD2F-CFD3F58E500D}"/>
                  </a:ext>
                </a:extLst>
              </p:cNvPr>
              <p:cNvSpPr/>
              <p:nvPr/>
            </p:nvSpPr>
            <p:spPr>
              <a:xfrm>
                <a:off x="457200" y="4623960"/>
                <a:ext cx="2418856" cy="108012"/>
              </a:xfrm>
              <a:custGeom>
                <a:avLst/>
                <a:gdLst/>
                <a:ahLst/>
                <a:cxnLst/>
                <a:rect l="l" t="t" r="r" b="b"/>
                <a:pathLst>
                  <a:path w="74864" h="3343" extrusionOk="0">
                    <a:moveTo>
                      <a:pt x="37432" y="0"/>
                    </a:moveTo>
                    <a:lnTo>
                      <a:pt x="33610" y="10"/>
                    </a:lnTo>
                    <a:lnTo>
                      <a:pt x="29894" y="29"/>
                    </a:lnTo>
                    <a:lnTo>
                      <a:pt x="26302" y="77"/>
                    </a:lnTo>
                    <a:lnTo>
                      <a:pt x="22864" y="134"/>
                    </a:lnTo>
                    <a:lnTo>
                      <a:pt x="19598" y="201"/>
                    </a:lnTo>
                    <a:lnTo>
                      <a:pt x="16504" y="288"/>
                    </a:lnTo>
                    <a:lnTo>
                      <a:pt x="13630" y="383"/>
                    </a:lnTo>
                    <a:lnTo>
                      <a:pt x="10968" y="489"/>
                    </a:lnTo>
                    <a:lnTo>
                      <a:pt x="8554" y="604"/>
                    </a:lnTo>
                    <a:lnTo>
                      <a:pt x="7443" y="671"/>
                    </a:lnTo>
                    <a:lnTo>
                      <a:pt x="6399" y="738"/>
                    </a:lnTo>
                    <a:lnTo>
                      <a:pt x="5422" y="805"/>
                    </a:lnTo>
                    <a:lnTo>
                      <a:pt x="4522" y="872"/>
                    </a:lnTo>
                    <a:lnTo>
                      <a:pt x="3698" y="948"/>
                    </a:lnTo>
                    <a:lnTo>
                      <a:pt x="2951" y="1025"/>
                    </a:lnTo>
                    <a:lnTo>
                      <a:pt x="2280" y="1102"/>
                    </a:lnTo>
                    <a:lnTo>
                      <a:pt x="1687" y="1178"/>
                    </a:lnTo>
                    <a:lnTo>
                      <a:pt x="1179" y="1255"/>
                    </a:lnTo>
                    <a:lnTo>
                      <a:pt x="767" y="1332"/>
                    </a:lnTo>
                    <a:lnTo>
                      <a:pt x="585" y="1379"/>
                    </a:lnTo>
                    <a:lnTo>
                      <a:pt x="432" y="1418"/>
                    </a:lnTo>
                    <a:lnTo>
                      <a:pt x="307" y="1456"/>
                    </a:lnTo>
                    <a:lnTo>
                      <a:pt x="202" y="1504"/>
                    </a:lnTo>
                    <a:lnTo>
                      <a:pt x="116" y="1542"/>
                    </a:lnTo>
                    <a:lnTo>
                      <a:pt x="58" y="1590"/>
                    </a:lnTo>
                    <a:lnTo>
                      <a:pt x="20" y="1629"/>
                    </a:lnTo>
                    <a:lnTo>
                      <a:pt x="10" y="1648"/>
                    </a:lnTo>
                    <a:lnTo>
                      <a:pt x="1" y="1676"/>
                    </a:lnTo>
                    <a:lnTo>
                      <a:pt x="10" y="1696"/>
                    </a:lnTo>
                    <a:lnTo>
                      <a:pt x="20" y="1715"/>
                    </a:lnTo>
                    <a:lnTo>
                      <a:pt x="58" y="1763"/>
                    </a:lnTo>
                    <a:lnTo>
                      <a:pt x="116" y="1801"/>
                    </a:lnTo>
                    <a:lnTo>
                      <a:pt x="202" y="1849"/>
                    </a:lnTo>
                    <a:lnTo>
                      <a:pt x="307" y="1887"/>
                    </a:lnTo>
                    <a:lnTo>
                      <a:pt x="432" y="1925"/>
                    </a:lnTo>
                    <a:lnTo>
                      <a:pt x="585" y="1973"/>
                    </a:lnTo>
                    <a:lnTo>
                      <a:pt x="767" y="2012"/>
                    </a:lnTo>
                    <a:lnTo>
                      <a:pt x="1179" y="2088"/>
                    </a:lnTo>
                    <a:lnTo>
                      <a:pt x="1687" y="2174"/>
                    </a:lnTo>
                    <a:lnTo>
                      <a:pt x="2280" y="2251"/>
                    </a:lnTo>
                    <a:lnTo>
                      <a:pt x="2951" y="2328"/>
                    </a:lnTo>
                    <a:lnTo>
                      <a:pt x="3698" y="2395"/>
                    </a:lnTo>
                    <a:lnTo>
                      <a:pt x="4522" y="2471"/>
                    </a:lnTo>
                    <a:lnTo>
                      <a:pt x="5422" y="2538"/>
                    </a:lnTo>
                    <a:lnTo>
                      <a:pt x="6399" y="2605"/>
                    </a:lnTo>
                    <a:lnTo>
                      <a:pt x="7443" y="2673"/>
                    </a:lnTo>
                    <a:lnTo>
                      <a:pt x="8554" y="2740"/>
                    </a:lnTo>
                    <a:lnTo>
                      <a:pt x="10968" y="2855"/>
                    </a:lnTo>
                    <a:lnTo>
                      <a:pt x="13630" y="2969"/>
                    </a:lnTo>
                    <a:lnTo>
                      <a:pt x="16504" y="3065"/>
                    </a:lnTo>
                    <a:lnTo>
                      <a:pt x="19598" y="3142"/>
                    </a:lnTo>
                    <a:lnTo>
                      <a:pt x="22864" y="3218"/>
                    </a:lnTo>
                    <a:lnTo>
                      <a:pt x="26302" y="3276"/>
                    </a:lnTo>
                    <a:lnTo>
                      <a:pt x="29894" y="3314"/>
                    </a:lnTo>
                    <a:lnTo>
                      <a:pt x="33610" y="3343"/>
                    </a:lnTo>
                    <a:lnTo>
                      <a:pt x="41263" y="3343"/>
                    </a:lnTo>
                    <a:lnTo>
                      <a:pt x="44980" y="3314"/>
                    </a:lnTo>
                    <a:lnTo>
                      <a:pt x="48562" y="3276"/>
                    </a:lnTo>
                    <a:lnTo>
                      <a:pt x="52000" y="3218"/>
                    </a:lnTo>
                    <a:lnTo>
                      <a:pt x="55276" y="3142"/>
                    </a:lnTo>
                    <a:lnTo>
                      <a:pt x="58360" y="3065"/>
                    </a:lnTo>
                    <a:lnTo>
                      <a:pt x="61243" y="2969"/>
                    </a:lnTo>
                    <a:lnTo>
                      <a:pt x="63906" y="2855"/>
                    </a:lnTo>
                    <a:lnTo>
                      <a:pt x="66320" y="2740"/>
                    </a:lnTo>
                    <a:lnTo>
                      <a:pt x="67431" y="2673"/>
                    </a:lnTo>
                    <a:lnTo>
                      <a:pt x="68475" y="2605"/>
                    </a:lnTo>
                    <a:lnTo>
                      <a:pt x="69442" y="2538"/>
                    </a:lnTo>
                    <a:lnTo>
                      <a:pt x="70342" y="2471"/>
                    </a:lnTo>
                    <a:lnTo>
                      <a:pt x="71176" y="2395"/>
                    </a:lnTo>
                    <a:lnTo>
                      <a:pt x="71923" y="2328"/>
                    </a:lnTo>
                    <a:lnTo>
                      <a:pt x="72593" y="2251"/>
                    </a:lnTo>
                    <a:lnTo>
                      <a:pt x="73177" y="2174"/>
                    </a:lnTo>
                    <a:lnTo>
                      <a:pt x="73685" y="2088"/>
                    </a:lnTo>
                    <a:lnTo>
                      <a:pt x="74107" y="2012"/>
                    </a:lnTo>
                    <a:lnTo>
                      <a:pt x="74279" y="1973"/>
                    </a:lnTo>
                    <a:lnTo>
                      <a:pt x="74432" y="1925"/>
                    </a:lnTo>
                    <a:lnTo>
                      <a:pt x="74566" y="1887"/>
                    </a:lnTo>
                    <a:lnTo>
                      <a:pt x="74672" y="1849"/>
                    </a:lnTo>
                    <a:lnTo>
                      <a:pt x="74758" y="1801"/>
                    </a:lnTo>
                    <a:lnTo>
                      <a:pt x="74815" y="1763"/>
                    </a:lnTo>
                    <a:lnTo>
                      <a:pt x="74854" y="1715"/>
                    </a:lnTo>
                    <a:lnTo>
                      <a:pt x="74863" y="1696"/>
                    </a:lnTo>
                    <a:lnTo>
                      <a:pt x="74863" y="1676"/>
                    </a:lnTo>
                    <a:lnTo>
                      <a:pt x="74863" y="1648"/>
                    </a:lnTo>
                    <a:lnTo>
                      <a:pt x="74854" y="1629"/>
                    </a:lnTo>
                    <a:lnTo>
                      <a:pt x="74815" y="1590"/>
                    </a:lnTo>
                    <a:lnTo>
                      <a:pt x="74758" y="1542"/>
                    </a:lnTo>
                    <a:lnTo>
                      <a:pt x="74672" y="1504"/>
                    </a:lnTo>
                    <a:lnTo>
                      <a:pt x="74566" y="1456"/>
                    </a:lnTo>
                    <a:lnTo>
                      <a:pt x="74432" y="1418"/>
                    </a:lnTo>
                    <a:lnTo>
                      <a:pt x="74279" y="1379"/>
                    </a:lnTo>
                    <a:lnTo>
                      <a:pt x="74107" y="1332"/>
                    </a:lnTo>
                    <a:lnTo>
                      <a:pt x="73685" y="1255"/>
                    </a:lnTo>
                    <a:lnTo>
                      <a:pt x="73177" y="1178"/>
                    </a:lnTo>
                    <a:lnTo>
                      <a:pt x="72593" y="1102"/>
                    </a:lnTo>
                    <a:lnTo>
                      <a:pt x="71923" y="1025"/>
                    </a:lnTo>
                    <a:lnTo>
                      <a:pt x="71176" y="948"/>
                    </a:lnTo>
                    <a:lnTo>
                      <a:pt x="70342" y="872"/>
                    </a:lnTo>
                    <a:lnTo>
                      <a:pt x="69442" y="805"/>
                    </a:lnTo>
                    <a:lnTo>
                      <a:pt x="68475" y="738"/>
                    </a:lnTo>
                    <a:lnTo>
                      <a:pt x="67431" y="671"/>
                    </a:lnTo>
                    <a:lnTo>
                      <a:pt x="66320" y="604"/>
                    </a:lnTo>
                    <a:lnTo>
                      <a:pt x="63906" y="489"/>
                    </a:lnTo>
                    <a:lnTo>
                      <a:pt x="61243" y="383"/>
                    </a:lnTo>
                    <a:lnTo>
                      <a:pt x="58360" y="288"/>
                    </a:lnTo>
                    <a:lnTo>
                      <a:pt x="55276" y="201"/>
                    </a:lnTo>
                    <a:lnTo>
                      <a:pt x="52000" y="134"/>
                    </a:lnTo>
                    <a:lnTo>
                      <a:pt x="48562" y="77"/>
                    </a:lnTo>
                    <a:lnTo>
                      <a:pt x="44980" y="29"/>
                    </a:lnTo>
                    <a:lnTo>
                      <a:pt x="41263" y="10"/>
                    </a:lnTo>
                    <a:lnTo>
                      <a:pt x="37432" y="0"/>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1381;p31">
                <a:extLst>
                  <a:ext uri="{FF2B5EF4-FFF2-40B4-BE49-F238E27FC236}">
                    <a16:creationId xmlns:a16="http://schemas.microsoft.com/office/drawing/2014/main" id="{4E92D508-2D1E-4291-8FB4-F7BD970BBFB3}"/>
                  </a:ext>
                </a:extLst>
              </p:cNvPr>
              <p:cNvSpPr/>
              <p:nvPr/>
            </p:nvSpPr>
            <p:spPr>
              <a:xfrm>
                <a:off x="3469009" y="1322450"/>
                <a:ext cx="113925" cy="200580"/>
              </a:xfrm>
              <a:custGeom>
                <a:avLst/>
                <a:gdLst/>
                <a:ahLst/>
                <a:cxnLst/>
                <a:rect l="l" t="t" r="r" b="b"/>
                <a:pathLst>
                  <a:path w="3526" h="6208" extrusionOk="0">
                    <a:moveTo>
                      <a:pt x="1447" y="1"/>
                    </a:moveTo>
                    <a:lnTo>
                      <a:pt x="1390" y="10"/>
                    </a:lnTo>
                    <a:lnTo>
                      <a:pt x="1351" y="30"/>
                    </a:lnTo>
                    <a:lnTo>
                      <a:pt x="1303" y="68"/>
                    </a:lnTo>
                    <a:lnTo>
                      <a:pt x="1275" y="106"/>
                    </a:lnTo>
                    <a:lnTo>
                      <a:pt x="1236" y="164"/>
                    </a:lnTo>
                    <a:lnTo>
                      <a:pt x="1208" y="231"/>
                    </a:lnTo>
                    <a:lnTo>
                      <a:pt x="1179" y="298"/>
                    </a:lnTo>
                    <a:lnTo>
                      <a:pt x="1131" y="461"/>
                    </a:lnTo>
                    <a:lnTo>
                      <a:pt x="1093" y="623"/>
                    </a:lnTo>
                    <a:lnTo>
                      <a:pt x="1074" y="796"/>
                    </a:lnTo>
                    <a:lnTo>
                      <a:pt x="1064" y="959"/>
                    </a:lnTo>
                    <a:lnTo>
                      <a:pt x="1074" y="1131"/>
                    </a:lnTo>
                    <a:lnTo>
                      <a:pt x="1083" y="1294"/>
                    </a:lnTo>
                    <a:lnTo>
                      <a:pt x="1112" y="1457"/>
                    </a:lnTo>
                    <a:lnTo>
                      <a:pt x="1150" y="1620"/>
                    </a:lnTo>
                    <a:lnTo>
                      <a:pt x="1198" y="1782"/>
                    </a:lnTo>
                    <a:lnTo>
                      <a:pt x="1265" y="1984"/>
                    </a:lnTo>
                    <a:lnTo>
                      <a:pt x="1323" y="2204"/>
                    </a:lnTo>
                    <a:lnTo>
                      <a:pt x="1380" y="2424"/>
                    </a:lnTo>
                    <a:lnTo>
                      <a:pt x="1418" y="2635"/>
                    </a:lnTo>
                    <a:lnTo>
                      <a:pt x="1428" y="2826"/>
                    </a:lnTo>
                    <a:lnTo>
                      <a:pt x="1428" y="2922"/>
                    </a:lnTo>
                    <a:lnTo>
                      <a:pt x="1428" y="2999"/>
                    </a:lnTo>
                    <a:lnTo>
                      <a:pt x="1409" y="3075"/>
                    </a:lnTo>
                    <a:lnTo>
                      <a:pt x="1380" y="3133"/>
                    </a:lnTo>
                    <a:lnTo>
                      <a:pt x="1351" y="3190"/>
                    </a:lnTo>
                    <a:lnTo>
                      <a:pt x="1303" y="3229"/>
                    </a:lnTo>
                    <a:lnTo>
                      <a:pt x="1256" y="3248"/>
                    </a:lnTo>
                    <a:lnTo>
                      <a:pt x="1198" y="3248"/>
                    </a:lnTo>
                    <a:lnTo>
                      <a:pt x="1131" y="3229"/>
                    </a:lnTo>
                    <a:lnTo>
                      <a:pt x="1054" y="3200"/>
                    </a:lnTo>
                    <a:lnTo>
                      <a:pt x="978" y="3162"/>
                    </a:lnTo>
                    <a:lnTo>
                      <a:pt x="892" y="3104"/>
                    </a:lnTo>
                    <a:lnTo>
                      <a:pt x="738" y="2989"/>
                    </a:lnTo>
                    <a:lnTo>
                      <a:pt x="585" y="2865"/>
                    </a:lnTo>
                    <a:lnTo>
                      <a:pt x="461" y="2750"/>
                    </a:lnTo>
                    <a:lnTo>
                      <a:pt x="346" y="2635"/>
                    </a:lnTo>
                    <a:lnTo>
                      <a:pt x="298" y="2616"/>
                    </a:lnTo>
                    <a:lnTo>
                      <a:pt x="202" y="2577"/>
                    </a:lnTo>
                    <a:lnTo>
                      <a:pt x="145" y="2568"/>
                    </a:lnTo>
                    <a:lnTo>
                      <a:pt x="87" y="2558"/>
                    </a:lnTo>
                    <a:lnTo>
                      <a:pt x="39" y="2568"/>
                    </a:lnTo>
                    <a:lnTo>
                      <a:pt x="20" y="2587"/>
                    </a:lnTo>
                    <a:lnTo>
                      <a:pt x="1" y="2597"/>
                    </a:lnTo>
                    <a:lnTo>
                      <a:pt x="39" y="2874"/>
                    </a:lnTo>
                    <a:lnTo>
                      <a:pt x="68" y="3028"/>
                    </a:lnTo>
                    <a:lnTo>
                      <a:pt x="116" y="3171"/>
                    </a:lnTo>
                    <a:lnTo>
                      <a:pt x="183" y="3315"/>
                    </a:lnTo>
                    <a:lnTo>
                      <a:pt x="259" y="3449"/>
                    </a:lnTo>
                    <a:lnTo>
                      <a:pt x="355" y="3574"/>
                    </a:lnTo>
                    <a:lnTo>
                      <a:pt x="451" y="3688"/>
                    </a:lnTo>
                    <a:lnTo>
                      <a:pt x="576" y="3794"/>
                    </a:lnTo>
                    <a:lnTo>
                      <a:pt x="700" y="3880"/>
                    </a:lnTo>
                    <a:lnTo>
                      <a:pt x="710" y="3890"/>
                    </a:lnTo>
                    <a:lnTo>
                      <a:pt x="1198" y="4196"/>
                    </a:lnTo>
                    <a:lnTo>
                      <a:pt x="1370" y="4321"/>
                    </a:lnTo>
                    <a:lnTo>
                      <a:pt x="1524" y="4455"/>
                    </a:lnTo>
                    <a:lnTo>
                      <a:pt x="1677" y="4598"/>
                    </a:lnTo>
                    <a:lnTo>
                      <a:pt x="1802" y="4761"/>
                    </a:lnTo>
                    <a:lnTo>
                      <a:pt x="1926" y="4924"/>
                    </a:lnTo>
                    <a:lnTo>
                      <a:pt x="2031" y="5106"/>
                    </a:lnTo>
                    <a:lnTo>
                      <a:pt x="2118" y="5298"/>
                    </a:lnTo>
                    <a:lnTo>
                      <a:pt x="2185" y="5499"/>
                    </a:lnTo>
                    <a:lnTo>
                      <a:pt x="2405" y="6208"/>
                    </a:lnTo>
                    <a:lnTo>
                      <a:pt x="3526" y="6064"/>
                    </a:lnTo>
                    <a:lnTo>
                      <a:pt x="3353" y="4665"/>
                    </a:lnTo>
                    <a:lnTo>
                      <a:pt x="3344" y="4311"/>
                    </a:lnTo>
                    <a:lnTo>
                      <a:pt x="3315" y="3938"/>
                    </a:lnTo>
                    <a:lnTo>
                      <a:pt x="3286" y="3487"/>
                    </a:lnTo>
                    <a:lnTo>
                      <a:pt x="3238" y="2999"/>
                    </a:lnTo>
                    <a:lnTo>
                      <a:pt x="3181" y="2539"/>
                    </a:lnTo>
                    <a:lnTo>
                      <a:pt x="3142" y="2319"/>
                    </a:lnTo>
                    <a:lnTo>
                      <a:pt x="3095" y="2127"/>
                    </a:lnTo>
                    <a:lnTo>
                      <a:pt x="3047" y="1955"/>
                    </a:lnTo>
                    <a:lnTo>
                      <a:pt x="2999" y="1811"/>
                    </a:lnTo>
                    <a:lnTo>
                      <a:pt x="2884" y="1572"/>
                    </a:lnTo>
                    <a:lnTo>
                      <a:pt x="2721" y="1275"/>
                    </a:lnTo>
                    <a:lnTo>
                      <a:pt x="2529" y="959"/>
                    </a:lnTo>
                    <a:lnTo>
                      <a:pt x="2424" y="805"/>
                    </a:lnTo>
                    <a:lnTo>
                      <a:pt x="2319" y="643"/>
                    </a:lnTo>
                    <a:lnTo>
                      <a:pt x="2204" y="499"/>
                    </a:lnTo>
                    <a:lnTo>
                      <a:pt x="2089" y="365"/>
                    </a:lnTo>
                    <a:lnTo>
                      <a:pt x="1974" y="250"/>
                    </a:lnTo>
                    <a:lnTo>
                      <a:pt x="1849" y="145"/>
                    </a:lnTo>
                    <a:lnTo>
                      <a:pt x="1734" y="68"/>
                    </a:lnTo>
                    <a:lnTo>
                      <a:pt x="1677" y="39"/>
                    </a:lnTo>
                    <a:lnTo>
                      <a:pt x="1620" y="20"/>
                    </a:lnTo>
                    <a:lnTo>
                      <a:pt x="1562" y="10"/>
                    </a:lnTo>
                    <a:lnTo>
                      <a:pt x="1505"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382;p31">
                <a:extLst>
                  <a:ext uri="{FF2B5EF4-FFF2-40B4-BE49-F238E27FC236}">
                    <a16:creationId xmlns:a16="http://schemas.microsoft.com/office/drawing/2014/main" id="{52A83221-A4BF-4B89-A4A7-509887BDABD3}"/>
                  </a:ext>
                </a:extLst>
              </p:cNvPr>
              <p:cNvSpPr/>
              <p:nvPr/>
            </p:nvSpPr>
            <p:spPr>
              <a:xfrm>
                <a:off x="2254644" y="1641228"/>
                <a:ext cx="103392" cy="205524"/>
              </a:xfrm>
              <a:custGeom>
                <a:avLst/>
                <a:gdLst/>
                <a:ahLst/>
                <a:cxnLst/>
                <a:rect l="l" t="t" r="r" b="b"/>
                <a:pathLst>
                  <a:path w="3200" h="6361" extrusionOk="0">
                    <a:moveTo>
                      <a:pt x="604" y="0"/>
                    </a:moveTo>
                    <a:lnTo>
                      <a:pt x="546" y="20"/>
                    </a:lnTo>
                    <a:lnTo>
                      <a:pt x="498" y="39"/>
                    </a:lnTo>
                    <a:lnTo>
                      <a:pt x="451" y="77"/>
                    </a:lnTo>
                    <a:lnTo>
                      <a:pt x="412" y="115"/>
                    </a:lnTo>
                    <a:lnTo>
                      <a:pt x="364" y="163"/>
                    </a:lnTo>
                    <a:lnTo>
                      <a:pt x="326" y="211"/>
                    </a:lnTo>
                    <a:lnTo>
                      <a:pt x="259" y="336"/>
                    </a:lnTo>
                    <a:lnTo>
                      <a:pt x="202" y="479"/>
                    </a:lnTo>
                    <a:lnTo>
                      <a:pt x="144" y="633"/>
                    </a:lnTo>
                    <a:lnTo>
                      <a:pt x="106" y="805"/>
                    </a:lnTo>
                    <a:lnTo>
                      <a:pt x="77" y="987"/>
                    </a:lnTo>
                    <a:lnTo>
                      <a:pt x="48" y="1178"/>
                    </a:lnTo>
                    <a:lnTo>
                      <a:pt x="29" y="1370"/>
                    </a:lnTo>
                    <a:lnTo>
                      <a:pt x="0" y="1734"/>
                    </a:lnTo>
                    <a:lnTo>
                      <a:pt x="0" y="2069"/>
                    </a:lnTo>
                    <a:lnTo>
                      <a:pt x="10" y="2337"/>
                    </a:lnTo>
                    <a:lnTo>
                      <a:pt x="20" y="2491"/>
                    </a:lnTo>
                    <a:lnTo>
                      <a:pt x="58" y="2663"/>
                    </a:lnTo>
                    <a:lnTo>
                      <a:pt x="115" y="2855"/>
                    </a:lnTo>
                    <a:lnTo>
                      <a:pt x="173" y="3065"/>
                    </a:lnTo>
                    <a:lnTo>
                      <a:pt x="336" y="3506"/>
                    </a:lnTo>
                    <a:lnTo>
                      <a:pt x="518" y="3956"/>
                    </a:lnTo>
                    <a:lnTo>
                      <a:pt x="690" y="4368"/>
                    </a:lnTo>
                    <a:lnTo>
                      <a:pt x="843" y="4713"/>
                    </a:lnTo>
                    <a:lnTo>
                      <a:pt x="997" y="5029"/>
                    </a:lnTo>
                    <a:lnTo>
                      <a:pt x="1485" y="6360"/>
                    </a:lnTo>
                    <a:lnTo>
                      <a:pt x="2548" y="5968"/>
                    </a:lnTo>
                    <a:lnTo>
                      <a:pt x="2414" y="5240"/>
                    </a:lnTo>
                    <a:lnTo>
                      <a:pt x="2385" y="5029"/>
                    </a:lnTo>
                    <a:lnTo>
                      <a:pt x="2376" y="4818"/>
                    </a:lnTo>
                    <a:lnTo>
                      <a:pt x="2385" y="4607"/>
                    </a:lnTo>
                    <a:lnTo>
                      <a:pt x="2414" y="4406"/>
                    </a:lnTo>
                    <a:lnTo>
                      <a:pt x="2462" y="4205"/>
                    </a:lnTo>
                    <a:lnTo>
                      <a:pt x="2519" y="4004"/>
                    </a:lnTo>
                    <a:lnTo>
                      <a:pt x="2606" y="3812"/>
                    </a:lnTo>
                    <a:lnTo>
                      <a:pt x="2701" y="3630"/>
                    </a:lnTo>
                    <a:lnTo>
                      <a:pt x="2989" y="3132"/>
                    </a:lnTo>
                    <a:lnTo>
                      <a:pt x="2998" y="3123"/>
                    </a:lnTo>
                    <a:lnTo>
                      <a:pt x="3065" y="2979"/>
                    </a:lnTo>
                    <a:lnTo>
                      <a:pt x="3123" y="2835"/>
                    </a:lnTo>
                    <a:lnTo>
                      <a:pt x="3161" y="2692"/>
                    </a:lnTo>
                    <a:lnTo>
                      <a:pt x="3190" y="2539"/>
                    </a:lnTo>
                    <a:lnTo>
                      <a:pt x="3199" y="2385"/>
                    </a:lnTo>
                    <a:lnTo>
                      <a:pt x="3190" y="2232"/>
                    </a:lnTo>
                    <a:lnTo>
                      <a:pt x="3161" y="2079"/>
                    </a:lnTo>
                    <a:lnTo>
                      <a:pt x="3123" y="1926"/>
                    </a:lnTo>
                    <a:lnTo>
                      <a:pt x="3027" y="1657"/>
                    </a:lnTo>
                    <a:lnTo>
                      <a:pt x="2979" y="1657"/>
                    </a:lnTo>
                    <a:lnTo>
                      <a:pt x="2931" y="1667"/>
                    </a:lnTo>
                    <a:lnTo>
                      <a:pt x="2883" y="1696"/>
                    </a:lnTo>
                    <a:lnTo>
                      <a:pt x="2836" y="1734"/>
                    </a:lnTo>
                    <a:lnTo>
                      <a:pt x="2768" y="1811"/>
                    </a:lnTo>
                    <a:lnTo>
                      <a:pt x="2740" y="1849"/>
                    </a:lnTo>
                    <a:lnTo>
                      <a:pt x="2692" y="2002"/>
                    </a:lnTo>
                    <a:lnTo>
                      <a:pt x="2634" y="2165"/>
                    </a:lnTo>
                    <a:lnTo>
                      <a:pt x="2558" y="2347"/>
                    </a:lnTo>
                    <a:lnTo>
                      <a:pt x="2462" y="2529"/>
                    </a:lnTo>
                    <a:lnTo>
                      <a:pt x="2414" y="2606"/>
                    </a:lnTo>
                    <a:lnTo>
                      <a:pt x="2366" y="2682"/>
                    </a:lnTo>
                    <a:lnTo>
                      <a:pt x="2318" y="2740"/>
                    </a:lnTo>
                    <a:lnTo>
                      <a:pt x="2261" y="2788"/>
                    </a:lnTo>
                    <a:lnTo>
                      <a:pt x="2213" y="2816"/>
                    </a:lnTo>
                    <a:lnTo>
                      <a:pt x="2155" y="2816"/>
                    </a:lnTo>
                    <a:lnTo>
                      <a:pt x="2098" y="2807"/>
                    </a:lnTo>
                    <a:lnTo>
                      <a:pt x="2050" y="2778"/>
                    </a:lnTo>
                    <a:lnTo>
                      <a:pt x="1993" y="2730"/>
                    </a:lnTo>
                    <a:lnTo>
                      <a:pt x="1945" y="2673"/>
                    </a:lnTo>
                    <a:lnTo>
                      <a:pt x="1906" y="2606"/>
                    </a:lnTo>
                    <a:lnTo>
                      <a:pt x="1859" y="2519"/>
                    </a:lnTo>
                    <a:lnTo>
                      <a:pt x="1791" y="2337"/>
                    </a:lnTo>
                    <a:lnTo>
                      <a:pt x="1724" y="2136"/>
                    </a:lnTo>
                    <a:lnTo>
                      <a:pt x="1667" y="1916"/>
                    </a:lnTo>
                    <a:lnTo>
                      <a:pt x="1629" y="1696"/>
                    </a:lnTo>
                    <a:lnTo>
                      <a:pt x="1590" y="1485"/>
                    </a:lnTo>
                    <a:lnTo>
                      <a:pt x="1562" y="1322"/>
                    </a:lnTo>
                    <a:lnTo>
                      <a:pt x="1514" y="1159"/>
                    </a:lnTo>
                    <a:lnTo>
                      <a:pt x="1466" y="996"/>
                    </a:lnTo>
                    <a:lnTo>
                      <a:pt x="1399" y="843"/>
                    </a:lnTo>
                    <a:lnTo>
                      <a:pt x="1332" y="700"/>
                    </a:lnTo>
                    <a:lnTo>
                      <a:pt x="1246" y="546"/>
                    </a:lnTo>
                    <a:lnTo>
                      <a:pt x="1150" y="412"/>
                    </a:lnTo>
                    <a:lnTo>
                      <a:pt x="1044" y="278"/>
                    </a:lnTo>
                    <a:lnTo>
                      <a:pt x="929" y="163"/>
                    </a:lnTo>
                    <a:lnTo>
                      <a:pt x="872" y="106"/>
                    </a:lnTo>
                    <a:lnTo>
                      <a:pt x="815" y="67"/>
                    </a:lnTo>
                    <a:lnTo>
                      <a:pt x="757" y="29"/>
                    </a:lnTo>
                    <a:lnTo>
                      <a:pt x="700" y="10"/>
                    </a:lnTo>
                    <a:lnTo>
                      <a:pt x="652"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383;p31">
                <a:extLst>
                  <a:ext uri="{FF2B5EF4-FFF2-40B4-BE49-F238E27FC236}">
                    <a16:creationId xmlns:a16="http://schemas.microsoft.com/office/drawing/2014/main" id="{EBD3001A-791F-484D-B00E-2F8760C70FF7}"/>
                  </a:ext>
                </a:extLst>
              </p:cNvPr>
              <p:cNvSpPr/>
              <p:nvPr/>
            </p:nvSpPr>
            <p:spPr>
              <a:xfrm>
                <a:off x="2172025" y="3395345"/>
                <a:ext cx="43037" cy="379416"/>
              </a:xfrm>
              <a:custGeom>
                <a:avLst/>
                <a:gdLst/>
                <a:ahLst/>
                <a:cxnLst/>
                <a:rect l="l" t="t" r="r" b="b"/>
                <a:pathLst>
                  <a:path w="1332" h="11743" extrusionOk="0">
                    <a:moveTo>
                      <a:pt x="594" y="0"/>
                    </a:moveTo>
                    <a:lnTo>
                      <a:pt x="536" y="10"/>
                    </a:lnTo>
                    <a:lnTo>
                      <a:pt x="469" y="29"/>
                    </a:lnTo>
                    <a:lnTo>
                      <a:pt x="412" y="48"/>
                    </a:lnTo>
                    <a:lnTo>
                      <a:pt x="354" y="77"/>
                    </a:lnTo>
                    <a:lnTo>
                      <a:pt x="297" y="115"/>
                    </a:lnTo>
                    <a:lnTo>
                      <a:pt x="239" y="153"/>
                    </a:lnTo>
                    <a:lnTo>
                      <a:pt x="201" y="192"/>
                    </a:lnTo>
                    <a:lnTo>
                      <a:pt x="153" y="240"/>
                    </a:lnTo>
                    <a:lnTo>
                      <a:pt x="115" y="287"/>
                    </a:lnTo>
                    <a:lnTo>
                      <a:pt x="86" y="345"/>
                    </a:lnTo>
                    <a:lnTo>
                      <a:pt x="58" y="402"/>
                    </a:lnTo>
                    <a:lnTo>
                      <a:pt x="29" y="469"/>
                    </a:lnTo>
                    <a:lnTo>
                      <a:pt x="19" y="527"/>
                    </a:lnTo>
                    <a:lnTo>
                      <a:pt x="10" y="594"/>
                    </a:lnTo>
                    <a:lnTo>
                      <a:pt x="0" y="661"/>
                    </a:lnTo>
                    <a:lnTo>
                      <a:pt x="0" y="11072"/>
                    </a:lnTo>
                    <a:lnTo>
                      <a:pt x="10" y="11139"/>
                    </a:lnTo>
                    <a:lnTo>
                      <a:pt x="19" y="11207"/>
                    </a:lnTo>
                    <a:lnTo>
                      <a:pt x="29" y="11274"/>
                    </a:lnTo>
                    <a:lnTo>
                      <a:pt x="58" y="11331"/>
                    </a:lnTo>
                    <a:lnTo>
                      <a:pt x="86" y="11389"/>
                    </a:lnTo>
                    <a:lnTo>
                      <a:pt x="115" y="11446"/>
                    </a:lnTo>
                    <a:lnTo>
                      <a:pt x="153" y="11494"/>
                    </a:lnTo>
                    <a:lnTo>
                      <a:pt x="201" y="11542"/>
                    </a:lnTo>
                    <a:lnTo>
                      <a:pt x="239" y="11590"/>
                    </a:lnTo>
                    <a:lnTo>
                      <a:pt x="297" y="11628"/>
                    </a:lnTo>
                    <a:lnTo>
                      <a:pt x="354" y="11657"/>
                    </a:lnTo>
                    <a:lnTo>
                      <a:pt x="412" y="11685"/>
                    </a:lnTo>
                    <a:lnTo>
                      <a:pt x="469" y="11714"/>
                    </a:lnTo>
                    <a:lnTo>
                      <a:pt x="536" y="11724"/>
                    </a:lnTo>
                    <a:lnTo>
                      <a:pt x="594" y="11733"/>
                    </a:lnTo>
                    <a:lnTo>
                      <a:pt x="671" y="11743"/>
                    </a:lnTo>
                    <a:lnTo>
                      <a:pt x="738" y="11733"/>
                    </a:lnTo>
                    <a:lnTo>
                      <a:pt x="805" y="11724"/>
                    </a:lnTo>
                    <a:lnTo>
                      <a:pt x="862" y="11714"/>
                    </a:lnTo>
                    <a:lnTo>
                      <a:pt x="929" y="11685"/>
                    </a:lnTo>
                    <a:lnTo>
                      <a:pt x="987" y="11657"/>
                    </a:lnTo>
                    <a:lnTo>
                      <a:pt x="1034" y="11628"/>
                    </a:lnTo>
                    <a:lnTo>
                      <a:pt x="1092" y="11590"/>
                    </a:lnTo>
                    <a:lnTo>
                      <a:pt x="1140" y="11542"/>
                    </a:lnTo>
                    <a:lnTo>
                      <a:pt x="1178" y="11494"/>
                    </a:lnTo>
                    <a:lnTo>
                      <a:pt x="1216" y="11446"/>
                    </a:lnTo>
                    <a:lnTo>
                      <a:pt x="1245" y="11389"/>
                    </a:lnTo>
                    <a:lnTo>
                      <a:pt x="1274" y="11331"/>
                    </a:lnTo>
                    <a:lnTo>
                      <a:pt x="1303" y="11274"/>
                    </a:lnTo>
                    <a:lnTo>
                      <a:pt x="1312" y="11207"/>
                    </a:lnTo>
                    <a:lnTo>
                      <a:pt x="1322" y="11139"/>
                    </a:lnTo>
                    <a:lnTo>
                      <a:pt x="1331" y="11072"/>
                    </a:lnTo>
                    <a:lnTo>
                      <a:pt x="1331" y="661"/>
                    </a:lnTo>
                    <a:lnTo>
                      <a:pt x="1322" y="594"/>
                    </a:lnTo>
                    <a:lnTo>
                      <a:pt x="1312" y="527"/>
                    </a:lnTo>
                    <a:lnTo>
                      <a:pt x="1303" y="469"/>
                    </a:lnTo>
                    <a:lnTo>
                      <a:pt x="1274" y="402"/>
                    </a:lnTo>
                    <a:lnTo>
                      <a:pt x="1245" y="345"/>
                    </a:lnTo>
                    <a:lnTo>
                      <a:pt x="1216" y="287"/>
                    </a:lnTo>
                    <a:lnTo>
                      <a:pt x="1178" y="240"/>
                    </a:lnTo>
                    <a:lnTo>
                      <a:pt x="1140" y="192"/>
                    </a:lnTo>
                    <a:lnTo>
                      <a:pt x="1092" y="153"/>
                    </a:lnTo>
                    <a:lnTo>
                      <a:pt x="1034" y="115"/>
                    </a:lnTo>
                    <a:lnTo>
                      <a:pt x="987" y="77"/>
                    </a:lnTo>
                    <a:lnTo>
                      <a:pt x="929" y="48"/>
                    </a:lnTo>
                    <a:lnTo>
                      <a:pt x="862" y="29"/>
                    </a:lnTo>
                    <a:lnTo>
                      <a:pt x="805" y="10"/>
                    </a:lnTo>
                    <a:lnTo>
                      <a:pt x="738" y="0"/>
                    </a:lnTo>
                    <a:close/>
                  </a:path>
                </a:pathLst>
              </a:custGeom>
              <a:solidFill>
                <a:srgbClr val="696E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384;p31">
                <a:extLst>
                  <a:ext uri="{FF2B5EF4-FFF2-40B4-BE49-F238E27FC236}">
                    <a16:creationId xmlns:a16="http://schemas.microsoft.com/office/drawing/2014/main" id="{1AE56305-816D-4F71-AB94-9A2CCECA50B7}"/>
                  </a:ext>
                </a:extLst>
              </p:cNvPr>
              <p:cNvSpPr/>
              <p:nvPr/>
            </p:nvSpPr>
            <p:spPr>
              <a:xfrm>
                <a:off x="1896900" y="3021187"/>
                <a:ext cx="587073" cy="543454"/>
              </a:xfrm>
              <a:custGeom>
                <a:avLst/>
                <a:gdLst/>
                <a:ahLst/>
                <a:cxnLst/>
                <a:rect l="l" t="t" r="r" b="b"/>
                <a:pathLst>
                  <a:path w="18170" h="16820" extrusionOk="0">
                    <a:moveTo>
                      <a:pt x="2912" y="0"/>
                    </a:moveTo>
                    <a:lnTo>
                      <a:pt x="2759" y="10"/>
                    </a:lnTo>
                    <a:lnTo>
                      <a:pt x="2615" y="19"/>
                    </a:lnTo>
                    <a:lnTo>
                      <a:pt x="2471" y="39"/>
                    </a:lnTo>
                    <a:lnTo>
                      <a:pt x="2328" y="58"/>
                    </a:lnTo>
                    <a:lnTo>
                      <a:pt x="2184" y="96"/>
                    </a:lnTo>
                    <a:lnTo>
                      <a:pt x="2050" y="134"/>
                    </a:lnTo>
                    <a:lnTo>
                      <a:pt x="1906" y="182"/>
                    </a:lnTo>
                    <a:lnTo>
                      <a:pt x="1782" y="230"/>
                    </a:lnTo>
                    <a:lnTo>
                      <a:pt x="1648" y="288"/>
                    </a:lnTo>
                    <a:lnTo>
                      <a:pt x="1523" y="355"/>
                    </a:lnTo>
                    <a:lnTo>
                      <a:pt x="1399" y="422"/>
                    </a:lnTo>
                    <a:lnTo>
                      <a:pt x="1284" y="498"/>
                    </a:lnTo>
                    <a:lnTo>
                      <a:pt x="1169" y="584"/>
                    </a:lnTo>
                    <a:lnTo>
                      <a:pt x="1063" y="671"/>
                    </a:lnTo>
                    <a:lnTo>
                      <a:pt x="958" y="757"/>
                    </a:lnTo>
                    <a:lnTo>
                      <a:pt x="853" y="853"/>
                    </a:lnTo>
                    <a:lnTo>
                      <a:pt x="757" y="958"/>
                    </a:lnTo>
                    <a:lnTo>
                      <a:pt x="661" y="1063"/>
                    </a:lnTo>
                    <a:lnTo>
                      <a:pt x="575" y="1169"/>
                    </a:lnTo>
                    <a:lnTo>
                      <a:pt x="498" y="1284"/>
                    </a:lnTo>
                    <a:lnTo>
                      <a:pt x="422" y="1408"/>
                    </a:lnTo>
                    <a:lnTo>
                      <a:pt x="355" y="1523"/>
                    </a:lnTo>
                    <a:lnTo>
                      <a:pt x="287" y="1648"/>
                    </a:lnTo>
                    <a:lnTo>
                      <a:pt x="230" y="1782"/>
                    </a:lnTo>
                    <a:lnTo>
                      <a:pt x="173" y="1916"/>
                    </a:lnTo>
                    <a:lnTo>
                      <a:pt x="134" y="2050"/>
                    </a:lnTo>
                    <a:lnTo>
                      <a:pt x="86" y="2184"/>
                    </a:lnTo>
                    <a:lnTo>
                      <a:pt x="58" y="2328"/>
                    </a:lnTo>
                    <a:lnTo>
                      <a:pt x="29" y="2471"/>
                    </a:lnTo>
                    <a:lnTo>
                      <a:pt x="10" y="2615"/>
                    </a:lnTo>
                    <a:lnTo>
                      <a:pt x="0" y="2768"/>
                    </a:lnTo>
                    <a:lnTo>
                      <a:pt x="0" y="2912"/>
                    </a:lnTo>
                    <a:lnTo>
                      <a:pt x="0" y="13908"/>
                    </a:lnTo>
                    <a:lnTo>
                      <a:pt x="0" y="14051"/>
                    </a:lnTo>
                    <a:lnTo>
                      <a:pt x="10" y="14205"/>
                    </a:lnTo>
                    <a:lnTo>
                      <a:pt x="29" y="14348"/>
                    </a:lnTo>
                    <a:lnTo>
                      <a:pt x="58" y="14492"/>
                    </a:lnTo>
                    <a:lnTo>
                      <a:pt x="86" y="14636"/>
                    </a:lnTo>
                    <a:lnTo>
                      <a:pt x="134" y="14770"/>
                    </a:lnTo>
                    <a:lnTo>
                      <a:pt x="173" y="14904"/>
                    </a:lnTo>
                    <a:lnTo>
                      <a:pt x="230" y="15038"/>
                    </a:lnTo>
                    <a:lnTo>
                      <a:pt x="287" y="15162"/>
                    </a:lnTo>
                    <a:lnTo>
                      <a:pt x="355" y="15296"/>
                    </a:lnTo>
                    <a:lnTo>
                      <a:pt x="422" y="15411"/>
                    </a:lnTo>
                    <a:lnTo>
                      <a:pt x="498" y="15536"/>
                    </a:lnTo>
                    <a:lnTo>
                      <a:pt x="575" y="15651"/>
                    </a:lnTo>
                    <a:lnTo>
                      <a:pt x="661" y="15756"/>
                    </a:lnTo>
                    <a:lnTo>
                      <a:pt x="757" y="15862"/>
                    </a:lnTo>
                    <a:lnTo>
                      <a:pt x="853" y="15967"/>
                    </a:lnTo>
                    <a:lnTo>
                      <a:pt x="958" y="16063"/>
                    </a:lnTo>
                    <a:lnTo>
                      <a:pt x="1063" y="16149"/>
                    </a:lnTo>
                    <a:lnTo>
                      <a:pt x="1169" y="16235"/>
                    </a:lnTo>
                    <a:lnTo>
                      <a:pt x="1284" y="16321"/>
                    </a:lnTo>
                    <a:lnTo>
                      <a:pt x="1399" y="16398"/>
                    </a:lnTo>
                    <a:lnTo>
                      <a:pt x="1523" y="16465"/>
                    </a:lnTo>
                    <a:lnTo>
                      <a:pt x="1648" y="16532"/>
                    </a:lnTo>
                    <a:lnTo>
                      <a:pt x="1782" y="16589"/>
                    </a:lnTo>
                    <a:lnTo>
                      <a:pt x="1906" y="16637"/>
                    </a:lnTo>
                    <a:lnTo>
                      <a:pt x="2050" y="16685"/>
                    </a:lnTo>
                    <a:lnTo>
                      <a:pt x="2184" y="16724"/>
                    </a:lnTo>
                    <a:lnTo>
                      <a:pt x="2328" y="16762"/>
                    </a:lnTo>
                    <a:lnTo>
                      <a:pt x="2471" y="16781"/>
                    </a:lnTo>
                    <a:lnTo>
                      <a:pt x="2615" y="16800"/>
                    </a:lnTo>
                    <a:lnTo>
                      <a:pt x="2759" y="16810"/>
                    </a:lnTo>
                    <a:lnTo>
                      <a:pt x="2912" y="16819"/>
                    </a:lnTo>
                    <a:lnTo>
                      <a:pt x="15258" y="16819"/>
                    </a:lnTo>
                    <a:lnTo>
                      <a:pt x="15411" y="16810"/>
                    </a:lnTo>
                    <a:lnTo>
                      <a:pt x="15555" y="16800"/>
                    </a:lnTo>
                    <a:lnTo>
                      <a:pt x="15708" y="16781"/>
                    </a:lnTo>
                    <a:lnTo>
                      <a:pt x="15842" y="16762"/>
                    </a:lnTo>
                    <a:lnTo>
                      <a:pt x="15986" y="16724"/>
                    </a:lnTo>
                    <a:lnTo>
                      <a:pt x="16130" y="16685"/>
                    </a:lnTo>
                    <a:lnTo>
                      <a:pt x="16264" y="16637"/>
                    </a:lnTo>
                    <a:lnTo>
                      <a:pt x="16398" y="16589"/>
                    </a:lnTo>
                    <a:lnTo>
                      <a:pt x="16522" y="16532"/>
                    </a:lnTo>
                    <a:lnTo>
                      <a:pt x="16647" y="16465"/>
                    </a:lnTo>
                    <a:lnTo>
                      <a:pt x="16771" y="16398"/>
                    </a:lnTo>
                    <a:lnTo>
                      <a:pt x="16886" y="16321"/>
                    </a:lnTo>
                    <a:lnTo>
                      <a:pt x="17001" y="16235"/>
                    </a:lnTo>
                    <a:lnTo>
                      <a:pt x="17116" y="16149"/>
                    </a:lnTo>
                    <a:lnTo>
                      <a:pt x="17222" y="16063"/>
                    </a:lnTo>
                    <a:lnTo>
                      <a:pt x="17317" y="15967"/>
                    </a:lnTo>
                    <a:lnTo>
                      <a:pt x="17413" y="15862"/>
                    </a:lnTo>
                    <a:lnTo>
                      <a:pt x="17509" y="15756"/>
                    </a:lnTo>
                    <a:lnTo>
                      <a:pt x="17595" y="15651"/>
                    </a:lnTo>
                    <a:lnTo>
                      <a:pt x="17672" y="15536"/>
                    </a:lnTo>
                    <a:lnTo>
                      <a:pt x="17748" y="15411"/>
                    </a:lnTo>
                    <a:lnTo>
                      <a:pt x="17825" y="15296"/>
                    </a:lnTo>
                    <a:lnTo>
                      <a:pt x="17882" y="15162"/>
                    </a:lnTo>
                    <a:lnTo>
                      <a:pt x="17940" y="15038"/>
                    </a:lnTo>
                    <a:lnTo>
                      <a:pt x="17997" y="14904"/>
                    </a:lnTo>
                    <a:lnTo>
                      <a:pt x="18045" y="14770"/>
                    </a:lnTo>
                    <a:lnTo>
                      <a:pt x="18084" y="14636"/>
                    </a:lnTo>
                    <a:lnTo>
                      <a:pt x="18112" y="14492"/>
                    </a:lnTo>
                    <a:lnTo>
                      <a:pt x="18141" y="14348"/>
                    </a:lnTo>
                    <a:lnTo>
                      <a:pt x="18160" y="14205"/>
                    </a:lnTo>
                    <a:lnTo>
                      <a:pt x="18170" y="14051"/>
                    </a:lnTo>
                    <a:lnTo>
                      <a:pt x="18170" y="13908"/>
                    </a:lnTo>
                    <a:lnTo>
                      <a:pt x="18170" y="2912"/>
                    </a:lnTo>
                    <a:lnTo>
                      <a:pt x="18170" y="2768"/>
                    </a:lnTo>
                    <a:lnTo>
                      <a:pt x="18160" y="2615"/>
                    </a:lnTo>
                    <a:lnTo>
                      <a:pt x="18141" y="2471"/>
                    </a:lnTo>
                    <a:lnTo>
                      <a:pt x="18112" y="2328"/>
                    </a:lnTo>
                    <a:lnTo>
                      <a:pt x="18084" y="2184"/>
                    </a:lnTo>
                    <a:lnTo>
                      <a:pt x="18045" y="2050"/>
                    </a:lnTo>
                    <a:lnTo>
                      <a:pt x="17997" y="1916"/>
                    </a:lnTo>
                    <a:lnTo>
                      <a:pt x="17940" y="1782"/>
                    </a:lnTo>
                    <a:lnTo>
                      <a:pt x="17882" y="1648"/>
                    </a:lnTo>
                    <a:lnTo>
                      <a:pt x="17825" y="1523"/>
                    </a:lnTo>
                    <a:lnTo>
                      <a:pt x="17748" y="1408"/>
                    </a:lnTo>
                    <a:lnTo>
                      <a:pt x="17672" y="1284"/>
                    </a:lnTo>
                    <a:lnTo>
                      <a:pt x="17595" y="1169"/>
                    </a:lnTo>
                    <a:lnTo>
                      <a:pt x="17509" y="1063"/>
                    </a:lnTo>
                    <a:lnTo>
                      <a:pt x="17413" y="958"/>
                    </a:lnTo>
                    <a:lnTo>
                      <a:pt x="17317" y="853"/>
                    </a:lnTo>
                    <a:lnTo>
                      <a:pt x="17222" y="757"/>
                    </a:lnTo>
                    <a:lnTo>
                      <a:pt x="17116" y="671"/>
                    </a:lnTo>
                    <a:lnTo>
                      <a:pt x="17001" y="584"/>
                    </a:lnTo>
                    <a:lnTo>
                      <a:pt x="16886" y="498"/>
                    </a:lnTo>
                    <a:lnTo>
                      <a:pt x="16771" y="422"/>
                    </a:lnTo>
                    <a:lnTo>
                      <a:pt x="16647" y="355"/>
                    </a:lnTo>
                    <a:lnTo>
                      <a:pt x="16522" y="288"/>
                    </a:lnTo>
                    <a:lnTo>
                      <a:pt x="16398" y="230"/>
                    </a:lnTo>
                    <a:lnTo>
                      <a:pt x="16264" y="182"/>
                    </a:lnTo>
                    <a:lnTo>
                      <a:pt x="16130" y="134"/>
                    </a:lnTo>
                    <a:lnTo>
                      <a:pt x="15986" y="96"/>
                    </a:lnTo>
                    <a:lnTo>
                      <a:pt x="15842" y="58"/>
                    </a:lnTo>
                    <a:lnTo>
                      <a:pt x="15708" y="39"/>
                    </a:lnTo>
                    <a:lnTo>
                      <a:pt x="15555" y="19"/>
                    </a:lnTo>
                    <a:lnTo>
                      <a:pt x="15411" y="10"/>
                    </a:lnTo>
                    <a:lnTo>
                      <a:pt x="15258" y="0"/>
                    </a:lnTo>
                    <a:close/>
                  </a:path>
                </a:pathLst>
              </a:custGeom>
              <a:solidFill>
                <a:srgbClr val="D469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385;p31">
                <a:extLst>
                  <a:ext uri="{FF2B5EF4-FFF2-40B4-BE49-F238E27FC236}">
                    <a16:creationId xmlns:a16="http://schemas.microsoft.com/office/drawing/2014/main" id="{ECFBFE1A-3BDB-4D68-A890-8ABC6C522BC5}"/>
                  </a:ext>
                </a:extLst>
              </p:cNvPr>
              <p:cNvSpPr/>
              <p:nvPr/>
            </p:nvSpPr>
            <p:spPr>
              <a:xfrm>
                <a:off x="1899969" y="2961767"/>
                <a:ext cx="587105" cy="543454"/>
              </a:xfrm>
              <a:custGeom>
                <a:avLst/>
                <a:gdLst/>
                <a:ahLst/>
                <a:cxnLst/>
                <a:rect l="l" t="t" r="r" b="b"/>
                <a:pathLst>
                  <a:path w="18171" h="16820" extrusionOk="0">
                    <a:moveTo>
                      <a:pt x="2913" y="0"/>
                    </a:moveTo>
                    <a:lnTo>
                      <a:pt x="2759" y="10"/>
                    </a:lnTo>
                    <a:lnTo>
                      <a:pt x="2616" y="19"/>
                    </a:lnTo>
                    <a:lnTo>
                      <a:pt x="2472" y="39"/>
                    </a:lnTo>
                    <a:lnTo>
                      <a:pt x="2328" y="58"/>
                    </a:lnTo>
                    <a:lnTo>
                      <a:pt x="2185" y="96"/>
                    </a:lnTo>
                    <a:lnTo>
                      <a:pt x="2051" y="134"/>
                    </a:lnTo>
                    <a:lnTo>
                      <a:pt x="1907" y="182"/>
                    </a:lnTo>
                    <a:lnTo>
                      <a:pt x="1782" y="230"/>
                    </a:lnTo>
                    <a:lnTo>
                      <a:pt x="1648" y="288"/>
                    </a:lnTo>
                    <a:lnTo>
                      <a:pt x="1524" y="355"/>
                    </a:lnTo>
                    <a:lnTo>
                      <a:pt x="1399" y="422"/>
                    </a:lnTo>
                    <a:lnTo>
                      <a:pt x="1284" y="498"/>
                    </a:lnTo>
                    <a:lnTo>
                      <a:pt x="1169" y="584"/>
                    </a:lnTo>
                    <a:lnTo>
                      <a:pt x="1064" y="671"/>
                    </a:lnTo>
                    <a:lnTo>
                      <a:pt x="959" y="757"/>
                    </a:lnTo>
                    <a:lnTo>
                      <a:pt x="853" y="853"/>
                    </a:lnTo>
                    <a:lnTo>
                      <a:pt x="758" y="958"/>
                    </a:lnTo>
                    <a:lnTo>
                      <a:pt x="662" y="1063"/>
                    </a:lnTo>
                    <a:lnTo>
                      <a:pt x="576" y="1169"/>
                    </a:lnTo>
                    <a:lnTo>
                      <a:pt x="499" y="1284"/>
                    </a:lnTo>
                    <a:lnTo>
                      <a:pt x="422" y="1408"/>
                    </a:lnTo>
                    <a:lnTo>
                      <a:pt x="355" y="1523"/>
                    </a:lnTo>
                    <a:lnTo>
                      <a:pt x="288" y="1648"/>
                    </a:lnTo>
                    <a:lnTo>
                      <a:pt x="231" y="1782"/>
                    </a:lnTo>
                    <a:lnTo>
                      <a:pt x="173" y="1916"/>
                    </a:lnTo>
                    <a:lnTo>
                      <a:pt x="135" y="2050"/>
                    </a:lnTo>
                    <a:lnTo>
                      <a:pt x="87" y="2184"/>
                    </a:lnTo>
                    <a:lnTo>
                      <a:pt x="58" y="2328"/>
                    </a:lnTo>
                    <a:lnTo>
                      <a:pt x="30" y="2471"/>
                    </a:lnTo>
                    <a:lnTo>
                      <a:pt x="10" y="2615"/>
                    </a:lnTo>
                    <a:lnTo>
                      <a:pt x="1" y="2768"/>
                    </a:lnTo>
                    <a:lnTo>
                      <a:pt x="1" y="2912"/>
                    </a:lnTo>
                    <a:lnTo>
                      <a:pt x="1" y="13908"/>
                    </a:lnTo>
                    <a:lnTo>
                      <a:pt x="1" y="14051"/>
                    </a:lnTo>
                    <a:lnTo>
                      <a:pt x="10" y="14205"/>
                    </a:lnTo>
                    <a:lnTo>
                      <a:pt x="30" y="14348"/>
                    </a:lnTo>
                    <a:lnTo>
                      <a:pt x="58" y="14492"/>
                    </a:lnTo>
                    <a:lnTo>
                      <a:pt x="87" y="14636"/>
                    </a:lnTo>
                    <a:lnTo>
                      <a:pt x="135" y="14770"/>
                    </a:lnTo>
                    <a:lnTo>
                      <a:pt x="173" y="14904"/>
                    </a:lnTo>
                    <a:lnTo>
                      <a:pt x="231" y="15038"/>
                    </a:lnTo>
                    <a:lnTo>
                      <a:pt x="288" y="15172"/>
                    </a:lnTo>
                    <a:lnTo>
                      <a:pt x="355" y="15296"/>
                    </a:lnTo>
                    <a:lnTo>
                      <a:pt x="422" y="15411"/>
                    </a:lnTo>
                    <a:lnTo>
                      <a:pt x="499" y="15536"/>
                    </a:lnTo>
                    <a:lnTo>
                      <a:pt x="576" y="15651"/>
                    </a:lnTo>
                    <a:lnTo>
                      <a:pt x="662" y="15756"/>
                    </a:lnTo>
                    <a:lnTo>
                      <a:pt x="758" y="15862"/>
                    </a:lnTo>
                    <a:lnTo>
                      <a:pt x="853" y="15967"/>
                    </a:lnTo>
                    <a:lnTo>
                      <a:pt x="959" y="16063"/>
                    </a:lnTo>
                    <a:lnTo>
                      <a:pt x="1064" y="16149"/>
                    </a:lnTo>
                    <a:lnTo>
                      <a:pt x="1169" y="16235"/>
                    </a:lnTo>
                    <a:lnTo>
                      <a:pt x="1284" y="16321"/>
                    </a:lnTo>
                    <a:lnTo>
                      <a:pt x="1399" y="16398"/>
                    </a:lnTo>
                    <a:lnTo>
                      <a:pt x="1524" y="16465"/>
                    </a:lnTo>
                    <a:lnTo>
                      <a:pt x="1648" y="16532"/>
                    </a:lnTo>
                    <a:lnTo>
                      <a:pt x="1782" y="16589"/>
                    </a:lnTo>
                    <a:lnTo>
                      <a:pt x="1907" y="16637"/>
                    </a:lnTo>
                    <a:lnTo>
                      <a:pt x="2051" y="16685"/>
                    </a:lnTo>
                    <a:lnTo>
                      <a:pt x="2185" y="16724"/>
                    </a:lnTo>
                    <a:lnTo>
                      <a:pt x="2328" y="16762"/>
                    </a:lnTo>
                    <a:lnTo>
                      <a:pt x="2472" y="16781"/>
                    </a:lnTo>
                    <a:lnTo>
                      <a:pt x="2616" y="16800"/>
                    </a:lnTo>
                    <a:lnTo>
                      <a:pt x="2759" y="16810"/>
                    </a:lnTo>
                    <a:lnTo>
                      <a:pt x="2913" y="16819"/>
                    </a:lnTo>
                    <a:lnTo>
                      <a:pt x="15259" y="16819"/>
                    </a:lnTo>
                    <a:lnTo>
                      <a:pt x="15412" y="16810"/>
                    </a:lnTo>
                    <a:lnTo>
                      <a:pt x="15556" y="16800"/>
                    </a:lnTo>
                    <a:lnTo>
                      <a:pt x="15709" y="16781"/>
                    </a:lnTo>
                    <a:lnTo>
                      <a:pt x="15843" y="16762"/>
                    </a:lnTo>
                    <a:lnTo>
                      <a:pt x="15987" y="16724"/>
                    </a:lnTo>
                    <a:lnTo>
                      <a:pt x="16130" y="16685"/>
                    </a:lnTo>
                    <a:lnTo>
                      <a:pt x="16264" y="16637"/>
                    </a:lnTo>
                    <a:lnTo>
                      <a:pt x="16399" y="16589"/>
                    </a:lnTo>
                    <a:lnTo>
                      <a:pt x="16523" y="16532"/>
                    </a:lnTo>
                    <a:lnTo>
                      <a:pt x="16648" y="16465"/>
                    </a:lnTo>
                    <a:lnTo>
                      <a:pt x="16772" y="16398"/>
                    </a:lnTo>
                    <a:lnTo>
                      <a:pt x="16887" y="16321"/>
                    </a:lnTo>
                    <a:lnTo>
                      <a:pt x="17002" y="16235"/>
                    </a:lnTo>
                    <a:lnTo>
                      <a:pt x="17117" y="16149"/>
                    </a:lnTo>
                    <a:lnTo>
                      <a:pt x="17222" y="16063"/>
                    </a:lnTo>
                    <a:lnTo>
                      <a:pt x="17318" y="15967"/>
                    </a:lnTo>
                    <a:lnTo>
                      <a:pt x="17414" y="15862"/>
                    </a:lnTo>
                    <a:lnTo>
                      <a:pt x="17510" y="15756"/>
                    </a:lnTo>
                    <a:lnTo>
                      <a:pt x="17596" y="15651"/>
                    </a:lnTo>
                    <a:lnTo>
                      <a:pt x="17672" y="15536"/>
                    </a:lnTo>
                    <a:lnTo>
                      <a:pt x="17749" y="15411"/>
                    </a:lnTo>
                    <a:lnTo>
                      <a:pt x="17826" y="15296"/>
                    </a:lnTo>
                    <a:lnTo>
                      <a:pt x="17883" y="15172"/>
                    </a:lnTo>
                    <a:lnTo>
                      <a:pt x="17941" y="15038"/>
                    </a:lnTo>
                    <a:lnTo>
                      <a:pt x="17998" y="14904"/>
                    </a:lnTo>
                    <a:lnTo>
                      <a:pt x="18046" y="14770"/>
                    </a:lnTo>
                    <a:lnTo>
                      <a:pt x="18084" y="14636"/>
                    </a:lnTo>
                    <a:lnTo>
                      <a:pt x="18113" y="14492"/>
                    </a:lnTo>
                    <a:lnTo>
                      <a:pt x="18142" y="14348"/>
                    </a:lnTo>
                    <a:lnTo>
                      <a:pt x="18161" y="14205"/>
                    </a:lnTo>
                    <a:lnTo>
                      <a:pt x="18171" y="14051"/>
                    </a:lnTo>
                    <a:lnTo>
                      <a:pt x="18171" y="13908"/>
                    </a:lnTo>
                    <a:lnTo>
                      <a:pt x="18171" y="2912"/>
                    </a:lnTo>
                    <a:lnTo>
                      <a:pt x="18171" y="2768"/>
                    </a:lnTo>
                    <a:lnTo>
                      <a:pt x="18161" y="2615"/>
                    </a:lnTo>
                    <a:lnTo>
                      <a:pt x="18142" y="2471"/>
                    </a:lnTo>
                    <a:lnTo>
                      <a:pt x="18113" y="2328"/>
                    </a:lnTo>
                    <a:lnTo>
                      <a:pt x="18084" y="2184"/>
                    </a:lnTo>
                    <a:lnTo>
                      <a:pt x="18046" y="2050"/>
                    </a:lnTo>
                    <a:lnTo>
                      <a:pt x="17998" y="1916"/>
                    </a:lnTo>
                    <a:lnTo>
                      <a:pt x="17941" y="1782"/>
                    </a:lnTo>
                    <a:lnTo>
                      <a:pt x="17883" y="1648"/>
                    </a:lnTo>
                    <a:lnTo>
                      <a:pt x="17826" y="1523"/>
                    </a:lnTo>
                    <a:lnTo>
                      <a:pt x="17749" y="1408"/>
                    </a:lnTo>
                    <a:lnTo>
                      <a:pt x="17672" y="1284"/>
                    </a:lnTo>
                    <a:lnTo>
                      <a:pt x="17596" y="1169"/>
                    </a:lnTo>
                    <a:lnTo>
                      <a:pt x="17510" y="1063"/>
                    </a:lnTo>
                    <a:lnTo>
                      <a:pt x="17414" y="958"/>
                    </a:lnTo>
                    <a:lnTo>
                      <a:pt x="17318" y="853"/>
                    </a:lnTo>
                    <a:lnTo>
                      <a:pt x="17222" y="757"/>
                    </a:lnTo>
                    <a:lnTo>
                      <a:pt x="17117" y="671"/>
                    </a:lnTo>
                    <a:lnTo>
                      <a:pt x="17002" y="584"/>
                    </a:lnTo>
                    <a:lnTo>
                      <a:pt x="16887" y="498"/>
                    </a:lnTo>
                    <a:lnTo>
                      <a:pt x="16772" y="422"/>
                    </a:lnTo>
                    <a:lnTo>
                      <a:pt x="16648" y="355"/>
                    </a:lnTo>
                    <a:lnTo>
                      <a:pt x="16523" y="288"/>
                    </a:lnTo>
                    <a:lnTo>
                      <a:pt x="16399" y="230"/>
                    </a:lnTo>
                    <a:lnTo>
                      <a:pt x="16264" y="182"/>
                    </a:lnTo>
                    <a:lnTo>
                      <a:pt x="16130" y="134"/>
                    </a:lnTo>
                    <a:lnTo>
                      <a:pt x="15987" y="96"/>
                    </a:lnTo>
                    <a:lnTo>
                      <a:pt x="15843" y="58"/>
                    </a:lnTo>
                    <a:lnTo>
                      <a:pt x="15709" y="39"/>
                    </a:lnTo>
                    <a:lnTo>
                      <a:pt x="15556" y="19"/>
                    </a:lnTo>
                    <a:lnTo>
                      <a:pt x="15412" y="10"/>
                    </a:lnTo>
                    <a:lnTo>
                      <a:pt x="1525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386;p31">
                <a:extLst>
                  <a:ext uri="{FF2B5EF4-FFF2-40B4-BE49-F238E27FC236}">
                    <a16:creationId xmlns:a16="http://schemas.microsoft.com/office/drawing/2014/main" id="{12E3E74F-3445-4F8E-A222-1FF1A0351586}"/>
                  </a:ext>
                </a:extLst>
              </p:cNvPr>
              <p:cNvSpPr/>
              <p:nvPr/>
            </p:nvSpPr>
            <p:spPr>
              <a:xfrm>
                <a:off x="1826624" y="3809116"/>
                <a:ext cx="727589" cy="48303"/>
              </a:xfrm>
              <a:custGeom>
                <a:avLst/>
                <a:gdLst/>
                <a:ahLst/>
                <a:cxnLst/>
                <a:rect l="l" t="t" r="r" b="b"/>
                <a:pathLst>
                  <a:path w="22519" h="1495" extrusionOk="0">
                    <a:moveTo>
                      <a:pt x="1" y="0"/>
                    </a:moveTo>
                    <a:lnTo>
                      <a:pt x="1" y="450"/>
                    </a:lnTo>
                    <a:lnTo>
                      <a:pt x="10" y="556"/>
                    </a:lnTo>
                    <a:lnTo>
                      <a:pt x="20" y="661"/>
                    </a:lnTo>
                    <a:lnTo>
                      <a:pt x="49" y="757"/>
                    </a:lnTo>
                    <a:lnTo>
                      <a:pt x="87" y="853"/>
                    </a:lnTo>
                    <a:lnTo>
                      <a:pt x="125" y="948"/>
                    </a:lnTo>
                    <a:lnTo>
                      <a:pt x="183" y="1035"/>
                    </a:lnTo>
                    <a:lnTo>
                      <a:pt x="240" y="1111"/>
                    </a:lnTo>
                    <a:lnTo>
                      <a:pt x="307" y="1188"/>
                    </a:lnTo>
                    <a:lnTo>
                      <a:pt x="384" y="1255"/>
                    </a:lnTo>
                    <a:lnTo>
                      <a:pt x="461" y="1312"/>
                    </a:lnTo>
                    <a:lnTo>
                      <a:pt x="547" y="1370"/>
                    </a:lnTo>
                    <a:lnTo>
                      <a:pt x="633" y="1408"/>
                    </a:lnTo>
                    <a:lnTo>
                      <a:pt x="729" y="1446"/>
                    </a:lnTo>
                    <a:lnTo>
                      <a:pt x="834" y="1475"/>
                    </a:lnTo>
                    <a:lnTo>
                      <a:pt x="930" y="1485"/>
                    </a:lnTo>
                    <a:lnTo>
                      <a:pt x="1045" y="1494"/>
                    </a:lnTo>
                    <a:lnTo>
                      <a:pt x="21485" y="1494"/>
                    </a:lnTo>
                    <a:lnTo>
                      <a:pt x="21590" y="1485"/>
                    </a:lnTo>
                    <a:lnTo>
                      <a:pt x="21686" y="1475"/>
                    </a:lnTo>
                    <a:lnTo>
                      <a:pt x="21791" y="1446"/>
                    </a:lnTo>
                    <a:lnTo>
                      <a:pt x="21887" y="1408"/>
                    </a:lnTo>
                    <a:lnTo>
                      <a:pt x="21973" y="1370"/>
                    </a:lnTo>
                    <a:lnTo>
                      <a:pt x="22059" y="1312"/>
                    </a:lnTo>
                    <a:lnTo>
                      <a:pt x="22145" y="1255"/>
                    </a:lnTo>
                    <a:lnTo>
                      <a:pt x="22212" y="1188"/>
                    </a:lnTo>
                    <a:lnTo>
                      <a:pt x="22280" y="1111"/>
                    </a:lnTo>
                    <a:lnTo>
                      <a:pt x="22347" y="1035"/>
                    </a:lnTo>
                    <a:lnTo>
                      <a:pt x="22394" y="948"/>
                    </a:lnTo>
                    <a:lnTo>
                      <a:pt x="22442" y="853"/>
                    </a:lnTo>
                    <a:lnTo>
                      <a:pt x="22471" y="757"/>
                    </a:lnTo>
                    <a:lnTo>
                      <a:pt x="22500" y="661"/>
                    </a:lnTo>
                    <a:lnTo>
                      <a:pt x="22519" y="556"/>
                    </a:lnTo>
                    <a:lnTo>
                      <a:pt x="22519" y="450"/>
                    </a:lnTo>
                    <a:lnTo>
                      <a:pt x="22519" y="0"/>
                    </a:lnTo>
                    <a:close/>
                  </a:path>
                </a:pathLst>
              </a:custGeom>
              <a:solidFill>
                <a:srgbClr val="696E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387;p31">
                <a:extLst>
                  <a:ext uri="{FF2B5EF4-FFF2-40B4-BE49-F238E27FC236}">
                    <a16:creationId xmlns:a16="http://schemas.microsoft.com/office/drawing/2014/main" id="{DF7B032D-7FF8-41E7-87FB-681C8666DFD4}"/>
                  </a:ext>
                </a:extLst>
              </p:cNvPr>
              <p:cNvSpPr/>
              <p:nvPr/>
            </p:nvSpPr>
            <p:spPr>
              <a:xfrm>
                <a:off x="2165208" y="3829213"/>
                <a:ext cx="52342" cy="756700"/>
              </a:xfrm>
              <a:custGeom>
                <a:avLst/>
                <a:gdLst/>
                <a:ahLst/>
                <a:cxnLst/>
                <a:rect l="l" t="t" r="r" b="b"/>
                <a:pathLst>
                  <a:path w="1620" h="23420" extrusionOk="0">
                    <a:moveTo>
                      <a:pt x="0" y="1"/>
                    </a:moveTo>
                    <a:lnTo>
                      <a:pt x="0" y="23419"/>
                    </a:lnTo>
                    <a:lnTo>
                      <a:pt x="1619" y="23419"/>
                    </a:lnTo>
                    <a:lnTo>
                      <a:pt x="1619" y="1"/>
                    </a:lnTo>
                    <a:close/>
                  </a:path>
                </a:pathLst>
              </a:custGeom>
              <a:solidFill>
                <a:srgbClr val="959D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388;p31">
                <a:extLst>
                  <a:ext uri="{FF2B5EF4-FFF2-40B4-BE49-F238E27FC236}">
                    <a16:creationId xmlns:a16="http://schemas.microsoft.com/office/drawing/2014/main" id="{80272F62-3797-4E06-BB96-2D42F979A8CF}"/>
                  </a:ext>
                </a:extLst>
              </p:cNvPr>
              <p:cNvSpPr/>
              <p:nvPr/>
            </p:nvSpPr>
            <p:spPr>
              <a:xfrm>
                <a:off x="1946723" y="4506963"/>
                <a:ext cx="494246" cy="132180"/>
              </a:xfrm>
              <a:custGeom>
                <a:avLst/>
                <a:gdLst/>
                <a:ahLst/>
                <a:cxnLst/>
                <a:rect l="l" t="t" r="r" b="b"/>
                <a:pathLst>
                  <a:path w="15297" h="4091" extrusionOk="0">
                    <a:moveTo>
                      <a:pt x="3879" y="1"/>
                    </a:moveTo>
                    <a:lnTo>
                      <a:pt x="3678" y="20"/>
                    </a:lnTo>
                    <a:lnTo>
                      <a:pt x="3467" y="49"/>
                    </a:lnTo>
                    <a:lnTo>
                      <a:pt x="3266" y="87"/>
                    </a:lnTo>
                    <a:lnTo>
                      <a:pt x="3065" y="125"/>
                    </a:lnTo>
                    <a:lnTo>
                      <a:pt x="2874" y="183"/>
                    </a:lnTo>
                    <a:lnTo>
                      <a:pt x="2682" y="250"/>
                    </a:lnTo>
                    <a:lnTo>
                      <a:pt x="2500" y="326"/>
                    </a:lnTo>
                    <a:lnTo>
                      <a:pt x="2318" y="403"/>
                    </a:lnTo>
                    <a:lnTo>
                      <a:pt x="2146" y="499"/>
                    </a:lnTo>
                    <a:lnTo>
                      <a:pt x="1973" y="595"/>
                    </a:lnTo>
                    <a:lnTo>
                      <a:pt x="1801" y="700"/>
                    </a:lnTo>
                    <a:lnTo>
                      <a:pt x="1648" y="815"/>
                    </a:lnTo>
                    <a:lnTo>
                      <a:pt x="1485" y="939"/>
                    </a:lnTo>
                    <a:lnTo>
                      <a:pt x="1341" y="1064"/>
                    </a:lnTo>
                    <a:lnTo>
                      <a:pt x="1197" y="1198"/>
                    </a:lnTo>
                    <a:lnTo>
                      <a:pt x="1063" y="1342"/>
                    </a:lnTo>
                    <a:lnTo>
                      <a:pt x="929" y="1495"/>
                    </a:lnTo>
                    <a:lnTo>
                      <a:pt x="814" y="1648"/>
                    </a:lnTo>
                    <a:lnTo>
                      <a:pt x="699" y="1811"/>
                    </a:lnTo>
                    <a:lnTo>
                      <a:pt x="594" y="1974"/>
                    </a:lnTo>
                    <a:lnTo>
                      <a:pt x="489" y="2146"/>
                    </a:lnTo>
                    <a:lnTo>
                      <a:pt x="402" y="2319"/>
                    </a:lnTo>
                    <a:lnTo>
                      <a:pt x="316" y="2501"/>
                    </a:lnTo>
                    <a:lnTo>
                      <a:pt x="249" y="2692"/>
                    </a:lnTo>
                    <a:lnTo>
                      <a:pt x="182" y="2874"/>
                    </a:lnTo>
                    <a:lnTo>
                      <a:pt x="125" y="3075"/>
                    </a:lnTo>
                    <a:lnTo>
                      <a:pt x="77" y="3267"/>
                    </a:lnTo>
                    <a:lnTo>
                      <a:pt x="48" y="3468"/>
                    </a:lnTo>
                    <a:lnTo>
                      <a:pt x="19" y="3679"/>
                    </a:lnTo>
                    <a:lnTo>
                      <a:pt x="0" y="3880"/>
                    </a:lnTo>
                    <a:lnTo>
                      <a:pt x="0" y="4091"/>
                    </a:lnTo>
                    <a:lnTo>
                      <a:pt x="1169" y="4091"/>
                    </a:lnTo>
                    <a:lnTo>
                      <a:pt x="1178" y="3947"/>
                    </a:lnTo>
                    <a:lnTo>
                      <a:pt x="1188" y="3794"/>
                    </a:lnTo>
                    <a:lnTo>
                      <a:pt x="1207" y="3650"/>
                    </a:lnTo>
                    <a:lnTo>
                      <a:pt x="1236" y="3506"/>
                    </a:lnTo>
                    <a:lnTo>
                      <a:pt x="1264" y="3363"/>
                    </a:lnTo>
                    <a:lnTo>
                      <a:pt x="1303" y="3229"/>
                    </a:lnTo>
                    <a:lnTo>
                      <a:pt x="1351" y="3094"/>
                    </a:lnTo>
                    <a:lnTo>
                      <a:pt x="1399" y="2960"/>
                    </a:lnTo>
                    <a:lnTo>
                      <a:pt x="1466" y="2826"/>
                    </a:lnTo>
                    <a:lnTo>
                      <a:pt x="1523" y="2702"/>
                    </a:lnTo>
                    <a:lnTo>
                      <a:pt x="1600" y="2577"/>
                    </a:lnTo>
                    <a:lnTo>
                      <a:pt x="1676" y="2462"/>
                    </a:lnTo>
                    <a:lnTo>
                      <a:pt x="1753" y="2347"/>
                    </a:lnTo>
                    <a:lnTo>
                      <a:pt x="1839" y="2242"/>
                    </a:lnTo>
                    <a:lnTo>
                      <a:pt x="1935" y="2137"/>
                    </a:lnTo>
                    <a:lnTo>
                      <a:pt x="2031" y="2031"/>
                    </a:lnTo>
                    <a:lnTo>
                      <a:pt x="2127" y="1935"/>
                    </a:lnTo>
                    <a:lnTo>
                      <a:pt x="2232" y="1840"/>
                    </a:lnTo>
                    <a:lnTo>
                      <a:pt x="2347" y="1754"/>
                    </a:lnTo>
                    <a:lnTo>
                      <a:pt x="2462" y="1677"/>
                    </a:lnTo>
                    <a:lnTo>
                      <a:pt x="2577" y="1600"/>
                    </a:lnTo>
                    <a:lnTo>
                      <a:pt x="2701" y="1524"/>
                    </a:lnTo>
                    <a:lnTo>
                      <a:pt x="2826" y="1466"/>
                    </a:lnTo>
                    <a:lnTo>
                      <a:pt x="2960" y="1409"/>
                    </a:lnTo>
                    <a:lnTo>
                      <a:pt x="3094" y="1351"/>
                    </a:lnTo>
                    <a:lnTo>
                      <a:pt x="3228" y="1303"/>
                    </a:lnTo>
                    <a:lnTo>
                      <a:pt x="3362" y="1265"/>
                    </a:lnTo>
                    <a:lnTo>
                      <a:pt x="3506" y="1236"/>
                    </a:lnTo>
                    <a:lnTo>
                      <a:pt x="3649" y="1208"/>
                    </a:lnTo>
                    <a:lnTo>
                      <a:pt x="3793" y="1188"/>
                    </a:lnTo>
                    <a:lnTo>
                      <a:pt x="3946" y="1179"/>
                    </a:lnTo>
                    <a:lnTo>
                      <a:pt x="11350" y="1179"/>
                    </a:lnTo>
                    <a:lnTo>
                      <a:pt x="11494" y="1188"/>
                    </a:lnTo>
                    <a:lnTo>
                      <a:pt x="11638" y="1208"/>
                    </a:lnTo>
                    <a:lnTo>
                      <a:pt x="11781" y="1236"/>
                    </a:lnTo>
                    <a:lnTo>
                      <a:pt x="11925" y="1265"/>
                    </a:lnTo>
                    <a:lnTo>
                      <a:pt x="12069" y="1303"/>
                    </a:lnTo>
                    <a:lnTo>
                      <a:pt x="12203" y="1351"/>
                    </a:lnTo>
                    <a:lnTo>
                      <a:pt x="12337" y="1409"/>
                    </a:lnTo>
                    <a:lnTo>
                      <a:pt x="12461" y="1466"/>
                    </a:lnTo>
                    <a:lnTo>
                      <a:pt x="12586" y="1524"/>
                    </a:lnTo>
                    <a:lnTo>
                      <a:pt x="12710" y="1600"/>
                    </a:lnTo>
                    <a:lnTo>
                      <a:pt x="12825" y="1677"/>
                    </a:lnTo>
                    <a:lnTo>
                      <a:pt x="12940" y="1754"/>
                    </a:lnTo>
                    <a:lnTo>
                      <a:pt x="13055" y="1840"/>
                    </a:lnTo>
                    <a:lnTo>
                      <a:pt x="13160" y="1935"/>
                    </a:lnTo>
                    <a:lnTo>
                      <a:pt x="13256" y="2031"/>
                    </a:lnTo>
                    <a:lnTo>
                      <a:pt x="13362" y="2137"/>
                    </a:lnTo>
                    <a:lnTo>
                      <a:pt x="13448" y="2242"/>
                    </a:lnTo>
                    <a:lnTo>
                      <a:pt x="13534" y="2347"/>
                    </a:lnTo>
                    <a:lnTo>
                      <a:pt x="13620" y="2462"/>
                    </a:lnTo>
                    <a:lnTo>
                      <a:pt x="13697" y="2577"/>
                    </a:lnTo>
                    <a:lnTo>
                      <a:pt x="13764" y="2702"/>
                    </a:lnTo>
                    <a:lnTo>
                      <a:pt x="13831" y="2826"/>
                    </a:lnTo>
                    <a:lnTo>
                      <a:pt x="13888" y="2960"/>
                    </a:lnTo>
                    <a:lnTo>
                      <a:pt x="13936" y="3094"/>
                    </a:lnTo>
                    <a:lnTo>
                      <a:pt x="13984" y="3229"/>
                    </a:lnTo>
                    <a:lnTo>
                      <a:pt x="14023" y="3363"/>
                    </a:lnTo>
                    <a:lnTo>
                      <a:pt x="14061" y="3506"/>
                    </a:lnTo>
                    <a:lnTo>
                      <a:pt x="14080" y="3650"/>
                    </a:lnTo>
                    <a:lnTo>
                      <a:pt x="14099" y="3794"/>
                    </a:lnTo>
                    <a:lnTo>
                      <a:pt x="14109" y="3947"/>
                    </a:lnTo>
                    <a:lnTo>
                      <a:pt x="14118" y="4091"/>
                    </a:lnTo>
                    <a:lnTo>
                      <a:pt x="15296" y="4091"/>
                    </a:lnTo>
                    <a:lnTo>
                      <a:pt x="15287" y="3880"/>
                    </a:lnTo>
                    <a:lnTo>
                      <a:pt x="15268" y="3679"/>
                    </a:lnTo>
                    <a:lnTo>
                      <a:pt x="15249" y="3468"/>
                    </a:lnTo>
                    <a:lnTo>
                      <a:pt x="15210" y="3267"/>
                    </a:lnTo>
                    <a:lnTo>
                      <a:pt x="15162" y="3075"/>
                    </a:lnTo>
                    <a:lnTo>
                      <a:pt x="15105" y="2874"/>
                    </a:lnTo>
                    <a:lnTo>
                      <a:pt x="15047" y="2692"/>
                    </a:lnTo>
                    <a:lnTo>
                      <a:pt x="14971" y="2501"/>
                    </a:lnTo>
                    <a:lnTo>
                      <a:pt x="14885" y="2319"/>
                    </a:lnTo>
                    <a:lnTo>
                      <a:pt x="14798" y="2146"/>
                    </a:lnTo>
                    <a:lnTo>
                      <a:pt x="14703" y="1974"/>
                    </a:lnTo>
                    <a:lnTo>
                      <a:pt x="14588" y="1811"/>
                    </a:lnTo>
                    <a:lnTo>
                      <a:pt x="14473" y="1648"/>
                    </a:lnTo>
                    <a:lnTo>
                      <a:pt x="14358" y="1495"/>
                    </a:lnTo>
                    <a:lnTo>
                      <a:pt x="14224" y="1342"/>
                    </a:lnTo>
                    <a:lnTo>
                      <a:pt x="14090" y="1198"/>
                    </a:lnTo>
                    <a:lnTo>
                      <a:pt x="13946" y="1064"/>
                    </a:lnTo>
                    <a:lnTo>
                      <a:pt x="13802" y="939"/>
                    </a:lnTo>
                    <a:lnTo>
                      <a:pt x="13649" y="815"/>
                    </a:lnTo>
                    <a:lnTo>
                      <a:pt x="13486" y="700"/>
                    </a:lnTo>
                    <a:lnTo>
                      <a:pt x="13323" y="595"/>
                    </a:lnTo>
                    <a:lnTo>
                      <a:pt x="13151" y="499"/>
                    </a:lnTo>
                    <a:lnTo>
                      <a:pt x="12969" y="403"/>
                    </a:lnTo>
                    <a:lnTo>
                      <a:pt x="12787" y="326"/>
                    </a:lnTo>
                    <a:lnTo>
                      <a:pt x="12605" y="250"/>
                    </a:lnTo>
                    <a:lnTo>
                      <a:pt x="12413" y="183"/>
                    </a:lnTo>
                    <a:lnTo>
                      <a:pt x="12222" y="125"/>
                    </a:lnTo>
                    <a:lnTo>
                      <a:pt x="12021" y="87"/>
                    </a:lnTo>
                    <a:lnTo>
                      <a:pt x="11820" y="49"/>
                    </a:lnTo>
                    <a:lnTo>
                      <a:pt x="11618" y="20"/>
                    </a:lnTo>
                    <a:lnTo>
                      <a:pt x="11408" y="1"/>
                    </a:lnTo>
                    <a:close/>
                  </a:path>
                </a:pathLst>
              </a:custGeom>
              <a:solidFill>
                <a:srgbClr val="696E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389;p31">
                <a:extLst>
                  <a:ext uri="{FF2B5EF4-FFF2-40B4-BE49-F238E27FC236}">
                    <a16:creationId xmlns:a16="http://schemas.microsoft.com/office/drawing/2014/main" id="{C23BE130-A9A6-4462-8E30-AE9CDA6B2936}"/>
                  </a:ext>
                </a:extLst>
              </p:cNvPr>
              <p:cNvSpPr/>
              <p:nvPr/>
            </p:nvSpPr>
            <p:spPr>
              <a:xfrm>
                <a:off x="2131475" y="3821168"/>
                <a:ext cx="113279" cy="205201"/>
              </a:xfrm>
              <a:custGeom>
                <a:avLst/>
                <a:gdLst/>
                <a:ahLst/>
                <a:cxnLst/>
                <a:rect l="l" t="t" r="r" b="b"/>
                <a:pathLst>
                  <a:path w="3506" h="6351" extrusionOk="0">
                    <a:moveTo>
                      <a:pt x="0" y="1"/>
                    </a:moveTo>
                    <a:lnTo>
                      <a:pt x="661" y="6351"/>
                    </a:lnTo>
                    <a:lnTo>
                      <a:pt x="2845" y="6351"/>
                    </a:lnTo>
                    <a:lnTo>
                      <a:pt x="3506" y="1"/>
                    </a:lnTo>
                    <a:close/>
                  </a:path>
                </a:pathLst>
              </a:custGeom>
              <a:solidFill>
                <a:srgbClr val="696E7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1390;p31">
                <a:extLst>
                  <a:ext uri="{FF2B5EF4-FFF2-40B4-BE49-F238E27FC236}">
                    <a16:creationId xmlns:a16="http://schemas.microsoft.com/office/drawing/2014/main" id="{153C66CA-8344-4F64-9371-1EFD7EDDFA26}"/>
                  </a:ext>
                </a:extLst>
              </p:cNvPr>
              <p:cNvSpPr/>
              <p:nvPr/>
            </p:nvSpPr>
            <p:spPr>
              <a:xfrm>
                <a:off x="1801260" y="3705431"/>
                <a:ext cx="780190" cy="115767"/>
              </a:xfrm>
              <a:custGeom>
                <a:avLst/>
                <a:gdLst/>
                <a:ahLst/>
                <a:cxnLst/>
                <a:rect l="l" t="t" r="r" b="b"/>
                <a:pathLst>
                  <a:path w="24147" h="3583" extrusionOk="0">
                    <a:moveTo>
                      <a:pt x="3171" y="0"/>
                    </a:moveTo>
                    <a:lnTo>
                      <a:pt x="3008" y="10"/>
                    </a:lnTo>
                    <a:lnTo>
                      <a:pt x="2855" y="20"/>
                    </a:lnTo>
                    <a:lnTo>
                      <a:pt x="2692" y="39"/>
                    </a:lnTo>
                    <a:lnTo>
                      <a:pt x="2539" y="67"/>
                    </a:lnTo>
                    <a:lnTo>
                      <a:pt x="2385" y="106"/>
                    </a:lnTo>
                    <a:lnTo>
                      <a:pt x="2232" y="144"/>
                    </a:lnTo>
                    <a:lnTo>
                      <a:pt x="2089" y="192"/>
                    </a:lnTo>
                    <a:lnTo>
                      <a:pt x="1945" y="249"/>
                    </a:lnTo>
                    <a:lnTo>
                      <a:pt x="1801" y="316"/>
                    </a:lnTo>
                    <a:lnTo>
                      <a:pt x="1667" y="384"/>
                    </a:lnTo>
                    <a:lnTo>
                      <a:pt x="1533" y="460"/>
                    </a:lnTo>
                    <a:lnTo>
                      <a:pt x="1399" y="546"/>
                    </a:lnTo>
                    <a:lnTo>
                      <a:pt x="1274" y="633"/>
                    </a:lnTo>
                    <a:lnTo>
                      <a:pt x="1159" y="728"/>
                    </a:lnTo>
                    <a:lnTo>
                      <a:pt x="1044" y="824"/>
                    </a:lnTo>
                    <a:lnTo>
                      <a:pt x="930" y="929"/>
                    </a:lnTo>
                    <a:lnTo>
                      <a:pt x="824" y="1044"/>
                    </a:lnTo>
                    <a:lnTo>
                      <a:pt x="728" y="1159"/>
                    </a:lnTo>
                    <a:lnTo>
                      <a:pt x="633" y="1274"/>
                    </a:lnTo>
                    <a:lnTo>
                      <a:pt x="546" y="1399"/>
                    </a:lnTo>
                    <a:lnTo>
                      <a:pt x="460" y="1533"/>
                    </a:lnTo>
                    <a:lnTo>
                      <a:pt x="384" y="1657"/>
                    </a:lnTo>
                    <a:lnTo>
                      <a:pt x="317" y="1801"/>
                    </a:lnTo>
                    <a:lnTo>
                      <a:pt x="250" y="1935"/>
                    </a:lnTo>
                    <a:lnTo>
                      <a:pt x="202" y="2079"/>
                    </a:lnTo>
                    <a:lnTo>
                      <a:pt x="144" y="2232"/>
                    </a:lnTo>
                    <a:lnTo>
                      <a:pt x="106" y="2376"/>
                    </a:lnTo>
                    <a:lnTo>
                      <a:pt x="68" y="2529"/>
                    </a:lnTo>
                    <a:lnTo>
                      <a:pt x="39" y="2692"/>
                    </a:lnTo>
                    <a:lnTo>
                      <a:pt x="20" y="2845"/>
                    </a:lnTo>
                    <a:lnTo>
                      <a:pt x="10" y="3008"/>
                    </a:lnTo>
                    <a:lnTo>
                      <a:pt x="0" y="3171"/>
                    </a:lnTo>
                    <a:lnTo>
                      <a:pt x="0" y="3583"/>
                    </a:lnTo>
                    <a:lnTo>
                      <a:pt x="24147" y="3583"/>
                    </a:lnTo>
                    <a:lnTo>
                      <a:pt x="24147" y="3171"/>
                    </a:lnTo>
                    <a:lnTo>
                      <a:pt x="24147" y="3008"/>
                    </a:lnTo>
                    <a:lnTo>
                      <a:pt x="24128" y="2845"/>
                    </a:lnTo>
                    <a:lnTo>
                      <a:pt x="24109" y="2692"/>
                    </a:lnTo>
                    <a:lnTo>
                      <a:pt x="24080" y="2529"/>
                    </a:lnTo>
                    <a:lnTo>
                      <a:pt x="24051" y="2376"/>
                    </a:lnTo>
                    <a:lnTo>
                      <a:pt x="24003" y="2232"/>
                    </a:lnTo>
                    <a:lnTo>
                      <a:pt x="23955" y="2079"/>
                    </a:lnTo>
                    <a:lnTo>
                      <a:pt x="23898" y="1935"/>
                    </a:lnTo>
                    <a:lnTo>
                      <a:pt x="23831" y="1801"/>
                    </a:lnTo>
                    <a:lnTo>
                      <a:pt x="23764" y="1657"/>
                    </a:lnTo>
                    <a:lnTo>
                      <a:pt x="23687" y="1533"/>
                    </a:lnTo>
                    <a:lnTo>
                      <a:pt x="23601" y="1399"/>
                    </a:lnTo>
                    <a:lnTo>
                      <a:pt x="23515" y="1274"/>
                    </a:lnTo>
                    <a:lnTo>
                      <a:pt x="23419" y="1159"/>
                    </a:lnTo>
                    <a:lnTo>
                      <a:pt x="23323" y="1044"/>
                    </a:lnTo>
                    <a:lnTo>
                      <a:pt x="23218" y="929"/>
                    </a:lnTo>
                    <a:lnTo>
                      <a:pt x="23112" y="824"/>
                    </a:lnTo>
                    <a:lnTo>
                      <a:pt x="22997" y="728"/>
                    </a:lnTo>
                    <a:lnTo>
                      <a:pt x="22873" y="633"/>
                    </a:lnTo>
                    <a:lnTo>
                      <a:pt x="22748" y="546"/>
                    </a:lnTo>
                    <a:lnTo>
                      <a:pt x="22624" y="460"/>
                    </a:lnTo>
                    <a:lnTo>
                      <a:pt x="22490" y="384"/>
                    </a:lnTo>
                    <a:lnTo>
                      <a:pt x="22346" y="316"/>
                    </a:lnTo>
                    <a:lnTo>
                      <a:pt x="22212" y="249"/>
                    </a:lnTo>
                    <a:lnTo>
                      <a:pt x="22068" y="192"/>
                    </a:lnTo>
                    <a:lnTo>
                      <a:pt x="21915" y="144"/>
                    </a:lnTo>
                    <a:lnTo>
                      <a:pt x="21771" y="106"/>
                    </a:lnTo>
                    <a:lnTo>
                      <a:pt x="21618" y="67"/>
                    </a:lnTo>
                    <a:lnTo>
                      <a:pt x="21455" y="39"/>
                    </a:lnTo>
                    <a:lnTo>
                      <a:pt x="21302" y="20"/>
                    </a:lnTo>
                    <a:lnTo>
                      <a:pt x="21139" y="10"/>
                    </a:lnTo>
                    <a:lnTo>
                      <a:pt x="2097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1391;p31">
                <a:extLst>
                  <a:ext uri="{FF2B5EF4-FFF2-40B4-BE49-F238E27FC236}">
                    <a16:creationId xmlns:a16="http://schemas.microsoft.com/office/drawing/2014/main" id="{41917F03-BAF8-4305-A71B-64BE2F6BE067}"/>
                  </a:ext>
                </a:extLst>
              </p:cNvPr>
              <p:cNvSpPr/>
              <p:nvPr/>
            </p:nvSpPr>
            <p:spPr>
              <a:xfrm>
                <a:off x="2279717" y="1805851"/>
                <a:ext cx="732855" cy="701935"/>
              </a:xfrm>
              <a:custGeom>
                <a:avLst/>
                <a:gdLst/>
                <a:ahLst/>
                <a:cxnLst/>
                <a:rect l="l" t="t" r="r" b="b"/>
                <a:pathLst>
                  <a:path w="22682" h="21725" extrusionOk="0">
                    <a:moveTo>
                      <a:pt x="1878" y="1"/>
                    </a:moveTo>
                    <a:lnTo>
                      <a:pt x="1609" y="30"/>
                    </a:lnTo>
                    <a:lnTo>
                      <a:pt x="1341" y="78"/>
                    </a:lnTo>
                    <a:lnTo>
                      <a:pt x="1217" y="106"/>
                    </a:lnTo>
                    <a:lnTo>
                      <a:pt x="1092" y="135"/>
                    </a:lnTo>
                    <a:lnTo>
                      <a:pt x="968" y="183"/>
                    </a:lnTo>
                    <a:lnTo>
                      <a:pt x="853" y="231"/>
                    </a:lnTo>
                    <a:lnTo>
                      <a:pt x="738" y="279"/>
                    </a:lnTo>
                    <a:lnTo>
                      <a:pt x="623" y="336"/>
                    </a:lnTo>
                    <a:lnTo>
                      <a:pt x="508" y="403"/>
                    </a:lnTo>
                    <a:lnTo>
                      <a:pt x="402" y="470"/>
                    </a:lnTo>
                    <a:lnTo>
                      <a:pt x="297" y="547"/>
                    </a:lnTo>
                    <a:lnTo>
                      <a:pt x="192" y="624"/>
                    </a:lnTo>
                    <a:lnTo>
                      <a:pt x="96" y="710"/>
                    </a:lnTo>
                    <a:lnTo>
                      <a:pt x="0" y="805"/>
                    </a:lnTo>
                    <a:lnTo>
                      <a:pt x="134" y="1390"/>
                    </a:lnTo>
                    <a:lnTo>
                      <a:pt x="307" y="2070"/>
                    </a:lnTo>
                    <a:lnTo>
                      <a:pt x="527" y="2961"/>
                    </a:lnTo>
                    <a:lnTo>
                      <a:pt x="805" y="4024"/>
                    </a:lnTo>
                    <a:lnTo>
                      <a:pt x="1140" y="5231"/>
                    </a:lnTo>
                    <a:lnTo>
                      <a:pt x="1514" y="6533"/>
                    </a:lnTo>
                    <a:lnTo>
                      <a:pt x="1715" y="7223"/>
                    </a:lnTo>
                    <a:lnTo>
                      <a:pt x="1935" y="7912"/>
                    </a:lnTo>
                    <a:lnTo>
                      <a:pt x="2155" y="8621"/>
                    </a:lnTo>
                    <a:lnTo>
                      <a:pt x="2395" y="9330"/>
                    </a:lnTo>
                    <a:lnTo>
                      <a:pt x="2634" y="10039"/>
                    </a:lnTo>
                    <a:lnTo>
                      <a:pt x="2883" y="10748"/>
                    </a:lnTo>
                    <a:lnTo>
                      <a:pt x="3142" y="11437"/>
                    </a:lnTo>
                    <a:lnTo>
                      <a:pt x="3400" y="12127"/>
                    </a:lnTo>
                    <a:lnTo>
                      <a:pt x="3678" y="12788"/>
                    </a:lnTo>
                    <a:lnTo>
                      <a:pt x="3946" y="13429"/>
                    </a:lnTo>
                    <a:lnTo>
                      <a:pt x="4234" y="14052"/>
                    </a:lnTo>
                    <a:lnTo>
                      <a:pt x="4521" y="14636"/>
                    </a:lnTo>
                    <a:lnTo>
                      <a:pt x="4808" y="15182"/>
                    </a:lnTo>
                    <a:lnTo>
                      <a:pt x="4952" y="15441"/>
                    </a:lnTo>
                    <a:lnTo>
                      <a:pt x="5105" y="15690"/>
                    </a:lnTo>
                    <a:lnTo>
                      <a:pt x="5249" y="15929"/>
                    </a:lnTo>
                    <a:lnTo>
                      <a:pt x="5402" y="16159"/>
                    </a:lnTo>
                    <a:lnTo>
                      <a:pt x="5556" y="16380"/>
                    </a:lnTo>
                    <a:lnTo>
                      <a:pt x="5699" y="16581"/>
                    </a:lnTo>
                    <a:lnTo>
                      <a:pt x="5852" y="16772"/>
                    </a:lnTo>
                    <a:lnTo>
                      <a:pt x="6006" y="16945"/>
                    </a:lnTo>
                    <a:lnTo>
                      <a:pt x="6159" y="17107"/>
                    </a:lnTo>
                    <a:lnTo>
                      <a:pt x="6312" y="17251"/>
                    </a:lnTo>
                    <a:lnTo>
                      <a:pt x="6456" y="17376"/>
                    </a:lnTo>
                    <a:lnTo>
                      <a:pt x="6609" y="17491"/>
                    </a:lnTo>
                    <a:lnTo>
                      <a:pt x="6772" y="17615"/>
                    </a:lnTo>
                    <a:lnTo>
                      <a:pt x="6954" y="17730"/>
                    </a:lnTo>
                    <a:lnTo>
                      <a:pt x="7145" y="17855"/>
                    </a:lnTo>
                    <a:lnTo>
                      <a:pt x="7347" y="17969"/>
                    </a:lnTo>
                    <a:lnTo>
                      <a:pt x="7557" y="18084"/>
                    </a:lnTo>
                    <a:lnTo>
                      <a:pt x="7778" y="18190"/>
                    </a:lnTo>
                    <a:lnTo>
                      <a:pt x="8247" y="18420"/>
                    </a:lnTo>
                    <a:lnTo>
                      <a:pt x="8755" y="18640"/>
                    </a:lnTo>
                    <a:lnTo>
                      <a:pt x="9291" y="18851"/>
                    </a:lnTo>
                    <a:lnTo>
                      <a:pt x="9846" y="19052"/>
                    </a:lnTo>
                    <a:lnTo>
                      <a:pt x="10440" y="19253"/>
                    </a:lnTo>
                    <a:lnTo>
                      <a:pt x="11044" y="19445"/>
                    </a:lnTo>
                    <a:lnTo>
                      <a:pt x="11657" y="19636"/>
                    </a:lnTo>
                    <a:lnTo>
                      <a:pt x="12289" y="19818"/>
                    </a:lnTo>
                    <a:lnTo>
                      <a:pt x="12921" y="19990"/>
                    </a:lnTo>
                    <a:lnTo>
                      <a:pt x="13563" y="20153"/>
                    </a:lnTo>
                    <a:lnTo>
                      <a:pt x="14205" y="20316"/>
                    </a:lnTo>
                    <a:lnTo>
                      <a:pt x="14837" y="20469"/>
                    </a:lnTo>
                    <a:lnTo>
                      <a:pt x="16072" y="20747"/>
                    </a:lnTo>
                    <a:lnTo>
                      <a:pt x="17250" y="20996"/>
                    </a:lnTo>
                    <a:lnTo>
                      <a:pt x="18333" y="21216"/>
                    </a:lnTo>
                    <a:lnTo>
                      <a:pt x="19281" y="21389"/>
                    </a:lnTo>
                    <a:lnTo>
                      <a:pt x="20076" y="21533"/>
                    </a:lnTo>
                    <a:lnTo>
                      <a:pt x="20689" y="21638"/>
                    </a:lnTo>
                    <a:lnTo>
                      <a:pt x="21206" y="21724"/>
                    </a:lnTo>
                    <a:lnTo>
                      <a:pt x="21292" y="21475"/>
                    </a:lnTo>
                    <a:lnTo>
                      <a:pt x="21388" y="21178"/>
                    </a:lnTo>
                    <a:lnTo>
                      <a:pt x="21503" y="20776"/>
                    </a:lnTo>
                    <a:lnTo>
                      <a:pt x="21647" y="20278"/>
                    </a:lnTo>
                    <a:lnTo>
                      <a:pt x="21800" y="19703"/>
                    </a:lnTo>
                    <a:lnTo>
                      <a:pt x="21953" y="19052"/>
                    </a:lnTo>
                    <a:lnTo>
                      <a:pt x="22116" y="18343"/>
                    </a:lnTo>
                    <a:lnTo>
                      <a:pt x="22269" y="17577"/>
                    </a:lnTo>
                    <a:lnTo>
                      <a:pt x="22336" y="17184"/>
                    </a:lnTo>
                    <a:lnTo>
                      <a:pt x="22403" y="16772"/>
                    </a:lnTo>
                    <a:lnTo>
                      <a:pt x="22461" y="16351"/>
                    </a:lnTo>
                    <a:lnTo>
                      <a:pt x="22518" y="15929"/>
                    </a:lnTo>
                    <a:lnTo>
                      <a:pt x="22566" y="15498"/>
                    </a:lnTo>
                    <a:lnTo>
                      <a:pt x="22614" y="15067"/>
                    </a:lnTo>
                    <a:lnTo>
                      <a:pt x="22643" y="14627"/>
                    </a:lnTo>
                    <a:lnTo>
                      <a:pt x="22662" y="14186"/>
                    </a:lnTo>
                    <a:lnTo>
                      <a:pt x="22681" y="13736"/>
                    </a:lnTo>
                    <a:lnTo>
                      <a:pt x="22681" y="13295"/>
                    </a:lnTo>
                    <a:lnTo>
                      <a:pt x="22672" y="12855"/>
                    </a:lnTo>
                    <a:lnTo>
                      <a:pt x="22652" y="12424"/>
                    </a:lnTo>
                    <a:lnTo>
                      <a:pt x="22614" y="11983"/>
                    </a:lnTo>
                    <a:lnTo>
                      <a:pt x="22566" y="11552"/>
                    </a:lnTo>
                    <a:lnTo>
                      <a:pt x="22145" y="11600"/>
                    </a:lnTo>
                    <a:lnTo>
                      <a:pt x="21024" y="11715"/>
                    </a:lnTo>
                    <a:lnTo>
                      <a:pt x="20248" y="11782"/>
                    </a:lnTo>
                    <a:lnTo>
                      <a:pt x="19377" y="11849"/>
                    </a:lnTo>
                    <a:lnTo>
                      <a:pt x="18428" y="11907"/>
                    </a:lnTo>
                    <a:lnTo>
                      <a:pt x="17413" y="11945"/>
                    </a:lnTo>
                    <a:lnTo>
                      <a:pt x="16379" y="11974"/>
                    </a:lnTo>
                    <a:lnTo>
                      <a:pt x="15852" y="11983"/>
                    </a:lnTo>
                    <a:lnTo>
                      <a:pt x="15325" y="11983"/>
                    </a:lnTo>
                    <a:lnTo>
                      <a:pt x="14808" y="11974"/>
                    </a:lnTo>
                    <a:lnTo>
                      <a:pt x="14300" y="11964"/>
                    </a:lnTo>
                    <a:lnTo>
                      <a:pt x="13793" y="11935"/>
                    </a:lnTo>
                    <a:lnTo>
                      <a:pt x="13304" y="11907"/>
                    </a:lnTo>
                    <a:lnTo>
                      <a:pt x="12835" y="11859"/>
                    </a:lnTo>
                    <a:lnTo>
                      <a:pt x="12385" y="11801"/>
                    </a:lnTo>
                    <a:lnTo>
                      <a:pt x="11954" y="11744"/>
                    </a:lnTo>
                    <a:lnTo>
                      <a:pt x="11551" y="11657"/>
                    </a:lnTo>
                    <a:lnTo>
                      <a:pt x="11178" y="11571"/>
                    </a:lnTo>
                    <a:lnTo>
                      <a:pt x="10996" y="11523"/>
                    </a:lnTo>
                    <a:lnTo>
                      <a:pt x="10833" y="11466"/>
                    </a:lnTo>
                    <a:lnTo>
                      <a:pt x="10670" y="11408"/>
                    </a:lnTo>
                    <a:lnTo>
                      <a:pt x="10527" y="11351"/>
                    </a:lnTo>
                    <a:lnTo>
                      <a:pt x="10383" y="11284"/>
                    </a:lnTo>
                    <a:lnTo>
                      <a:pt x="10249" y="11217"/>
                    </a:lnTo>
                    <a:lnTo>
                      <a:pt x="10115" y="11131"/>
                    </a:lnTo>
                    <a:lnTo>
                      <a:pt x="9961" y="11035"/>
                    </a:lnTo>
                    <a:lnTo>
                      <a:pt x="9818" y="10930"/>
                    </a:lnTo>
                    <a:lnTo>
                      <a:pt x="9665" y="10815"/>
                    </a:lnTo>
                    <a:lnTo>
                      <a:pt x="9348" y="10546"/>
                    </a:lnTo>
                    <a:lnTo>
                      <a:pt x="9023" y="10250"/>
                    </a:lnTo>
                    <a:lnTo>
                      <a:pt x="8697" y="9914"/>
                    </a:lnTo>
                    <a:lnTo>
                      <a:pt x="8362" y="9550"/>
                    </a:lnTo>
                    <a:lnTo>
                      <a:pt x="8017" y="9167"/>
                    </a:lnTo>
                    <a:lnTo>
                      <a:pt x="7672" y="8746"/>
                    </a:lnTo>
                    <a:lnTo>
                      <a:pt x="7318" y="8315"/>
                    </a:lnTo>
                    <a:lnTo>
                      <a:pt x="6973" y="7865"/>
                    </a:lnTo>
                    <a:lnTo>
                      <a:pt x="6628" y="7405"/>
                    </a:lnTo>
                    <a:lnTo>
                      <a:pt x="6274" y="6926"/>
                    </a:lnTo>
                    <a:lnTo>
                      <a:pt x="5929" y="6437"/>
                    </a:lnTo>
                    <a:lnTo>
                      <a:pt x="5594" y="5949"/>
                    </a:lnTo>
                    <a:lnTo>
                      <a:pt x="4933" y="4972"/>
                    </a:lnTo>
                    <a:lnTo>
                      <a:pt x="4310" y="4014"/>
                    </a:lnTo>
                    <a:lnTo>
                      <a:pt x="3736" y="3104"/>
                    </a:lnTo>
                    <a:lnTo>
                      <a:pt x="3209" y="2261"/>
                    </a:lnTo>
                    <a:lnTo>
                      <a:pt x="2759" y="1514"/>
                    </a:lnTo>
                    <a:lnTo>
                      <a:pt x="2117" y="413"/>
                    </a:lnTo>
                    <a:lnTo>
                      <a:pt x="187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1392;p31">
                <a:extLst>
                  <a:ext uri="{FF2B5EF4-FFF2-40B4-BE49-F238E27FC236}">
                    <a16:creationId xmlns:a16="http://schemas.microsoft.com/office/drawing/2014/main" id="{7ACD3188-A3E7-4D6B-ABBC-949CBD7EF015}"/>
                  </a:ext>
                </a:extLst>
              </p:cNvPr>
              <p:cNvSpPr/>
              <p:nvPr/>
            </p:nvSpPr>
            <p:spPr>
              <a:xfrm>
                <a:off x="2910712" y="4519952"/>
                <a:ext cx="99709" cy="108982"/>
              </a:xfrm>
              <a:custGeom>
                <a:avLst/>
                <a:gdLst/>
                <a:ahLst/>
                <a:cxnLst/>
                <a:rect l="l" t="t" r="r" b="b"/>
                <a:pathLst>
                  <a:path w="3086" h="3373" extrusionOk="0">
                    <a:moveTo>
                      <a:pt x="1782" y="1"/>
                    </a:moveTo>
                    <a:lnTo>
                      <a:pt x="1390" y="997"/>
                    </a:lnTo>
                    <a:lnTo>
                      <a:pt x="1313" y="1083"/>
                    </a:lnTo>
                    <a:lnTo>
                      <a:pt x="1112" y="1284"/>
                    </a:lnTo>
                    <a:lnTo>
                      <a:pt x="834" y="1591"/>
                    </a:lnTo>
                    <a:lnTo>
                      <a:pt x="681" y="1763"/>
                    </a:lnTo>
                    <a:lnTo>
                      <a:pt x="528" y="1945"/>
                    </a:lnTo>
                    <a:lnTo>
                      <a:pt x="384" y="2137"/>
                    </a:lnTo>
                    <a:lnTo>
                      <a:pt x="250" y="2328"/>
                    </a:lnTo>
                    <a:lnTo>
                      <a:pt x="145" y="2520"/>
                    </a:lnTo>
                    <a:lnTo>
                      <a:pt x="97" y="2616"/>
                    </a:lnTo>
                    <a:lnTo>
                      <a:pt x="58" y="2702"/>
                    </a:lnTo>
                    <a:lnTo>
                      <a:pt x="30" y="2788"/>
                    </a:lnTo>
                    <a:lnTo>
                      <a:pt x="11" y="2874"/>
                    </a:lnTo>
                    <a:lnTo>
                      <a:pt x="1" y="2951"/>
                    </a:lnTo>
                    <a:lnTo>
                      <a:pt x="1" y="3028"/>
                    </a:lnTo>
                    <a:lnTo>
                      <a:pt x="11" y="3095"/>
                    </a:lnTo>
                    <a:lnTo>
                      <a:pt x="30" y="3152"/>
                    </a:lnTo>
                    <a:lnTo>
                      <a:pt x="68" y="3210"/>
                    </a:lnTo>
                    <a:lnTo>
                      <a:pt x="116" y="3258"/>
                    </a:lnTo>
                    <a:lnTo>
                      <a:pt x="164" y="3296"/>
                    </a:lnTo>
                    <a:lnTo>
                      <a:pt x="221" y="3325"/>
                    </a:lnTo>
                    <a:lnTo>
                      <a:pt x="288" y="3344"/>
                    </a:lnTo>
                    <a:lnTo>
                      <a:pt x="355" y="3363"/>
                    </a:lnTo>
                    <a:lnTo>
                      <a:pt x="432" y="3372"/>
                    </a:lnTo>
                    <a:lnTo>
                      <a:pt x="671" y="3372"/>
                    </a:lnTo>
                    <a:lnTo>
                      <a:pt x="844" y="3344"/>
                    </a:lnTo>
                    <a:lnTo>
                      <a:pt x="1035" y="3296"/>
                    </a:lnTo>
                    <a:lnTo>
                      <a:pt x="1227" y="3229"/>
                    </a:lnTo>
                    <a:lnTo>
                      <a:pt x="1419" y="3152"/>
                    </a:lnTo>
                    <a:lnTo>
                      <a:pt x="1620" y="3066"/>
                    </a:lnTo>
                    <a:lnTo>
                      <a:pt x="1821" y="2961"/>
                    </a:lnTo>
                    <a:lnTo>
                      <a:pt x="2012" y="2855"/>
                    </a:lnTo>
                    <a:lnTo>
                      <a:pt x="2194" y="2731"/>
                    </a:lnTo>
                    <a:lnTo>
                      <a:pt x="2367" y="2616"/>
                    </a:lnTo>
                    <a:lnTo>
                      <a:pt x="2530" y="2491"/>
                    </a:lnTo>
                    <a:lnTo>
                      <a:pt x="2673" y="2367"/>
                    </a:lnTo>
                    <a:lnTo>
                      <a:pt x="2798" y="2242"/>
                    </a:lnTo>
                    <a:lnTo>
                      <a:pt x="2865" y="2156"/>
                    </a:lnTo>
                    <a:lnTo>
                      <a:pt x="2932" y="2079"/>
                    </a:lnTo>
                    <a:lnTo>
                      <a:pt x="2980" y="1984"/>
                    </a:lnTo>
                    <a:lnTo>
                      <a:pt x="3018" y="1897"/>
                    </a:lnTo>
                    <a:lnTo>
                      <a:pt x="3047" y="1792"/>
                    </a:lnTo>
                    <a:lnTo>
                      <a:pt x="3076" y="1696"/>
                    </a:lnTo>
                    <a:lnTo>
                      <a:pt x="3085" y="1591"/>
                    </a:lnTo>
                    <a:lnTo>
                      <a:pt x="3085" y="1486"/>
                    </a:lnTo>
                    <a:lnTo>
                      <a:pt x="3056" y="87"/>
                    </a:lnTo>
                    <a:lnTo>
                      <a:pt x="1782"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1393;p31">
                <a:extLst>
                  <a:ext uri="{FF2B5EF4-FFF2-40B4-BE49-F238E27FC236}">
                    <a16:creationId xmlns:a16="http://schemas.microsoft.com/office/drawing/2014/main" id="{8B8D387F-0D95-4051-A2DC-A9E2E8287767}"/>
                  </a:ext>
                </a:extLst>
              </p:cNvPr>
              <p:cNvSpPr/>
              <p:nvPr/>
            </p:nvSpPr>
            <p:spPr>
              <a:xfrm>
                <a:off x="3236307" y="4527093"/>
                <a:ext cx="119773" cy="96898"/>
              </a:xfrm>
              <a:custGeom>
                <a:avLst/>
                <a:gdLst/>
                <a:ahLst/>
                <a:cxnLst/>
                <a:rect l="l" t="t" r="r" b="b"/>
                <a:pathLst>
                  <a:path w="3707" h="2999" extrusionOk="0">
                    <a:moveTo>
                      <a:pt x="1351" y="0"/>
                    </a:moveTo>
                    <a:lnTo>
                      <a:pt x="0" y="106"/>
                    </a:lnTo>
                    <a:lnTo>
                      <a:pt x="201" y="1686"/>
                    </a:lnTo>
                    <a:lnTo>
                      <a:pt x="240" y="1772"/>
                    </a:lnTo>
                    <a:lnTo>
                      <a:pt x="278" y="1858"/>
                    </a:lnTo>
                    <a:lnTo>
                      <a:pt x="316" y="1935"/>
                    </a:lnTo>
                    <a:lnTo>
                      <a:pt x="364" y="2012"/>
                    </a:lnTo>
                    <a:lnTo>
                      <a:pt x="422" y="2079"/>
                    </a:lnTo>
                    <a:lnTo>
                      <a:pt x="489" y="2146"/>
                    </a:lnTo>
                    <a:lnTo>
                      <a:pt x="556" y="2203"/>
                    </a:lnTo>
                    <a:lnTo>
                      <a:pt x="623" y="2261"/>
                    </a:lnTo>
                    <a:lnTo>
                      <a:pt x="766" y="2357"/>
                    </a:lnTo>
                    <a:lnTo>
                      <a:pt x="939" y="2452"/>
                    </a:lnTo>
                    <a:lnTo>
                      <a:pt x="1130" y="2538"/>
                    </a:lnTo>
                    <a:lnTo>
                      <a:pt x="1341" y="2634"/>
                    </a:lnTo>
                    <a:lnTo>
                      <a:pt x="1561" y="2711"/>
                    </a:lnTo>
                    <a:lnTo>
                      <a:pt x="1782" y="2788"/>
                    </a:lnTo>
                    <a:lnTo>
                      <a:pt x="2012" y="2855"/>
                    </a:lnTo>
                    <a:lnTo>
                      <a:pt x="2251" y="2912"/>
                    </a:lnTo>
                    <a:lnTo>
                      <a:pt x="2471" y="2960"/>
                    </a:lnTo>
                    <a:lnTo>
                      <a:pt x="2692" y="2989"/>
                    </a:lnTo>
                    <a:lnTo>
                      <a:pt x="2902" y="2998"/>
                    </a:lnTo>
                    <a:lnTo>
                      <a:pt x="3094" y="2998"/>
                    </a:lnTo>
                    <a:lnTo>
                      <a:pt x="3266" y="2970"/>
                    </a:lnTo>
                    <a:lnTo>
                      <a:pt x="3352" y="2950"/>
                    </a:lnTo>
                    <a:lnTo>
                      <a:pt x="3419" y="2931"/>
                    </a:lnTo>
                    <a:lnTo>
                      <a:pt x="3487" y="2902"/>
                    </a:lnTo>
                    <a:lnTo>
                      <a:pt x="3544" y="2864"/>
                    </a:lnTo>
                    <a:lnTo>
                      <a:pt x="3592" y="2826"/>
                    </a:lnTo>
                    <a:lnTo>
                      <a:pt x="3640" y="2778"/>
                    </a:lnTo>
                    <a:lnTo>
                      <a:pt x="3669" y="2720"/>
                    </a:lnTo>
                    <a:lnTo>
                      <a:pt x="3697" y="2663"/>
                    </a:lnTo>
                    <a:lnTo>
                      <a:pt x="3707" y="2606"/>
                    </a:lnTo>
                    <a:lnTo>
                      <a:pt x="3707" y="2548"/>
                    </a:lnTo>
                    <a:lnTo>
                      <a:pt x="3697" y="2481"/>
                    </a:lnTo>
                    <a:lnTo>
                      <a:pt x="3678" y="2414"/>
                    </a:lnTo>
                    <a:lnTo>
                      <a:pt x="3649" y="2347"/>
                    </a:lnTo>
                    <a:lnTo>
                      <a:pt x="3611" y="2280"/>
                    </a:lnTo>
                    <a:lnTo>
                      <a:pt x="3515" y="2146"/>
                    </a:lnTo>
                    <a:lnTo>
                      <a:pt x="3391" y="2012"/>
                    </a:lnTo>
                    <a:lnTo>
                      <a:pt x="3247" y="1868"/>
                    </a:lnTo>
                    <a:lnTo>
                      <a:pt x="3084" y="1724"/>
                    </a:lnTo>
                    <a:lnTo>
                      <a:pt x="2902" y="1581"/>
                    </a:lnTo>
                    <a:lnTo>
                      <a:pt x="2701" y="1447"/>
                    </a:lnTo>
                    <a:lnTo>
                      <a:pt x="2510" y="1312"/>
                    </a:lnTo>
                    <a:lnTo>
                      <a:pt x="2299" y="1178"/>
                    </a:lnTo>
                    <a:lnTo>
                      <a:pt x="1906" y="939"/>
                    </a:lnTo>
                    <a:lnTo>
                      <a:pt x="1542" y="728"/>
                    </a:lnTo>
                    <a:lnTo>
                      <a:pt x="1351"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1394;p31">
                <a:extLst>
                  <a:ext uri="{FF2B5EF4-FFF2-40B4-BE49-F238E27FC236}">
                    <a16:creationId xmlns:a16="http://schemas.microsoft.com/office/drawing/2014/main" id="{43C54062-3FFE-4C29-926E-CE280B8FE123}"/>
                  </a:ext>
                </a:extLst>
              </p:cNvPr>
              <p:cNvSpPr/>
              <p:nvPr/>
            </p:nvSpPr>
            <p:spPr>
              <a:xfrm>
                <a:off x="2809515" y="3439578"/>
                <a:ext cx="237705" cy="1096181"/>
              </a:xfrm>
              <a:custGeom>
                <a:avLst/>
                <a:gdLst/>
                <a:ahLst/>
                <a:cxnLst/>
                <a:rect l="l" t="t" r="r" b="b"/>
                <a:pathLst>
                  <a:path w="7357" h="33927" extrusionOk="0">
                    <a:moveTo>
                      <a:pt x="7357" y="1"/>
                    </a:moveTo>
                    <a:lnTo>
                      <a:pt x="1" y="710"/>
                    </a:lnTo>
                    <a:lnTo>
                      <a:pt x="4790" y="33764"/>
                    </a:lnTo>
                    <a:lnTo>
                      <a:pt x="4953" y="33831"/>
                    </a:lnTo>
                    <a:lnTo>
                      <a:pt x="5125" y="33888"/>
                    </a:lnTo>
                    <a:lnTo>
                      <a:pt x="5298" y="33917"/>
                    </a:lnTo>
                    <a:lnTo>
                      <a:pt x="5480" y="33926"/>
                    </a:lnTo>
                    <a:lnTo>
                      <a:pt x="5652" y="33907"/>
                    </a:lnTo>
                    <a:lnTo>
                      <a:pt x="5834" y="33879"/>
                    </a:lnTo>
                    <a:lnTo>
                      <a:pt x="6016" y="33831"/>
                    </a:lnTo>
                    <a:lnTo>
                      <a:pt x="6198" y="33764"/>
                    </a:lnTo>
                    <a:lnTo>
                      <a:pt x="7357"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395;p31">
                <a:extLst>
                  <a:ext uri="{FF2B5EF4-FFF2-40B4-BE49-F238E27FC236}">
                    <a16:creationId xmlns:a16="http://schemas.microsoft.com/office/drawing/2014/main" id="{B18F36D3-75E4-45F4-8C6C-97FBAD76C704}"/>
                  </a:ext>
                </a:extLst>
              </p:cNvPr>
              <p:cNvSpPr/>
              <p:nvPr/>
            </p:nvSpPr>
            <p:spPr>
              <a:xfrm>
                <a:off x="3058663" y="3301547"/>
                <a:ext cx="274215" cy="1234210"/>
              </a:xfrm>
              <a:custGeom>
                <a:avLst/>
                <a:gdLst/>
                <a:ahLst/>
                <a:cxnLst/>
                <a:rect l="l" t="t" r="r" b="b"/>
                <a:pathLst>
                  <a:path w="8487" h="38199" extrusionOk="0">
                    <a:moveTo>
                      <a:pt x="8486" y="1"/>
                    </a:moveTo>
                    <a:lnTo>
                      <a:pt x="0" y="1917"/>
                    </a:lnTo>
                    <a:lnTo>
                      <a:pt x="5498" y="38036"/>
                    </a:lnTo>
                    <a:lnTo>
                      <a:pt x="5728" y="38112"/>
                    </a:lnTo>
                    <a:lnTo>
                      <a:pt x="5939" y="38160"/>
                    </a:lnTo>
                    <a:lnTo>
                      <a:pt x="6034" y="38179"/>
                    </a:lnTo>
                    <a:lnTo>
                      <a:pt x="6130" y="38189"/>
                    </a:lnTo>
                    <a:lnTo>
                      <a:pt x="6216" y="38198"/>
                    </a:lnTo>
                    <a:lnTo>
                      <a:pt x="6303" y="38189"/>
                    </a:lnTo>
                    <a:lnTo>
                      <a:pt x="6389" y="38179"/>
                    </a:lnTo>
                    <a:lnTo>
                      <a:pt x="6465" y="38170"/>
                    </a:lnTo>
                    <a:lnTo>
                      <a:pt x="6542" y="38141"/>
                    </a:lnTo>
                    <a:lnTo>
                      <a:pt x="6609" y="38112"/>
                    </a:lnTo>
                    <a:lnTo>
                      <a:pt x="6676" y="38074"/>
                    </a:lnTo>
                    <a:lnTo>
                      <a:pt x="6734" y="38036"/>
                    </a:lnTo>
                    <a:lnTo>
                      <a:pt x="6791" y="37988"/>
                    </a:lnTo>
                    <a:lnTo>
                      <a:pt x="6849" y="37930"/>
                    </a:lnTo>
                    <a:lnTo>
                      <a:pt x="8486"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396;p31">
                <a:extLst>
                  <a:ext uri="{FF2B5EF4-FFF2-40B4-BE49-F238E27FC236}">
                    <a16:creationId xmlns:a16="http://schemas.microsoft.com/office/drawing/2014/main" id="{646CF11F-86A7-4223-84EE-9CE33E6D059C}"/>
                  </a:ext>
                </a:extLst>
              </p:cNvPr>
              <p:cNvSpPr/>
              <p:nvPr/>
            </p:nvSpPr>
            <p:spPr>
              <a:xfrm>
                <a:off x="2701210" y="2163014"/>
                <a:ext cx="708720" cy="1512399"/>
              </a:xfrm>
              <a:custGeom>
                <a:avLst/>
                <a:gdLst/>
                <a:ahLst/>
                <a:cxnLst/>
                <a:rect l="l" t="t" r="r" b="b"/>
                <a:pathLst>
                  <a:path w="21935" h="46809" extrusionOk="0">
                    <a:moveTo>
                      <a:pt x="11954" y="0"/>
                    </a:moveTo>
                    <a:lnTo>
                      <a:pt x="11580" y="19"/>
                    </a:lnTo>
                    <a:lnTo>
                      <a:pt x="11207" y="48"/>
                    </a:lnTo>
                    <a:lnTo>
                      <a:pt x="10833" y="86"/>
                    </a:lnTo>
                    <a:lnTo>
                      <a:pt x="10460" y="144"/>
                    </a:lnTo>
                    <a:lnTo>
                      <a:pt x="10096" y="220"/>
                    </a:lnTo>
                    <a:lnTo>
                      <a:pt x="9732" y="316"/>
                    </a:lnTo>
                    <a:lnTo>
                      <a:pt x="9378" y="422"/>
                    </a:lnTo>
                    <a:lnTo>
                      <a:pt x="9014" y="546"/>
                    </a:lnTo>
                    <a:lnTo>
                      <a:pt x="8669" y="690"/>
                    </a:lnTo>
                    <a:lnTo>
                      <a:pt x="8324" y="843"/>
                    </a:lnTo>
                    <a:lnTo>
                      <a:pt x="7989" y="1015"/>
                    </a:lnTo>
                    <a:lnTo>
                      <a:pt x="7653" y="1207"/>
                    </a:lnTo>
                    <a:lnTo>
                      <a:pt x="7328" y="1418"/>
                    </a:lnTo>
                    <a:lnTo>
                      <a:pt x="7012" y="1638"/>
                    </a:lnTo>
                    <a:lnTo>
                      <a:pt x="6705" y="1877"/>
                    </a:lnTo>
                    <a:lnTo>
                      <a:pt x="6408" y="2126"/>
                    </a:lnTo>
                    <a:lnTo>
                      <a:pt x="6111" y="2404"/>
                    </a:lnTo>
                    <a:lnTo>
                      <a:pt x="5834" y="2692"/>
                    </a:lnTo>
                    <a:lnTo>
                      <a:pt x="5565" y="2988"/>
                    </a:lnTo>
                    <a:lnTo>
                      <a:pt x="5307" y="3314"/>
                    </a:lnTo>
                    <a:lnTo>
                      <a:pt x="5058" y="3649"/>
                    </a:lnTo>
                    <a:lnTo>
                      <a:pt x="4828" y="4004"/>
                    </a:lnTo>
                    <a:lnTo>
                      <a:pt x="4608" y="4368"/>
                    </a:lnTo>
                    <a:lnTo>
                      <a:pt x="4397" y="4760"/>
                    </a:lnTo>
                    <a:lnTo>
                      <a:pt x="4205" y="5163"/>
                    </a:lnTo>
                    <a:lnTo>
                      <a:pt x="4023" y="5584"/>
                    </a:lnTo>
                    <a:lnTo>
                      <a:pt x="3851" y="6015"/>
                    </a:lnTo>
                    <a:lnTo>
                      <a:pt x="3707" y="6475"/>
                    </a:lnTo>
                    <a:lnTo>
                      <a:pt x="3573" y="6944"/>
                    </a:lnTo>
                    <a:lnTo>
                      <a:pt x="3458" y="7423"/>
                    </a:lnTo>
                    <a:lnTo>
                      <a:pt x="3353" y="7931"/>
                    </a:lnTo>
                    <a:lnTo>
                      <a:pt x="3248" y="8572"/>
                    </a:lnTo>
                    <a:lnTo>
                      <a:pt x="3133" y="9348"/>
                    </a:lnTo>
                    <a:lnTo>
                      <a:pt x="3018" y="10249"/>
                    </a:lnTo>
                    <a:lnTo>
                      <a:pt x="2903" y="11274"/>
                    </a:lnTo>
                    <a:lnTo>
                      <a:pt x="2769" y="12404"/>
                    </a:lnTo>
                    <a:lnTo>
                      <a:pt x="2644" y="13630"/>
                    </a:lnTo>
                    <a:lnTo>
                      <a:pt x="2376" y="16321"/>
                    </a:lnTo>
                    <a:lnTo>
                      <a:pt x="2098" y="19281"/>
                    </a:lnTo>
                    <a:lnTo>
                      <a:pt x="1811" y="22413"/>
                    </a:lnTo>
                    <a:lnTo>
                      <a:pt x="1543" y="25650"/>
                    </a:lnTo>
                    <a:lnTo>
                      <a:pt x="1265" y="28888"/>
                    </a:lnTo>
                    <a:lnTo>
                      <a:pt x="1016" y="32058"/>
                    </a:lnTo>
                    <a:lnTo>
                      <a:pt x="776" y="35075"/>
                    </a:lnTo>
                    <a:lnTo>
                      <a:pt x="365" y="40314"/>
                    </a:lnTo>
                    <a:lnTo>
                      <a:pt x="96" y="43944"/>
                    </a:lnTo>
                    <a:lnTo>
                      <a:pt x="1" y="45305"/>
                    </a:lnTo>
                    <a:lnTo>
                      <a:pt x="288" y="45458"/>
                    </a:lnTo>
                    <a:lnTo>
                      <a:pt x="585" y="45601"/>
                    </a:lnTo>
                    <a:lnTo>
                      <a:pt x="891" y="45736"/>
                    </a:lnTo>
                    <a:lnTo>
                      <a:pt x="1217" y="45870"/>
                    </a:lnTo>
                    <a:lnTo>
                      <a:pt x="1552" y="45985"/>
                    </a:lnTo>
                    <a:lnTo>
                      <a:pt x="1887" y="46090"/>
                    </a:lnTo>
                    <a:lnTo>
                      <a:pt x="2242" y="46186"/>
                    </a:lnTo>
                    <a:lnTo>
                      <a:pt x="2596" y="46282"/>
                    </a:lnTo>
                    <a:lnTo>
                      <a:pt x="2960" y="46368"/>
                    </a:lnTo>
                    <a:lnTo>
                      <a:pt x="3334" y="46435"/>
                    </a:lnTo>
                    <a:lnTo>
                      <a:pt x="3717" y="46502"/>
                    </a:lnTo>
                    <a:lnTo>
                      <a:pt x="4100" y="46569"/>
                    </a:lnTo>
                    <a:lnTo>
                      <a:pt x="4493" y="46617"/>
                    </a:lnTo>
                    <a:lnTo>
                      <a:pt x="4895" y="46665"/>
                    </a:lnTo>
                    <a:lnTo>
                      <a:pt x="5297" y="46703"/>
                    </a:lnTo>
                    <a:lnTo>
                      <a:pt x="5709" y="46741"/>
                    </a:lnTo>
                    <a:lnTo>
                      <a:pt x="6111" y="46760"/>
                    </a:lnTo>
                    <a:lnTo>
                      <a:pt x="6533" y="46789"/>
                    </a:lnTo>
                    <a:lnTo>
                      <a:pt x="7366" y="46808"/>
                    </a:lnTo>
                    <a:lnTo>
                      <a:pt x="8209" y="46808"/>
                    </a:lnTo>
                    <a:lnTo>
                      <a:pt x="9061" y="46799"/>
                    </a:lnTo>
                    <a:lnTo>
                      <a:pt x="9904" y="46760"/>
                    </a:lnTo>
                    <a:lnTo>
                      <a:pt x="10747" y="46713"/>
                    </a:lnTo>
                    <a:lnTo>
                      <a:pt x="11571" y="46655"/>
                    </a:lnTo>
                    <a:lnTo>
                      <a:pt x="12395" y="46578"/>
                    </a:lnTo>
                    <a:lnTo>
                      <a:pt x="13190" y="46492"/>
                    </a:lnTo>
                    <a:lnTo>
                      <a:pt x="13965" y="46406"/>
                    </a:lnTo>
                    <a:lnTo>
                      <a:pt x="14722" y="46301"/>
                    </a:lnTo>
                    <a:lnTo>
                      <a:pt x="15440" y="46205"/>
                    </a:lnTo>
                    <a:lnTo>
                      <a:pt x="16130" y="46100"/>
                    </a:lnTo>
                    <a:lnTo>
                      <a:pt x="16781" y="45994"/>
                    </a:lnTo>
                    <a:lnTo>
                      <a:pt x="17950" y="45783"/>
                    </a:lnTo>
                    <a:lnTo>
                      <a:pt x="18908" y="45601"/>
                    </a:lnTo>
                    <a:lnTo>
                      <a:pt x="19645" y="45448"/>
                    </a:lnTo>
                    <a:lnTo>
                      <a:pt x="20268" y="45305"/>
                    </a:lnTo>
                    <a:lnTo>
                      <a:pt x="21915" y="16139"/>
                    </a:lnTo>
                    <a:lnTo>
                      <a:pt x="21925" y="15574"/>
                    </a:lnTo>
                    <a:lnTo>
                      <a:pt x="21934" y="15028"/>
                    </a:lnTo>
                    <a:lnTo>
                      <a:pt x="21925" y="14482"/>
                    </a:lnTo>
                    <a:lnTo>
                      <a:pt x="21925" y="13955"/>
                    </a:lnTo>
                    <a:lnTo>
                      <a:pt x="21906" y="13429"/>
                    </a:lnTo>
                    <a:lnTo>
                      <a:pt x="21887" y="12921"/>
                    </a:lnTo>
                    <a:lnTo>
                      <a:pt x="21858" y="12432"/>
                    </a:lnTo>
                    <a:lnTo>
                      <a:pt x="21829" y="11944"/>
                    </a:lnTo>
                    <a:lnTo>
                      <a:pt x="21791" y="11465"/>
                    </a:lnTo>
                    <a:lnTo>
                      <a:pt x="21743" y="11005"/>
                    </a:lnTo>
                    <a:lnTo>
                      <a:pt x="21695" y="10546"/>
                    </a:lnTo>
                    <a:lnTo>
                      <a:pt x="21647" y="10105"/>
                    </a:lnTo>
                    <a:lnTo>
                      <a:pt x="21590" y="9674"/>
                    </a:lnTo>
                    <a:lnTo>
                      <a:pt x="21523" y="9253"/>
                    </a:lnTo>
                    <a:lnTo>
                      <a:pt x="21456" y="8841"/>
                    </a:lnTo>
                    <a:lnTo>
                      <a:pt x="21379" y="8438"/>
                    </a:lnTo>
                    <a:lnTo>
                      <a:pt x="21274" y="7940"/>
                    </a:lnTo>
                    <a:lnTo>
                      <a:pt x="21149" y="7452"/>
                    </a:lnTo>
                    <a:lnTo>
                      <a:pt x="21015" y="6973"/>
                    </a:lnTo>
                    <a:lnTo>
                      <a:pt x="20862" y="6523"/>
                    </a:lnTo>
                    <a:lnTo>
                      <a:pt x="20689" y="6082"/>
                    </a:lnTo>
                    <a:lnTo>
                      <a:pt x="20507" y="5651"/>
                    </a:lnTo>
                    <a:lnTo>
                      <a:pt x="20306" y="5239"/>
                    </a:lnTo>
                    <a:lnTo>
                      <a:pt x="20095" y="4847"/>
                    </a:lnTo>
                    <a:lnTo>
                      <a:pt x="19866" y="4463"/>
                    </a:lnTo>
                    <a:lnTo>
                      <a:pt x="19636" y="4100"/>
                    </a:lnTo>
                    <a:lnTo>
                      <a:pt x="19387" y="3745"/>
                    </a:lnTo>
                    <a:lnTo>
                      <a:pt x="19118" y="3410"/>
                    </a:lnTo>
                    <a:lnTo>
                      <a:pt x="18850" y="3094"/>
                    </a:lnTo>
                    <a:lnTo>
                      <a:pt x="18563" y="2787"/>
                    </a:lnTo>
                    <a:lnTo>
                      <a:pt x="18276" y="2500"/>
                    </a:lnTo>
                    <a:lnTo>
                      <a:pt x="17969" y="2232"/>
                    </a:lnTo>
                    <a:lnTo>
                      <a:pt x="17663" y="1973"/>
                    </a:lnTo>
                    <a:lnTo>
                      <a:pt x="17337" y="1734"/>
                    </a:lnTo>
                    <a:lnTo>
                      <a:pt x="17011" y="1504"/>
                    </a:lnTo>
                    <a:lnTo>
                      <a:pt x="16686" y="1293"/>
                    </a:lnTo>
                    <a:lnTo>
                      <a:pt x="16341" y="1102"/>
                    </a:lnTo>
                    <a:lnTo>
                      <a:pt x="15996" y="929"/>
                    </a:lnTo>
                    <a:lnTo>
                      <a:pt x="15642" y="766"/>
                    </a:lnTo>
                    <a:lnTo>
                      <a:pt x="15287" y="613"/>
                    </a:lnTo>
                    <a:lnTo>
                      <a:pt x="14923" y="479"/>
                    </a:lnTo>
                    <a:lnTo>
                      <a:pt x="14559" y="364"/>
                    </a:lnTo>
                    <a:lnTo>
                      <a:pt x="14195" y="268"/>
                    </a:lnTo>
                    <a:lnTo>
                      <a:pt x="13822" y="182"/>
                    </a:lnTo>
                    <a:lnTo>
                      <a:pt x="13448" y="115"/>
                    </a:lnTo>
                    <a:lnTo>
                      <a:pt x="13075" y="67"/>
                    </a:lnTo>
                    <a:lnTo>
                      <a:pt x="12701" y="29"/>
                    </a:lnTo>
                    <a:lnTo>
                      <a:pt x="12328" y="10"/>
                    </a:lnTo>
                    <a:lnTo>
                      <a:pt x="1195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397;p31">
                <a:extLst>
                  <a:ext uri="{FF2B5EF4-FFF2-40B4-BE49-F238E27FC236}">
                    <a16:creationId xmlns:a16="http://schemas.microsoft.com/office/drawing/2014/main" id="{F7D3EF5F-668C-49FE-8864-9B31A486BDA8}"/>
                  </a:ext>
                </a:extLst>
              </p:cNvPr>
              <p:cNvSpPr/>
              <p:nvPr/>
            </p:nvSpPr>
            <p:spPr>
              <a:xfrm>
                <a:off x="3205354" y="1483713"/>
                <a:ext cx="533535" cy="1294532"/>
              </a:xfrm>
              <a:custGeom>
                <a:avLst/>
                <a:gdLst/>
                <a:ahLst/>
                <a:cxnLst/>
                <a:rect l="l" t="t" r="r" b="b"/>
                <a:pathLst>
                  <a:path w="16513" h="40066" extrusionOk="0">
                    <a:moveTo>
                      <a:pt x="11350" y="0"/>
                    </a:moveTo>
                    <a:lnTo>
                      <a:pt x="11197" y="10"/>
                    </a:lnTo>
                    <a:lnTo>
                      <a:pt x="11044" y="29"/>
                    </a:lnTo>
                    <a:lnTo>
                      <a:pt x="10900" y="48"/>
                    </a:lnTo>
                    <a:lnTo>
                      <a:pt x="10756" y="77"/>
                    </a:lnTo>
                    <a:lnTo>
                      <a:pt x="10613" y="115"/>
                    </a:lnTo>
                    <a:lnTo>
                      <a:pt x="10469" y="153"/>
                    </a:lnTo>
                    <a:lnTo>
                      <a:pt x="10335" y="201"/>
                    </a:lnTo>
                    <a:lnTo>
                      <a:pt x="10191" y="259"/>
                    </a:lnTo>
                    <a:lnTo>
                      <a:pt x="10067" y="326"/>
                    </a:lnTo>
                    <a:lnTo>
                      <a:pt x="9933" y="402"/>
                    </a:lnTo>
                    <a:lnTo>
                      <a:pt x="9808" y="479"/>
                    </a:lnTo>
                    <a:lnTo>
                      <a:pt x="9875" y="1054"/>
                    </a:lnTo>
                    <a:lnTo>
                      <a:pt x="9952" y="1724"/>
                    </a:lnTo>
                    <a:lnTo>
                      <a:pt x="10038" y="2596"/>
                    </a:lnTo>
                    <a:lnTo>
                      <a:pt x="10134" y="3649"/>
                    </a:lnTo>
                    <a:lnTo>
                      <a:pt x="10239" y="4837"/>
                    </a:lnTo>
                    <a:lnTo>
                      <a:pt x="10325" y="6140"/>
                    </a:lnTo>
                    <a:lnTo>
                      <a:pt x="10373" y="6820"/>
                    </a:lnTo>
                    <a:lnTo>
                      <a:pt x="10402" y="7509"/>
                    </a:lnTo>
                    <a:lnTo>
                      <a:pt x="10440" y="8218"/>
                    </a:lnTo>
                    <a:lnTo>
                      <a:pt x="10460" y="8927"/>
                    </a:lnTo>
                    <a:lnTo>
                      <a:pt x="10479" y="9636"/>
                    </a:lnTo>
                    <a:lnTo>
                      <a:pt x="10479" y="10344"/>
                    </a:lnTo>
                    <a:lnTo>
                      <a:pt x="10479" y="11044"/>
                    </a:lnTo>
                    <a:lnTo>
                      <a:pt x="10469" y="11733"/>
                    </a:lnTo>
                    <a:lnTo>
                      <a:pt x="10440" y="12404"/>
                    </a:lnTo>
                    <a:lnTo>
                      <a:pt x="10402" y="13055"/>
                    </a:lnTo>
                    <a:lnTo>
                      <a:pt x="10354" y="13687"/>
                    </a:lnTo>
                    <a:lnTo>
                      <a:pt x="10287" y="14291"/>
                    </a:lnTo>
                    <a:lnTo>
                      <a:pt x="10211" y="14856"/>
                    </a:lnTo>
                    <a:lnTo>
                      <a:pt x="10163" y="15134"/>
                    </a:lnTo>
                    <a:lnTo>
                      <a:pt x="10115" y="15392"/>
                    </a:lnTo>
                    <a:lnTo>
                      <a:pt x="10057" y="15641"/>
                    </a:lnTo>
                    <a:lnTo>
                      <a:pt x="10000" y="15890"/>
                    </a:lnTo>
                    <a:lnTo>
                      <a:pt x="9933" y="16120"/>
                    </a:lnTo>
                    <a:lnTo>
                      <a:pt x="9866" y="16331"/>
                    </a:lnTo>
                    <a:lnTo>
                      <a:pt x="9789" y="16542"/>
                    </a:lnTo>
                    <a:lnTo>
                      <a:pt x="9712" y="16733"/>
                    </a:lnTo>
                    <a:lnTo>
                      <a:pt x="9626" y="16915"/>
                    </a:lnTo>
                    <a:lnTo>
                      <a:pt x="9540" y="17078"/>
                    </a:lnTo>
                    <a:lnTo>
                      <a:pt x="9473" y="17183"/>
                    </a:lnTo>
                    <a:lnTo>
                      <a:pt x="9396" y="17289"/>
                    </a:lnTo>
                    <a:lnTo>
                      <a:pt x="9320" y="17394"/>
                    </a:lnTo>
                    <a:lnTo>
                      <a:pt x="9224" y="17499"/>
                    </a:lnTo>
                    <a:lnTo>
                      <a:pt x="9013" y="17720"/>
                    </a:lnTo>
                    <a:lnTo>
                      <a:pt x="8764" y="17930"/>
                    </a:lnTo>
                    <a:lnTo>
                      <a:pt x="8486" y="18151"/>
                    </a:lnTo>
                    <a:lnTo>
                      <a:pt x="8190" y="18371"/>
                    </a:lnTo>
                    <a:lnTo>
                      <a:pt x="7864" y="18591"/>
                    </a:lnTo>
                    <a:lnTo>
                      <a:pt x="7510" y="18812"/>
                    </a:lnTo>
                    <a:lnTo>
                      <a:pt x="7146" y="19032"/>
                    </a:lnTo>
                    <a:lnTo>
                      <a:pt x="6762" y="19243"/>
                    </a:lnTo>
                    <a:lnTo>
                      <a:pt x="6370" y="19463"/>
                    </a:lnTo>
                    <a:lnTo>
                      <a:pt x="5958" y="19674"/>
                    </a:lnTo>
                    <a:lnTo>
                      <a:pt x="5546" y="19875"/>
                    </a:lnTo>
                    <a:lnTo>
                      <a:pt x="5134" y="20085"/>
                    </a:lnTo>
                    <a:lnTo>
                      <a:pt x="4291" y="20469"/>
                    </a:lnTo>
                    <a:lnTo>
                      <a:pt x="3468" y="20833"/>
                    </a:lnTo>
                    <a:lnTo>
                      <a:pt x="2682" y="21168"/>
                    </a:lnTo>
                    <a:lnTo>
                      <a:pt x="1954" y="21465"/>
                    </a:lnTo>
                    <a:lnTo>
                      <a:pt x="1312" y="21723"/>
                    </a:lnTo>
                    <a:lnTo>
                      <a:pt x="364" y="22078"/>
                    </a:lnTo>
                    <a:lnTo>
                      <a:pt x="0" y="22212"/>
                    </a:lnTo>
                    <a:lnTo>
                      <a:pt x="2989" y="31148"/>
                    </a:lnTo>
                    <a:lnTo>
                      <a:pt x="5038" y="37288"/>
                    </a:lnTo>
                    <a:lnTo>
                      <a:pt x="5967" y="40065"/>
                    </a:lnTo>
                    <a:lnTo>
                      <a:pt x="6063" y="39443"/>
                    </a:lnTo>
                    <a:lnTo>
                      <a:pt x="6178" y="38830"/>
                    </a:lnTo>
                    <a:lnTo>
                      <a:pt x="6293" y="38207"/>
                    </a:lnTo>
                    <a:lnTo>
                      <a:pt x="6437" y="37594"/>
                    </a:lnTo>
                    <a:lnTo>
                      <a:pt x="6580" y="36972"/>
                    </a:lnTo>
                    <a:lnTo>
                      <a:pt x="6753" y="36359"/>
                    </a:lnTo>
                    <a:lnTo>
                      <a:pt x="6925" y="35746"/>
                    </a:lnTo>
                    <a:lnTo>
                      <a:pt x="7117" y="35142"/>
                    </a:lnTo>
                    <a:lnTo>
                      <a:pt x="7318" y="34529"/>
                    </a:lnTo>
                    <a:lnTo>
                      <a:pt x="7529" y="33926"/>
                    </a:lnTo>
                    <a:lnTo>
                      <a:pt x="7759" y="33332"/>
                    </a:lnTo>
                    <a:lnTo>
                      <a:pt x="7998" y="32729"/>
                    </a:lnTo>
                    <a:lnTo>
                      <a:pt x="8247" y="32135"/>
                    </a:lnTo>
                    <a:lnTo>
                      <a:pt x="8506" y="31550"/>
                    </a:lnTo>
                    <a:lnTo>
                      <a:pt x="8774" y="30966"/>
                    </a:lnTo>
                    <a:lnTo>
                      <a:pt x="9061" y="30382"/>
                    </a:lnTo>
                    <a:lnTo>
                      <a:pt x="9349" y="29807"/>
                    </a:lnTo>
                    <a:lnTo>
                      <a:pt x="9655" y="29233"/>
                    </a:lnTo>
                    <a:lnTo>
                      <a:pt x="9962" y="28667"/>
                    </a:lnTo>
                    <a:lnTo>
                      <a:pt x="10287" y="28102"/>
                    </a:lnTo>
                    <a:lnTo>
                      <a:pt x="10613" y="27547"/>
                    </a:lnTo>
                    <a:lnTo>
                      <a:pt x="10948" y="27001"/>
                    </a:lnTo>
                    <a:lnTo>
                      <a:pt x="11302" y="26455"/>
                    </a:lnTo>
                    <a:lnTo>
                      <a:pt x="11657" y="25918"/>
                    </a:lnTo>
                    <a:lnTo>
                      <a:pt x="12021" y="25392"/>
                    </a:lnTo>
                    <a:lnTo>
                      <a:pt x="12385" y="24865"/>
                    </a:lnTo>
                    <a:lnTo>
                      <a:pt x="12768" y="24357"/>
                    </a:lnTo>
                    <a:lnTo>
                      <a:pt x="13151" y="23840"/>
                    </a:lnTo>
                    <a:lnTo>
                      <a:pt x="13544" y="23342"/>
                    </a:lnTo>
                    <a:lnTo>
                      <a:pt x="13936" y="22853"/>
                    </a:lnTo>
                    <a:lnTo>
                      <a:pt x="14348" y="22365"/>
                    </a:lnTo>
                    <a:lnTo>
                      <a:pt x="14751" y="21886"/>
                    </a:lnTo>
                    <a:lnTo>
                      <a:pt x="15009" y="21589"/>
                    </a:lnTo>
                    <a:lnTo>
                      <a:pt x="15249" y="21292"/>
                    </a:lnTo>
                    <a:lnTo>
                      <a:pt x="15469" y="20995"/>
                    </a:lnTo>
                    <a:lnTo>
                      <a:pt x="15670" y="20708"/>
                    </a:lnTo>
                    <a:lnTo>
                      <a:pt x="15842" y="20421"/>
                    </a:lnTo>
                    <a:lnTo>
                      <a:pt x="15996" y="20152"/>
                    </a:lnTo>
                    <a:lnTo>
                      <a:pt x="16120" y="19875"/>
                    </a:lnTo>
                    <a:lnTo>
                      <a:pt x="16226" y="19616"/>
                    </a:lnTo>
                    <a:lnTo>
                      <a:pt x="16293" y="19386"/>
                    </a:lnTo>
                    <a:lnTo>
                      <a:pt x="16350" y="19147"/>
                    </a:lnTo>
                    <a:lnTo>
                      <a:pt x="16408" y="18888"/>
                    </a:lnTo>
                    <a:lnTo>
                      <a:pt x="16446" y="18620"/>
                    </a:lnTo>
                    <a:lnTo>
                      <a:pt x="16475" y="18333"/>
                    </a:lnTo>
                    <a:lnTo>
                      <a:pt x="16494" y="18045"/>
                    </a:lnTo>
                    <a:lnTo>
                      <a:pt x="16503" y="17739"/>
                    </a:lnTo>
                    <a:lnTo>
                      <a:pt x="16513" y="17423"/>
                    </a:lnTo>
                    <a:lnTo>
                      <a:pt x="16503" y="17097"/>
                    </a:lnTo>
                    <a:lnTo>
                      <a:pt x="16494" y="16752"/>
                    </a:lnTo>
                    <a:lnTo>
                      <a:pt x="16475" y="16407"/>
                    </a:lnTo>
                    <a:lnTo>
                      <a:pt x="16446" y="16053"/>
                    </a:lnTo>
                    <a:lnTo>
                      <a:pt x="16408" y="15699"/>
                    </a:lnTo>
                    <a:lnTo>
                      <a:pt x="16369" y="15325"/>
                    </a:lnTo>
                    <a:lnTo>
                      <a:pt x="16264" y="14568"/>
                    </a:lnTo>
                    <a:lnTo>
                      <a:pt x="16139" y="13783"/>
                    </a:lnTo>
                    <a:lnTo>
                      <a:pt x="15986" y="12988"/>
                    </a:lnTo>
                    <a:lnTo>
                      <a:pt x="15823" y="12174"/>
                    </a:lnTo>
                    <a:lnTo>
                      <a:pt x="15641" y="11350"/>
                    </a:lnTo>
                    <a:lnTo>
                      <a:pt x="15440" y="10526"/>
                    </a:lnTo>
                    <a:lnTo>
                      <a:pt x="15229" y="9703"/>
                    </a:lnTo>
                    <a:lnTo>
                      <a:pt x="15009" y="8879"/>
                    </a:lnTo>
                    <a:lnTo>
                      <a:pt x="14789" y="8065"/>
                    </a:lnTo>
                    <a:lnTo>
                      <a:pt x="14559" y="7270"/>
                    </a:lnTo>
                    <a:lnTo>
                      <a:pt x="14320" y="6484"/>
                    </a:lnTo>
                    <a:lnTo>
                      <a:pt x="14090" y="5728"/>
                    </a:lnTo>
                    <a:lnTo>
                      <a:pt x="13860" y="5000"/>
                    </a:lnTo>
                    <a:lnTo>
                      <a:pt x="13419" y="3640"/>
                    </a:lnTo>
                    <a:lnTo>
                      <a:pt x="13007" y="2452"/>
                    </a:lnTo>
                    <a:lnTo>
                      <a:pt x="12663" y="1456"/>
                    </a:lnTo>
                    <a:lnTo>
                      <a:pt x="12385" y="709"/>
                    </a:lnTo>
                    <a:lnTo>
                      <a:pt x="12145" y="58"/>
                    </a:lnTo>
                    <a:lnTo>
                      <a:pt x="11820" y="19"/>
                    </a:lnTo>
                    <a:lnTo>
                      <a:pt x="11666" y="10"/>
                    </a:lnTo>
                    <a:lnTo>
                      <a:pt x="1150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398;p31">
                <a:extLst>
                  <a:ext uri="{FF2B5EF4-FFF2-40B4-BE49-F238E27FC236}">
                    <a16:creationId xmlns:a16="http://schemas.microsoft.com/office/drawing/2014/main" id="{71243C59-4B8F-46F5-90F4-D657709778E1}"/>
                  </a:ext>
                </a:extLst>
              </p:cNvPr>
              <p:cNvSpPr/>
              <p:nvPr/>
            </p:nvSpPr>
            <p:spPr>
              <a:xfrm>
                <a:off x="1497346" y="3314859"/>
                <a:ext cx="329627" cy="67819"/>
              </a:xfrm>
              <a:custGeom>
                <a:avLst/>
                <a:gdLst/>
                <a:ahLst/>
                <a:cxnLst/>
                <a:rect l="l" t="t" r="r" b="b"/>
                <a:pathLst>
                  <a:path w="10202" h="2099" extrusionOk="0">
                    <a:moveTo>
                      <a:pt x="1993" y="1"/>
                    </a:moveTo>
                    <a:lnTo>
                      <a:pt x="1792" y="20"/>
                    </a:lnTo>
                    <a:lnTo>
                      <a:pt x="1591" y="49"/>
                    </a:lnTo>
                    <a:lnTo>
                      <a:pt x="1399" y="97"/>
                    </a:lnTo>
                    <a:lnTo>
                      <a:pt x="1217" y="164"/>
                    </a:lnTo>
                    <a:lnTo>
                      <a:pt x="1045" y="250"/>
                    </a:lnTo>
                    <a:lnTo>
                      <a:pt x="872" y="346"/>
                    </a:lnTo>
                    <a:lnTo>
                      <a:pt x="719" y="461"/>
                    </a:lnTo>
                    <a:lnTo>
                      <a:pt x="585" y="595"/>
                    </a:lnTo>
                    <a:lnTo>
                      <a:pt x="451" y="729"/>
                    </a:lnTo>
                    <a:lnTo>
                      <a:pt x="336" y="882"/>
                    </a:lnTo>
                    <a:lnTo>
                      <a:pt x="240" y="1054"/>
                    </a:lnTo>
                    <a:lnTo>
                      <a:pt x="154" y="1227"/>
                    </a:lnTo>
                    <a:lnTo>
                      <a:pt x="87" y="1409"/>
                    </a:lnTo>
                    <a:lnTo>
                      <a:pt x="39" y="1600"/>
                    </a:lnTo>
                    <a:lnTo>
                      <a:pt x="10" y="1802"/>
                    </a:lnTo>
                    <a:lnTo>
                      <a:pt x="1" y="2003"/>
                    </a:lnTo>
                    <a:lnTo>
                      <a:pt x="1" y="2098"/>
                    </a:lnTo>
                    <a:lnTo>
                      <a:pt x="10201" y="2098"/>
                    </a:lnTo>
                    <a:lnTo>
                      <a:pt x="10201" y="2003"/>
                    </a:lnTo>
                    <a:lnTo>
                      <a:pt x="10192" y="1802"/>
                    </a:lnTo>
                    <a:lnTo>
                      <a:pt x="10163" y="1600"/>
                    </a:lnTo>
                    <a:lnTo>
                      <a:pt x="10115" y="1409"/>
                    </a:lnTo>
                    <a:lnTo>
                      <a:pt x="10048" y="1227"/>
                    </a:lnTo>
                    <a:lnTo>
                      <a:pt x="9962" y="1054"/>
                    </a:lnTo>
                    <a:lnTo>
                      <a:pt x="9866" y="882"/>
                    </a:lnTo>
                    <a:lnTo>
                      <a:pt x="9751" y="729"/>
                    </a:lnTo>
                    <a:lnTo>
                      <a:pt x="9617" y="595"/>
                    </a:lnTo>
                    <a:lnTo>
                      <a:pt x="9474" y="461"/>
                    </a:lnTo>
                    <a:lnTo>
                      <a:pt x="9320" y="346"/>
                    </a:lnTo>
                    <a:lnTo>
                      <a:pt x="9157" y="250"/>
                    </a:lnTo>
                    <a:lnTo>
                      <a:pt x="8985" y="164"/>
                    </a:lnTo>
                    <a:lnTo>
                      <a:pt x="8803" y="97"/>
                    </a:lnTo>
                    <a:lnTo>
                      <a:pt x="8612" y="49"/>
                    </a:lnTo>
                    <a:lnTo>
                      <a:pt x="8410" y="20"/>
                    </a:lnTo>
                    <a:lnTo>
                      <a:pt x="820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399;p31">
                <a:extLst>
                  <a:ext uri="{FF2B5EF4-FFF2-40B4-BE49-F238E27FC236}">
                    <a16:creationId xmlns:a16="http://schemas.microsoft.com/office/drawing/2014/main" id="{2D4E0245-69AB-4F5A-8142-B0BC805866AF}"/>
                  </a:ext>
                </a:extLst>
              </p:cNvPr>
              <p:cNvSpPr/>
              <p:nvPr/>
            </p:nvSpPr>
            <p:spPr>
              <a:xfrm>
                <a:off x="1417506" y="3147134"/>
                <a:ext cx="249466" cy="235540"/>
              </a:xfrm>
              <a:custGeom>
                <a:avLst/>
                <a:gdLst/>
                <a:ahLst/>
                <a:cxnLst/>
                <a:rect l="l" t="t" r="r" b="b"/>
                <a:pathLst>
                  <a:path w="7721" h="7290" extrusionOk="0">
                    <a:moveTo>
                      <a:pt x="1849" y="0"/>
                    </a:moveTo>
                    <a:lnTo>
                      <a:pt x="1" y="7289"/>
                    </a:lnTo>
                    <a:lnTo>
                      <a:pt x="5872" y="7289"/>
                    </a:lnTo>
                    <a:lnTo>
                      <a:pt x="7721" y="0"/>
                    </a:lnTo>
                    <a:close/>
                  </a:path>
                </a:pathLst>
              </a:custGeom>
              <a:solidFill>
                <a:srgbClr val="CCCC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400;p31">
                <a:extLst>
                  <a:ext uri="{FF2B5EF4-FFF2-40B4-BE49-F238E27FC236}">
                    <a16:creationId xmlns:a16="http://schemas.microsoft.com/office/drawing/2014/main" id="{8986333C-6055-46B5-841C-B6C86D9314AD}"/>
                  </a:ext>
                </a:extLst>
              </p:cNvPr>
              <p:cNvSpPr/>
              <p:nvPr/>
            </p:nvSpPr>
            <p:spPr>
              <a:xfrm>
                <a:off x="1043671" y="2522309"/>
                <a:ext cx="1036731" cy="669722"/>
              </a:xfrm>
              <a:custGeom>
                <a:avLst/>
                <a:gdLst/>
                <a:ahLst/>
                <a:cxnLst/>
                <a:rect l="l" t="t" r="r" b="b"/>
                <a:pathLst>
                  <a:path w="32087" h="20728" extrusionOk="0">
                    <a:moveTo>
                      <a:pt x="1533" y="0"/>
                    </a:moveTo>
                    <a:lnTo>
                      <a:pt x="1370" y="10"/>
                    </a:lnTo>
                    <a:lnTo>
                      <a:pt x="1226" y="29"/>
                    </a:lnTo>
                    <a:lnTo>
                      <a:pt x="1073" y="67"/>
                    </a:lnTo>
                    <a:lnTo>
                      <a:pt x="939" y="125"/>
                    </a:lnTo>
                    <a:lnTo>
                      <a:pt x="805" y="182"/>
                    </a:lnTo>
                    <a:lnTo>
                      <a:pt x="671" y="259"/>
                    </a:lnTo>
                    <a:lnTo>
                      <a:pt x="556" y="345"/>
                    </a:lnTo>
                    <a:lnTo>
                      <a:pt x="450" y="450"/>
                    </a:lnTo>
                    <a:lnTo>
                      <a:pt x="345" y="556"/>
                    </a:lnTo>
                    <a:lnTo>
                      <a:pt x="259" y="671"/>
                    </a:lnTo>
                    <a:lnTo>
                      <a:pt x="182" y="805"/>
                    </a:lnTo>
                    <a:lnTo>
                      <a:pt x="125" y="939"/>
                    </a:lnTo>
                    <a:lnTo>
                      <a:pt x="67" y="1073"/>
                    </a:lnTo>
                    <a:lnTo>
                      <a:pt x="29" y="1226"/>
                    </a:lnTo>
                    <a:lnTo>
                      <a:pt x="10" y="1370"/>
                    </a:lnTo>
                    <a:lnTo>
                      <a:pt x="0" y="1533"/>
                    </a:lnTo>
                    <a:lnTo>
                      <a:pt x="2184" y="19195"/>
                    </a:lnTo>
                    <a:lnTo>
                      <a:pt x="2194" y="19348"/>
                    </a:lnTo>
                    <a:lnTo>
                      <a:pt x="2213" y="19501"/>
                    </a:lnTo>
                    <a:lnTo>
                      <a:pt x="2251" y="19645"/>
                    </a:lnTo>
                    <a:lnTo>
                      <a:pt x="2309" y="19789"/>
                    </a:lnTo>
                    <a:lnTo>
                      <a:pt x="2366" y="19923"/>
                    </a:lnTo>
                    <a:lnTo>
                      <a:pt x="2443" y="20047"/>
                    </a:lnTo>
                    <a:lnTo>
                      <a:pt x="2539" y="20162"/>
                    </a:lnTo>
                    <a:lnTo>
                      <a:pt x="2634" y="20277"/>
                    </a:lnTo>
                    <a:lnTo>
                      <a:pt x="2740" y="20373"/>
                    </a:lnTo>
                    <a:lnTo>
                      <a:pt x="2855" y="20459"/>
                    </a:lnTo>
                    <a:lnTo>
                      <a:pt x="2989" y="20536"/>
                    </a:lnTo>
                    <a:lnTo>
                      <a:pt x="3123" y="20603"/>
                    </a:lnTo>
                    <a:lnTo>
                      <a:pt x="3257" y="20651"/>
                    </a:lnTo>
                    <a:lnTo>
                      <a:pt x="3410" y="20689"/>
                    </a:lnTo>
                    <a:lnTo>
                      <a:pt x="3554" y="20718"/>
                    </a:lnTo>
                    <a:lnTo>
                      <a:pt x="3717" y="20727"/>
                    </a:lnTo>
                    <a:lnTo>
                      <a:pt x="30564" y="20727"/>
                    </a:lnTo>
                    <a:lnTo>
                      <a:pt x="30717" y="20718"/>
                    </a:lnTo>
                    <a:lnTo>
                      <a:pt x="30871" y="20689"/>
                    </a:lnTo>
                    <a:lnTo>
                      <a:pt x="31014" y="20651"/>
                    </a:lnTo>
                    <a:lnTo>
                      <a:pt x="31158" y="20603"/>
                    </a:lnTo>
                    <a:lnTo>
                      <a:pt x="31292" y="20536"/>
                    </a:lnTo>
                    <a:lnTo>
                      <a:pt x="31416" y="20459"/>
                    </a:lnTo>
                    <a:lnTo>
                      <a:pt x="31531" y="20373"/>
                    </a:lnTo>
                    <a:lnTo>
                      <a:pt x="31646" y="20277"/>
                    </a:lnTo>
                    <a:lnTo>
                      <a:pt x="31742" y="20162"/>
                    </a:lnTo>
                    <a:lnTo>
                      <a:pt x="31828" y="20047"/>
                    </a:lnTo>
                    <a:lnTo>
                      <a:pt x="31905" y="19923"/>
                    </a:lnTo>
                    <a:lnTo>
                      <a:pt x="31972" y="19789"/>
                    </a:lnTo>
                    <a:lnTo>
                      <a:pt x="32020" y="19645"/>
                    </a:lnTo>
                    <a:lnTo>
                      <a:pt x="32058" y="19501"/>
                    </a:lnTo>
                    <a:lnTo>
                      <a:pt x="32087" y="19348"/>
                    </a:lnTo>
                    <a:lnTo>
                      <a:pt x="32087" y="19195"/>
                    </a:lnTo>
                    <a:lnTo>
                      <a:pt x="29903" y="1533"/>
                    </a:lnTo>
                    <a:lnTo>
                      <a:pt x="29903" y="1370"/>
                    </a:lnTo>
                    <a:lnTo>
                      <a:pt x="29874" y="1226"/>
                    </a:lnTo>
                    <a:lnTo>
                      <a:pt x="29836" y="1073"/>
                    </a:lnTo>
                    <a:lnTo>
                      <a:pt x="29788" y="939"/>
                    </a:lnTo>
                    <a:lnTo>
                      <a:pt x="29721" y="805"/>
                    </a:lnTo>
                    <a:lnTo>
                      <a:pt x="29645" y="671"/>
                    </a:lnTo>
                    <a:lnTo>
                      <a:pt x="29558" y="556"/>
                    </a:lnTo>
                    <a:lnTo>
                      <a:pt x="29463" y="450"/>
                    </a:lnTo>
                    <a:lnTo>
                      <a:pt x="29348" y="345"/>
                    </a:lnTo>
                    <a:lnTo>
                      <a:pt x="29233" y="259"/>
                    </a:lnTo>
                    <a:lnTo>
                      <a:pt x="29108" y="182"/>
                    </a:lnTo>
                    <a:lnTo>
                      <a:pt x="28974" y="125"/>
                    </a:lnTo>
                    <a:lnTo>
                      <a:pt x="28830" y="67"/>
                    </a:lnTo>
                    <a:lnTo>
                      <a:pt x="28687" y="29"/>
                    </a:lnTo>
                    <a:lnTo>
                      <a:pt x="28533" y="10"/>
                    </a:lnTo>
                    <a:lnTo>
                      <a:pt x="28380" y="0"/>
                    </a:lnTo>
                    <a:close/>
                  </a:path>
                </a:pathLst>
              </a:cu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401;p31">
                <a:extLst>
                  <a:ext uri="{FF2B5EF4-FFF2-40B4-BE49-F238E27FC236}">
                    <a16:creationId xmlns:a16="http://schemas.microsoft.com/office/drawing/2014/main" id="{B8E8E37D-DDA9-4D5C-B8BB-51013A2B8A25}"/>
                  </a:ext>
                </a:extLst>
              </p:cNvPr>
              <p:cNvSpPr/>
              <p:nvPr/>
            </p:nvSpPr>
            <p:spPr>
              <a:xfrm>
                <a:off x="1463000" y="2794333"/>
                <a:ext cx="178610" cy="159708"/>
              </a:xfrm>
              <a:custGeom>
                <a:avLst/>
                <a:gdLst/>
                <a:ahLst/>
                <a:cxnLst/>
                <a:rect l="l" t="t" r="r" b="b"/>
                <a:pathLst>
                  <a:path w="5528" h="4943" extrusionOk="0">
                    <a:moveTo>
                      <a:pt x="844" y="0"/>
                    </a:moveTo>
                    <a:lnTo>
                      <a:pt x="757" y="10"/>
                    </a:lnTo>
                    <a:lnTo>
                      <a:pt x="671" y="20"/>
                    </a:lnTo>
                    <a:lnTo>
                      <a:pt x="594" y="39"/>
                    </a:lnTo>
                    <a:lnTo>
                      <a:pt x="518" y="67"/>
                    </a:lnTo>
                    <a:lnTo>
                      <a:pt x="441" y="106"/>
                    </a:lnTo>
                    <a:lnTo>
                      <a:pt x="374" y="154"/>
                    </a:lnTo>
                    <a:lnTo>
                      <a:pt x="307" y="202"/>
                    </a:lnTo>
                    <a:lnTo>
                      <a:pt x="250" y="249"/>
                    </a:lnTo>
                    <a:lnTo>
                      <a:pt x="192" y="317"/>
                    </a:lnTo>
                    <a:lnTo>
                      <a:pt x="144" y="374"/>
                    </a:lnTo>
                    <a:lnTo>
                      <a:pt x="96" y="451"/>
                    </a:lnTo>
                    <a:lnTo>
                      <a:pt x="68" y="527"/>
                    </a:lnTo>
                    <a:lnTo>
                      <a:pt x="39" y="604"/>
                    </a:lnTo>
                    <a:lnTo>
                      <a:pt x="10" y="680"/>
                    </a:lnTo>
                    <a:lnTo>
                      <a:pt x="1" y="767"/>
                    </a:lnTo>
                    <a:lnTo>
                      <a:pt x="1" y="853"/>
                    </a:lnTo>
                    <a:lnTo>
                      <a:pt x="585" y="4100"/>
                    </a:lnTo>
                    <a:lnTo>
                      <a:pt x="585" y="4186"/>
                    </a:lnTo>
                    <a:lnTo>
                      <a:pt x="604" y="4263"/>
                    </a:lnTo>
                    <a:lnTo>
                      <a:pt x="623" y="4349"/>
                    </a:lnTo>
                    <a:lnTo>
                      <a:pt x="652" y="4426"/>
                    </a:lnTo>
                    <a:lnTo>
                      <a:pt x="690" y="4502"/>
                    </a:lnTo>
                    <a:lnTo>
                      <a:pt x="729" y="4569"/>
                    </a:lnTo>
                    <a:lnTo>
                      <a:pt x="776" y="4636"/>
                    </a:lnTo>
                    <a:lnTo>
                      <a:pt x="834" y="4694"/>
                    </a:lnTo>
                    <a:lnTo>
                      <a:pt x="891" y="4751"/>
                    </a:lnTo>
                    <a:lnTo>
                      <a:pt x="958" y="4799"/>
                    </a:lnTo>
                    <a:lnTo>
                      <a:pt x="1025" y="4847"/>
                    </a:lnTo>
                    <a:lnTo>
                      <a:pt x="1102" y="4876"/>
                    </a:lnTo>
                    <a:lnTo>
                      <a:pt x="1179" y="4904"/>
                    </a:lnTo>
                    <a:lnTo>
                      <a:pt x="1265" y="4933"/>
                    </a:lnTo>
                    <a:lnTo>
                      <a:pt x="1351" y="4943"/>
                    </a:lnTo>
                    <a:lnTo>
                      <a:pt x="4761" y="4943"/>
                    </a:lnTo>
                    <a:lnTo>
                      <a:pt x="4847" y="4933"/>
                    </a:lnTo>
                    <a:lnTo>
                      <a:pt x="4933" y="4904"/>
                    </a:lnTo>
                    <a:lnTo>
                      <a:pt x="5010" y="4876"/>
                    </a:lnTo>
                    <a:lnTo>
                      <a:pt x="5077" y="4847"/>
                    </a:lnTo>
                    <a:lnTo>
                      <a:pt x="5154" y="4799"/>
                    </a:lnTo>
                    <a:lnTo>
                      <a:pt x="5221" y="4751"/>
                    </a:lnTo>
                    <a:lnTo>
                      <a:pt x="5278" y="4694"/>
                    </a:lnTo>
                    <a:lnTo>
                      <a:pt x="5336" y="4636"/>
                    </a:lnTo>
                    <a:lnTo>
                      <a:pt x="5384" y="4569"/>
                    </a:lnTo>
                    <a:lnTo>
                      <a:pt x="5422" y="4502"/>
                    </a:lnTo>
                    <a:lnTo>
                      <a:pt x="5460" y="4426"/>
                    </a:lnTo>
                    <a:lnTo>
                      <a:pt x="5489" y="4349"/>
                    </a:lnTo>
                    <a:lnTo>
                      <a:pt x="5508" y="4263"/>
                    </a:lnTo>
                    <a:lnTo>
                      <a:pt x="5518" y="4186"/>
                    </a:lnTo>
                    <a:lnTo>
                      <a:pt x="5527" y="4100"/>
                    </a:lnTo>
                    <a:lnTo>
                      <a:pt x="4933" y="853"/>
                    </a:lnTo>
                    <a:lnTo>
                      <a:pt x="4933" y="767"/>
                    </a:lnTo>
                    <a:lnTo>
                      <a:pt x="4924" y="680"/>
                    </a:lnTo>
                    <a:lnTo>
                      <a:pt x="4895" y="604"/>
                    </a:lnTo>
                    <a:lnTo>
                      <a:pt x="4876" y="527"/>
                    </a:lnTo>
                    <a:lnTo>
                      <a:pt x="4838" y="451"/>
                    </a:lnTo>
                    <a:lnTo>
                      <a:pt x="4790" y="374"/>
                    </a:lnTo>
                    <a:lnTo>
                      <a:pt x="4742" y="317"/>
                    </a:lnTo>
                    <a:lnTo>
                      <a:pt x="4684" y="249"/>
                    </a:lnTo>
                    <a:lnTo>
                      <a:pt x="4627" y="202"/>
                    </a:lnTo>
                    <a:lnTo>
                      <a:pt x="4560" y="154"/>
                    </a:lnTo>
                    <a:lnTo>
                      <a:pt x="4493" y="106"/>
                    </a:lnTo>
                    <a:lnTo>
                      <a:pt x="4416" y="67"/>
                    </a:lnTo>
                    <a:lnTo>
                      <a:pt x="4340" y="39"/>
                    </a:lnTo>
                    <a:lnTo>
                      <a:pt x="4263" y="20"/>
                    </a:lnTo>
                    <a:lnTo>
                      <a:pt x="4177" y="10"/>
                    </a:lnTo>
                    <a:lnTo>
                      <a:pt x="4090"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402;p31">
                <a:extLst>
                  <a:ext uri="{FF2B5EF4-FFF2-40B4-BE49-F238E27FC236}">
                    <a16:creationId xmlns:a16="http://schemas.microsoft.com/office/drawing/2014/main" id="{18EA05C8-2224-42AE-B355-327231444D19}"/>
                  </a:ext>
                </a:extLst>
              </p:cNvPr>
              <p:cNvSpPr/>
              <p:nvPr/>
            </p:nvSpPr>
            <p:spPr>
              <a:xfrm>
                <a:off x="832618" y="3466202"/>
                <a:ext cx="1738601" cy="37480"/>
              </a:xfrm>
              <a:custGeom>
                <a:avLst/>
                <a:gdLst/>
                <a:ahLst/>
                <a:cxnLst/>
                <a:rect l="l" t="t" r="r" b="b"/>
                <a:pathLst>
                  <a:path w="53810" h="1160" extrusionOk="0">
                    <a:moveTo>
                      <a:pt x="0" y="1"/>
                    </a:moveTo>
                    <a:lnTo>
                      <a:pt x="0" y="1159"/>
                    </a:lnTo>
                    <a:lnTo>
                      <a:pt x="53810" y="1159"/>
                    </a:lnTo>
                    <a:lnTo>
                      <a:pt x="53810"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403;p31">
                <a:extLst>
                  <a:ext uri="{FF2B5EF4-FFF2-40B4-BE49-F238E27FC236}">
                    <a16:creationId xmlns:a16="http://schemas.microsoft.com/office/drawing/2014/main" id="{00CEB3C2-7539-4B3F-A2DD-A8709FAA02F5}"/>
                  </a:ext>
                </a:extLst>
              </p:cNvPr>
              <p:cNvSpPr/>
              <p:nvPr/>
            </p:nvSpPr>
            <p:spPr>
              <a:xfrm>
                <a:off x="607315" y="3437123"/>
                <a:ext cx="450595" cy="1240995"/>
              </a:xfrm>
              <a:custGeom>
                <a:avLst/>
                <a:gdLst/>
                <a:ahLst/>
                <a:cxnLst/>
                <a:rect l="l" t="t" r="r" b="b"/>
                <a:pathLst>
                  <a:path w="13946" h="38409" extrusionOk="0">
                    <a:moveTo>
                      <a:pt x="10306" y="0"/>
                    </a:moveTo>
                    <a:lnTo>
                      <a:pt x="0" y="38408"/>
                    </a:lnTo>
                    <a:lnTo>
                      <a:pt x="1312" y="38408"/>
                    </a:lnTo>
                    <a:lnTo>
                      <a:pt x="13946" y="345"/>
                    </a:lnTo>
                    <a:lnTo>
                      <a:pt x="1030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404;p31">
                <a:extLst>
                  <a:ext uri="{FF2B5EF4-FFF2-40B4-BE49-F238E27FC236}">
                    <a16:creationId xmlns:a16="http://schemas.microsoft.com/office/drawing/2014/main" id="{42C316DC-EB41-4715-92DF-7E4BCF94EA78}"/>
                  </a:ext>
                </a:extLst>
              </p:cNvPr>
              <p:cNvSpPr/>
              <p:nvPr/>
            </p:nvSpPr>
            <p:spPr>
              <a:xfrm>
                <a:off x="2320881" y="3437123"/>
                <a:ext cx="450304" cy="1240995"/>
              </a:xfrm>
              <a:custGeom>
                <a:avLst/>
                <a:gdLst/>
                <a:ahLst/>
                <a:cxnLst/>
                <a:rect l="l" t="t" r="r" b="b"/>
                <a:pathLst>
                  <a:path w="13937" h="38409" extrusionOk="0">
                    <a:moveTo>
                      <a:pt x="3640" y="0"/>
                    </a:moveTo>
                    <a:lnTo>
                      <a:pt x="0" y="345"/>
                    </a:lnTo>
                    <a:lnTo>
                      <a:pt x="12634" y="38408"/>
                    </a:lnTo>
                    <a:lnTo>
                      <a:pt x="13936" y="38408"/>
                    </a:lnTo>
                    <a:lnTo>
                      <a:pt x="364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405;p31">
                <a:extLst>
                  <a:ext uri="{FF2B5EF4-FFF2-40B4-BE49-F238E27FC236}">
                    <a16:creationId xmlns:a16="http://schemas.microsoft.com/office/drawing/2014/main" id="{CD92F6F4-51FB-4BBA-B5C6-1D8941EFBD63}"/>
                  </a:ext>
                </a:extLst>
              </p:cNvPr>
              <p:cNvSpPr/>
              <p:nvPr/>
            </p:nvSpPr>
            <p:spPr>
              <a:xfrm>
                <a:off x="746575" y="3378317"/>
                <a:ext cx="1915628" cy="96284"/>
              </a:xfrm>
              <a:custGeom>
                <a:avLst/>
                <a:gdLst/>
                <a:ahLst/>
                <a:cxnLst/>
                <a:rect l="l" t="t" r="r" b="b"/>
                <a:pathLst>
                  <a:path w="59289" h="2980" extrusionOk="0">
                    <a:moveTo>
                      <a:pt x="0" y="0"/>
                    </a:moveTo>
                    <a:lnTo>
                      <a:pt x="0" y="2979"/>
                    </a:lnTo>
                    <a:lnTo>
                      <a:pt x="59289" y="2979"/>
                    </a:lnTo>
                    <a:lnTo>
                      <a:pt x="59289"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406;p31">
                <a:extLst>
                  <a:ext uri="{FF2B5EF4-FFF2-40B4-BE49-F238E27FC236}">
                    <a16:creationId xmlns:a16="http://schemas.microsoft.com/office/drawing/2014/main" id="{05421987-7EEE-4A76-A14D-E7352D1F6CFB}"/>
                  </a:ext>
                </a:extLst>
              </p:cNvPr>
              <p:cNvSpPr/>
              <p:nvPr/>
            </p:nvSpPr>
            <p:spPr>
              <a:xfrm>
                <a:off x="3101669" y="1759129"/>
                <a:ext cx="167463" cy="301775"/>
              </a:xfrm>
              <a:custGeom>
                <a:avLst/>
                <a:gdLst/>
                <a:ahLst/>
                <a:cxnLst/>
                <a:rect l="l" t="t" r="r" b="b"/>
                <a:pathLst>
                  <a:path w="5183" h="9340" extrusionOk="0">
                    <a:moveTo>
                      <a:pt x="2223" y="1"/>
                    </a:moveTo>
                    <a:lnTo>
                      <a:pt x="2070" y="10"/>
                    </a:lnTo>
                    <a:lnTo>
                      <a:pt x="1926" y="29"/>
                    </a:lnTo>
                    <a:lnTo>
                      <a:pt x="1782" y="58"/>
                    </a:lnTo>
                    <a:lnTo>
                      <a:pt x="1648" y="96"/>
                    </a:lnTo>
                    <a:lnTo>
                      <a:pt x="1514" y="144"/>
                    </a:lnTo>
                    <a:lnTo>
                      <a:pt x="1389" y="202"/>
                    </a:lnTo>
                    <a:lnTo>
                      <a:pt x="1265" y="259"/>
                    </a:lnTo>
                    <a:lnTo>
                      <a:pt x="1150" y="336"/>
                    </a:lnTo>
                    <a:lnTo>
                      <a:pt x="1045" y="403"/>
                    </a:lnTo>
                    <a:lnTo>
                      <a:pt x="939" y="489"/>
                    </a:lnTo>
                    <a:lnTo>
                      <a:pt x="738" y="652"/>
                    </a:lnTo>
                    <a:lnTo>
                      <a:pt x="566" y="824"/>
                    </a:lnTo>
                    <a:lnTo>
                      <a:pt x="422" y="997"/>
                    </a:lnTo>
                    <a:lnTo>
                      <a:pt x="288" y="1160"/>
                    </a:lnTo>
                    <a:lnTo>
                      <a:pt x="192" y="1313"/>
                    </a:lnTo>
                    <a:lnTo>
                      <a:pt x="106" y="1437"/>
                    </a:lnTo>
                    <a:lnTo>
                      <a:pt x="49" y="1543"/>
                    </a:lnTo>
                    <a:lnTo>
                      <a:pt x="1" y="1629"/>
                    </a:lnTo>
                    <a:lnTo>
                      <a:pt x="2587" y="9339"/>
                    </a:lnTo>
                    <a:lnTo>
                      <a:pt x="2625" y="9330"/>
                    </a:lnTo>
                    <a:lnTo>
                      <a:pt x="2750" y="9282"/>
                    </a:lnTo>
                    <a:lnTo>
                      <a:pt x="2836" y="9234"/>
                    </a:lnTo>
                    <a:lnTo>
                      <a:pt x="2941" y="9176"/>
                    </a:lnTo>
                    <a:lnTo>
                      <a:pt x="3056" y="9090"/>
                    </a:lnTo>
                    <a:lnTo>
                      <a:pt x="3190" y="8985"/>
                    </a:lnTo>
                    <a:lnTo>
                      <a:pt x="3334" y="8851"/>
                    </a:lnTo>
                    <a:lnTo>
                      <a:pt x="3487" y="8688"/>
                    </a:lnTo>
                    <a:lnTo>
                      <a:pt x="3659" y="8496"/>
                    </a:lnTo>
                    <a:lnTo>
                      <a:pt x="3832" y="8267"/>
                    </a:lnTo>
                    <a:lnTo>
                      <a:pt x="4014" y="8008"/>
                    </a:lnTo>
                    <a:lnTo>
                      <a:pt x="4205" y="7701"/>
                    </a:lnTo>
                    <a:lnTo>
                      <a:pt x="4397" y="7357"/>
                    </a:lnTo>
                    <a:lnTo>
                      <a:pt x="4598" y="6964"/>
                    </a:lnTo>
                    <a:lnTo>
                      <a:pt x="4703" y="6734"/>
                    </a:lnTo>
                    <a:lnTo>
                      <a:pt x="4799" y="6485"/>
                    </a:lnTo>
                    <a:lnTo>
                      <a:pt x="4885" y="6246"/>
                    </a:lnTo>
                    <a:lnTo>
                      <a:pt x="4962" y="5987"/>
                    </a:lnTo>
                    <a:lnTo>
                      <a:pt x="5029" y="5728"/>
                    </a:lnTo>
                    <a:lnTo>
                      <a:pt x="5077" y="5470"/>
                    </a:lnTo>
                    <a:lnTo>
                      <a:pt x="5115" y="5211"/>
                    </a:lnTo>
                    <a:lnTo>
                      <a:pt x="5154" y="4943"/>
                    </a:lnTo>
                    <a:lnTo>
                      <a:pt x="5173" y="4684"/>
                    </a:lnTo>
                    <a:lnTo>
                      <a:pt x="5182" y="4416"/>
                    </a:lnTo>
                    <a:lnTo>
                      <a:pt x="5182" y="4148"/>
                    </a:lnTo>
                    <a:lnTo>
                      <a:pt x="5173" y="3889"/>
                    </a:lnTo>
                    <a:lnTo>
                      <a:pt x="5154" y="3631"/>
                    </a:lnTo>
                    <a:lnTo>
                      <a:pt x="5125" y="3372"/>
                    </a:lnTo>
                    <a:lnTo>
                      <a:pt x="5077" y="3114"/>
                    </a:lnTo>
                    <a:lnTo>
                      <a:pt x="5029" y="2864"/>
                    </a:lnTo>
                    <a:lnTo>
                      <a:pt x="4972" y="2625"/>
                    </a:lnTo>
                    <a:lnTo>
                      <a:pt x="4895" y="2386"/>
                    </a:lnTo>
                    <a:lnTo>
                      <a:pt x="4818" y="2146"/>
                    </a:lnTo>
                    <a:lnTo>
                      <a:pt x="4723" y="1926"/>
                    </a:lnTo>
                    <a:lnTo>
                      <a:pt x="4627" y="1706"/>
                    </a:lnTo>
                    <a:lnTo>
                      <a:pt x="4512" y="1504"/>
                    </a:lnTo>
                    <a:lnTo>
                      <a:pt x="4397" y="1303"/>
                    </a:lnTo>
                    <a:lnTo>
                      <a:pt x="4263" y="1121"/>
                    </a:lnTo>
                    <a:lnTo>
                      <a:pt x="4129" y="939"/>
                    </a:lnTo>
                    <a:lnTo>
                      <a:pt x="3976" y="776"/>
                    </a:lnTo>
                    <a:lnTo>
                      <a:pt x="3813" y="633"/>
                    </a:lnTo>
                    <a:lnTo>
                      <a:pt x="3650" y="499"/>
                    </a:lnTo>
                    <a:lnTo>
                      <a:pt x="3468" y="374"/>
                    </a:lnTo>
                    <a:lnTo>
                      <a:pt x="3286" y="269"/>
                    </a:lnTo>
                    <a:lnTo>
                      <a:pt x="3085" y="173"/>
                    </a:lnTo>
                    <a:lnTo>
                      <a:pt x="2884" y="106"/>
                    </a:lnTo>
                    <a:lnTo>
                      <a:pt x="2711" y="58"/>
                    </a:lnTo>
                    <a:lnTo>
                      <a:pt x="2539" y="20"/>
                    </a:lnTo>
                    <a:lnTo>
                      <a:pt x="2376" y="10"/>
                    </a:lnTo>
                    <a:lnTo>
                      <a:pt x="222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1407;p31">
                <a:extLst>
                  <a:ext uri="{FF2B5EF4-FFF2-40B4-BE49-F238E27FC236}">
                    <a16:creationId xmlns:a16="http://schemas.microsoft.com/office/drawing/2014/main" id="{03228EF4-D806-456F-A11E-84D3D7C68FB5}"/>
                  </a:ext>
                </a:extLst>
              </p:cNvPr>
              <p:cNvSpPr/>
              <p:nvPr/>
            </p:nvSpPr>
            <p:spPr>
              <a:xfrm>
                <a:off x="3034527" y="1952865"/>
                <a:ext cx="151986" cy="289078"/>
              </a:xfrm>
              <a:custGeom>
                <a:avLst/>
                <a:gdLst/>
                <a:ahLst/>
                <a:cxnLst/>
                <a:rect l="l" t="t" r="r" b="b"/>
                <a:pathLst>
                  <a:path w="4704" h="8947" extrusionOk="0">
                    <a:moveTo>
                      <a:pt x="3563" y="1"/>
                    </a:moveTo>
                    <a:lnTo>
                      <a:pt x="3487" y="10"/>
                    </a:lnTo>
                    <a:lnTo>
                      <a:pt x="3410" y="29"/>
                    </a:lnTo>
                    <a:lnTo>
                      <a:pt x="3333" y="48"/>
                    </a:lnTo>
                    <a:lnTo>
                      <a:pt x="3257" y="77"/>
                    </a:lnTo>
                    <a:lnTo>
                      <a:pt x="3180" y="115"/>
                    </a:lnTo>
                    <a:lnTo>
                      <a:pt x="3103" y="163"/>
                    </a:lnTo>
                    <a:lnTo>
                      <a:pt x="3036" y="211"/>
                    </a:lnTo>
                    <a:lnTo>
                      <a:pt x="2960" y="269"/>
                    </a:lnTo>
                    <a:lnTo>
                      <a:pt x="1628" y="1447"/>
                    </a:lnTo>
                    <a:lnTo>
                      <a:pt x="1648" y="1533"/>
                    </a:lnTo>
                    <a:lnTo>
                      <a:pt x="1667" y="1648"/>
                    </a:lnTo>
                    <a:lnTo>
                      <a:pt x="1676" y="1801"/>
                    </a:lnTo>
                    <a:lnTo>
                      <a:pt x="1686" y="2002"/>
                    </a:lnTo>
                    <a:lnTo>
                      <a:pt x="1686" y="2242"/>
                    </a:lnTo>
                    <a:lnTo>
                      <a:pt x="1667" y="2520"/>
                    </a:lnTo>
                    <a:lnTo>
                      <a:pt x="1638" y="2836"/>
                    </a:lnTo>
                    <a:lnTo>
                      <a:pt x="1581" y="3200"/>
                    </a:lnTo>
                    <a:lnTo>
                      <a:pt x="1504" y="3592"/>
                    </a:lnTo>
                    <a:lnTo>
                      <a:pt x="1446" y="3803"/>
                    </a:lnTo>
                    <a:lnTo>
                      <a:pt x="1389" y="4023"/>
                    </a:lnTo>
                    <a:lnTo>
                      <a:pt x="1322" y="4253"/>
                    </a:lnTo>
                    <a:lnTo>
                      <a:pt x="1245" y="4493"/>
                    </a:lnTo>
                    <a:lnTo>
                      <a:pt x="1159" y="4732"/>
                    </a:lnTo>
                    <a:lnTo>
                      <a:pt x="1063" y="4991"/>
                    </a:lnTo>
                    <a:lnTo>
                      <a:pt x="948" y="5249"/>
                    </a:lnTo>
                    <a:lnTo>
                      <a:pt x="833" y="5527"/>
                    </a:lnTo>
                    <a:lnTo>
                      <a:pt x="699" y="5805"/>
                    </a:lnTo>
                    <a:lnTo>
                      <a:pt x="556" y="6092"/>
                    </a:lnTo>
                    <a:lnTo>
                      <a:pt x="402" y="6389"/>
                    </a:lnTo>
                    <a:lnTo>
                      <a:pt x="230" y="6686"/>
                    </a:lnTo>
                    <a:lnTo>
                      <a:pt x="182" y="6791"/>
                    </a:lnTo>
                    <a:lnTo>
                      <a:pt x="134" y="6887"/>
                    </a:lnTo>
                    <a:lnTo>
                      <a:pt x="96" y="6993"/>
                    </a:lnTo>
                    <a:lnTo>
                      <a:pt x="58" y="7107"/>
                    </a:lnTo>
                    <a:lnTo>
                      <a:pt x="38" y="7213"/>
                    </a:lnTo>
                    <a:lnTo>
                      <a:pt x="19" y="7328"/>
                    </a:lnTo>
                    <a:lnTo>
                      <a:pt x="10" y="7433"/>
                    </a:lnTo>
                    <a:lnTo>
                      <a:pt x="0" y="7548"/>
                    </a:lnTo>
                    <a:lnTo>
                      <a:pt x="10" y="7653"/>
                    </a:lnTo>
                    <a:lnTo>
                      <a:pt x="19" y="7768"/>
                    </a:lnTo>
                    <a:lnTo>
                      <a:pt x="38" y="7874"/>
                    </a:lnTo>
                    <a:lnTo>
                      <a:pt x="67" y="7979"/>
                    </a:lnTo>
                    <a:lnTo>
                      <a:pt x="106" y="8084"/>
                    </a:lnTo>
                    <a:lnTo>
                      <a:pt x="153" y="8190"/>
                    </a:lnTo>
                    <a:lnTo>
                      <a:pt x="201" y="8286"/>
                    </a:lnTo>
                    <a:lnTo>
                      <a:pt x="268" y="8381"/>
                    </a:lnTo>
                    <a:lnTo>
                      <a:pt x="355" y="8487"/>
                    </a:lnTo>
                    <a:lnTo>
                      <a:pt x="460" y="8592"/>
                    </a:lnTo>
                    <a:lnTo>
                      <a:pt x="594" y="8688"/>
                    </a:lnTo>
                    <a:lnTo>
                      <a:pt x="738" y="8774"/>
                    </a:lnTo>
                    <a:lnTo>
                      <a:pt x="901" y="8841"/>
                    </a:lnTo>
                    <a:lnTo>
                      <a:pt x="1083" y="8899"/>
                    </a:lnTo>
                    <a:lnTo>
                      <a:pt x="1284" y="8927"/>
                    </a:lnTo>
                    <a:lnTo>
                      <a:pt x="1389" y="8937"/>
                    </a:lnTo>
                    <a:lnTo>
                      <a:pt x="1494" y="8946"/>
                    </a:lnTo>
                    <a:lnTo>
                      <a:pt x="1609" y="8946"/>
                    </a:lnTo>
                    <a:lnTo>
                      <a:pt x="1724" y="8937"/>
                    </a:lnTo>
                    <a:lnTo>
                      <a:pt x="1849" y="8927"/>
                    </a:lnTo>
                    <a:lnTo>
                      <a:pt x="1973" y="8899"/>
                    </a:lnTo>
                    <a:lnTo>
                      <a:pt x="2098" y="8879"/>
                    </a:lnTo>
                    <a:lnTo>
                      <a:pt x="2232" y="8841"/>
                    </a:lnTo>
                    <a:lnTo>
                      <a:pt x="2366" y="8793"/>
                    </a:lnTo>
                    <a:lnTo>
                      <a:pt x="2500" y="8745"/>
                    </a:lnTo>
                    <a:lnTo>
                      <a:pt x="2634" y="8688"/>
                    </a:lnTo>
                    <a:lnTo>
                      <a:pt x="2778" y="8621"/>
                    </a:lnTo>
                    <a:lnTo>
                      <a:pt x="2922" y="8544"/>
                    </a:lnTo>
                    <a:lnTo>
                      <a:pt x="3075" y="8458"/>
                    </a:lnTo>
                    <a:lnTo>
                      <a:pt x="3218" y="8362"/>
                    </a:lnTo>
                    <a:lnTo>
                      <a:pt x="3372" y="8257"/>
                    </a:lnTo>
                    <a:lnTo>
                      <a:pt x="3525" y="8142"/>
                    </a:lnTo>
                    <a:lnTo>
                      <a:pt x="3678" y="8017"/>
                    </a:lnTo>
                    <a:lnTo>
                      <a:pt x="3764" y="7950"/>
                    </a:lnTo>
                    <a:lnTo>
                      <a:pt x="3831" y="7874"/>
                    </a:lnTo>
                    <a:lnTo>
                      <a:pt x="3975" y="7720"/>
                    </a:lnTo>
                    <a:lnTo>
                      <a:pt x="4090" y="7548"/>
                    </a:lnTo>
                    <a:lnTo>
                      <a:pt x="4186" y="7366"/>
                    </a:lnTo>
                    <a:lnTo>
                      <a:pt x="4272" y="7175"/>
                    </a:lnTo>
                    <a:lnTo>
                      <a:pt x="4329" y="6973"/>
                    </a:lnTo>
                    <a:lnTo>
                      <a:pt x="4368" y="6772"/>
                    </a:lnTo>
                    <a:lnTo>
                      <a:pt x="4377" y="6562"/>
                    </a:lnTo>
                    <a:lnTo>
                      <a:pt x="4387" y="6102"/>
                    </a:lnTo>
                    <a:lnTo>
                      <a:pt x="4387" y="5565"/>
                    </a:lnTo>
                    <a:lnTo>
                      <a:pt x="4387" y="4952"/>
                    </a:lnTo>
                    <a:lnTo>
                      <a:pt x="4397" y="4292"/>
                    </a:lnTo>
                    <a:lnTo>
                      <a:pt x="4435" y="3564"/>
                    </a:lnTo>
                    <a:lnTo>
                      <a:pt x="4454" y="3190"/>
                    </a:lnTo>
                    <a:lnTo>
                      <a:pt x="4483" y="2807"/>
                    </a:lnTo>
                    <a:lnTo>
                      <a:pt x="4521" y="2424"/>
                    </a:lnTo>
                    <a:lnTo>
                      <a:pt x="4569" y="2022"/>
                    </a:lnTo>
                    <a:lnTo>
                      <a:pt x="4617" y="1629"/>
                    </a:lnTo>
                    <a:lnTo>
                      <a:pt x="4684" y="1227"/>
                    </a:lnTo>
                    <a:lnTo>
                      <a:pt x="4693" y="1131"/>
                    </a:lnTo>
                    <a:lnTo>
                      <a:pt x="4703" y="1045"/>
                    </a:lnTo>
                    <a:lnTo>
                      <a:pt x="4693" y="958"/>
                    </a:lnTo>
                    <a:lnTo>
                      <a:pt x="4684" y="872"/>
                    </a:lnTo>
                    <a:lnTo>
                      <a:pt x="4674" y="796"/>
                    </a:lnTo>
                    <a:lnTo>
                      <a:pt x="4646" y="719"/>
                    </a:lnTo>
                    <a:lnTo>
                      <a:pt x="4617" y="642"/>
                    </a:lnTo>
                    <a:lnTo>
                      <a:pt x="4588" y="575"/>
                    </a:lnTo>
                    <a:lnTo>
                      <a:pt x="4550" y="499"/>
                    </a:lnTo>
                    <a:lnTo>
                      <a:pt x="4502" y="441"/>
                    </a:lnTo>
                    <a:lnTo>
                      <a:pt x="4454" y="374"/>
                    </a:lnTo>
                    <a:lnTo>
                      <a:pt x="4406" y="317"/>
                    </a:lnTo>
                    <a:lnTo>
                      <a:pt x="4291" y="221"/>
                    </a:lnTo>
                    <a:lnTo>
                      <a:pt x="4157" y="135"/>
                    </a:lnTo>
                    <a:lnTo>
                      <a:pt x="4023" y="68"/>
                    </a:lnTo>
                    <a:lnTo>
                      <a:pt x="3870" y="29"/>
                    </a:lnTo>
                    <a:lnTo>
                      <a:pt x="3803" y="10"/>
                    </a:lnTo>
                    <a:lnTo>
                      <a:pt x="3716" y="1"/>
                    </a:lnTo>
                    <a:close/>
                  </a:path>
                </a:pathLst>
              </a:custGeom>
              <a:solidFill>
                <a:srgbClr val="FF96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1408;p31">
                <a:extLst>
                  <a:ext uri="{FF2B5EF4-FFF2-40B4-BE49-F238E27FC236}">
                    <a16:creationId xmlns:a16="http://schemas.microsoft.com/office/drawing/2014/main" id="{F9597820-87E3-487B-9AAF-BCE579F9D60F}"/>
                  </a:ext>
                </a:extLst>
              </p:cNvPr>
              <p:cNvSpPr/>
              <p:nvPr/>
            </p:nvSpPr>
            <p:spPr>
              <a:xfrm>
                <a:off x="2978500" y="1785754"/>
                <a:ext cx="221614" cy="325588"/>
              </a:xfrm>
              <a:custGeom>
                <a:avLst/>
                <a:gdLst/>
                <a:ahLst/>
                <a:cxnLst/>
                <a:rect l="l" t="t" r="r" b="b"/>
                <a:pathLst>
                  <a:path w="6859" h="10077" extrusionOk="0">
                    <a:moveTo>
                      <a:pt x="2817" y="0"/>
                    </a:moveTo>
                    <a:lnTo>
                      <a:pt x="2596" y="10"/>
                    </a:lnTo>
                    <a:lnTo>
                      <a:pt x="2376" y="20"/>
                    </a:lnTo>
                    <a:lnTo>
                      <a:pt x="2156" y="48"/>
                    </a:lnTo>
                    <a:lnTo>
                      <a:pt x="1935" y="77"/>
                    </a:lnTo>
                    <a:lnTo>
                      <a:pt x="1725" y="125"/>
                    </a:lnTo>
                    <a:lnTo>
                      <a:pt x="1523" y="182"/>
                    </a:lnTo>
                    <a:lnTo>
                      <a:pt x="1322" y="259"/>
                    </a:lnTo>
                    <a:lnTo>
                      <a:pt x="1131" y="345"/>
                    </a:lnTo>
                    <a:lnTo>
                      <a:pt x="958" y="451"/>
                    </a:lnTo>
                    <a:lnTo>
                      <a:pt x="786" y="575"/>
                    </a:lnTo>
                    <a:lnTo>
                      <a:pt x="709" y="642"/>
                    </a:lnTo>
                    <a:lnTo>
                      <a:pt x="633" y="719"/>
                    </a:lnTo>
                    <a:lnTo>
                      <a:pt x="556" y="795"/>
                    </a:lnTo>
                    <a:lnTo>
                      <a:pt x="489" y="882"/>
                    </a:lnTo>
                    <a:lnTo>
                      <a:pt x="422" y="968"/>
                    </a:lnTo>
                    <a:lnTo>
                      <a:pt x="365" y="1064"/>
                    </a:lnTo>
                    <a:lnTo>
                      <a:pt x="307" y="1159"/>
                    </a:lnTo>
                    <a:lnTo>
                      <a:pt x="250" y="1265"/>
                    </a:lnTo>
                    <a:lnTo>
                      <a:pt x="202" y="1380"/>
                    </a:lnTo>
                    <a:lnTo>
                      <a:pt x="154" y="1495"/>
                    </a:lnTo>
                    <a:lnTo>
                      <a:pt x="115" y="1619"/>
                    </a:lnTo>
                    <a:lnTo>
                      <a:pt x="87" y="1744"/>
                    </a:lnTo>
                    <a:lnTo>
                      <a:pt x="58" y="1878"/>
                    </a:lnTo>
                    <a:lnTo>
                      <a:pt x="29" y="2021"/>
                    </a:lnTo>
                    <a:lnTo>
                      <a:pt x="10" y="2165"/>
                    </a:lnTo>
                    <a:lnTo>
                      <a:pt x="1" y="2328"/>
                    </a:lnTo>
                    <a:lnTo>
                      <a:pt x="1" y="2634"/>
                    </a:lnTo>
                    <a:lnTo>
                      <a:pt x="10" y="2998"/>
                    </a:lnTo>
                    <a:lnTo>
                      <a:pt x="39" y="3468"/>
                    </a:lnTo>
                    <a:lnTo>
                      <a:pt x="68" y="4033"/>
                    </a:lnTo>
                    <a:lnTo>
                      <a:pt x="125" y="4655"/>
                    </a:lnTo>
                    <a:lnTo>
                      <a:pt x="192" y="5326"/>
                    </a:lnTo>
                    <a:lnTo>
                      <a:pt x="288" y="6025"/>
                    </a:lnTo>
                    <a:lnTo>
                      <a:pt x="336" y="6379"/>
                    </a:lnTo>
                    <a:lnTo>
                      <a:pt x="403" y="6734"/>
                    </a:lnTo>
                    <a:lnTo>
                      <a:pt x="470" y="7079"/>
                    </a:lnTo>
                    <a:lnTo>
                      <a:pt x="547" y="7414"/>
                    </a:lnTo>
                    <a:lnTo>
                      <a:pt x="633" y="7749"/>
                    </a:lnTo>
                    <a:lnTo>
                      <a:pt x="728" y="8065"/>
                    </a:lnTo>
                    <a:lnTo>
                      <a:pt x="824" y="8372"/>
                    </a:lnTo>
                    <a:lnTo>
                      <a:pt x="939" y="8659"/>
                    </a:lnTo>
                    <a:lnTo>
                      <a:pt x="1054" y="8927"/>
                    </a:lnTo>
                    <a:lnTo>
                      <a:pt x="1188" y="9176"/>
                    </a:lnTo>
                    <a:lnTo>
                      <a:pt x="1322" y="9396"/>
                    </a:lnTo>
                    <a:lnTo>
                      <a:pt x="1399" y="9492"/>
                    </a:lnTo>
                    <a:lnTo>
                      <a:pt x="1476" y="9588"/>
                    </a:lnTo>
                    <a:lnTo>
                      <a:pt x="1552" y="9674"/>
                    </a:lnTo>
                    <a:lnTo>
                      <a:pt x="1638" y="9751"/>
                    </a:lnTo>
                    <a:lnTo>
                      <a:pt x="1725" y="9827"/>
                    </a:lnTo>
                    <a:lnTo>
                      <a:pt x="1811" y="9885"/>
                    </a:lnTo>
                    <a:lnTo>
                      <a:pt x="1907" y="9933"/>
                    </a:lnTo>
                    <a:lnTo>
                      <a:pt x="1993" y="9981"/>
                    </a:lnTo>
                    <a:lnTo>
                      <a:pt x="2089" y="10019"/>
                    </a:lnTo>
                    <a:lnTo>
                      <a:pt x="2194" y="10038"/>
                    </a:lnTo>
                    <a:lnTo>
                      <a:pt x="2309" y="10057"/>
                    </a:lnTo>
                    <a:lnTo>
                      <a:pt x="2433" y="10067"/>
                    </a:lnTo>
                    <a:lnTo>
                      <a:pt x="2567" y="10077"/>
                    </a:lnTo>
                    <a:lnTo>
                      <a:pt x="2702" y="10077"/>
                    </a:lnTo>
                    <a:lnTo>
                      <a:pt x="2855" y="10067"/>
                    </a:lnTo>
                    <a:lnTo>
                      <a:pt x="2998" y="10048"/>
                    </a:lnTo>
                    <a:lnTo>
                      <a:pt x="3152" y="10019"/>
                    </a:lnTo>
                    <a:lnTo>
                      <a:pt x="3315" y="9990"/>
                    </a:lnTo>
                    <a:lnTo>
                      <a:pt x="3477" y="9942"/>
                    </a:lnTo>
                    <a:lnTo>
                      <a:pt x="3640" y="9885"/>
                    </a:lnTo>
                    <a:lnTo>
                      <a:pt x="3803" y="9827"/>
                    </a:lnTo>
                    <a:lnTo>
                      <a:pt x="3975" y="9751"/>
                    </a:lnTo>
                    <a:lnTo>
                      <a:pt x="4148" y="9665"/>
                    </a:lnTo>
                    <a:lnTo>
                      <a:pt x="4311" y="9559"/>
                    </a:lnTo>
                    <a:lnTo>
                      <a:pt x="4483" y="9454"/>
                    </a:lnTo>
                    <a:lnTo>
                      <a:pt x="4646" y="9329"/>
                    </a:lnTo>
                    <a:lnTo>
                      <a:pt x="4809" y="9186"/>
                    </a:lnTo>
                    <a:lnTo>
                      <a:pt x="4972" y="9033"/>
                    </a:lnTo>
                    <a:lnTo>
                      <a:pt x="5134" y="8870"/>
                    </a:lnTo>
                    <a:lnTo>
                      <a:pt x="5288" y="8688"/>
                    </a:lnTo>
                    <a:lnTo>
                      <a:pt x="5441" y="8496"/>
                    </a:lnTo>
                    <a:lnTo>
                      <a:pt x="5585" y="8285"/>
                    </a:lnTo>
                    <a:lnTo>
                      <a:pt x="5719" y="8056"/>
                    </a:lnTo>
                    <a:lnTo>
                      <a:pt x="5853" y="7816"/>
                    </a:lnTo>
                    <a:lnTo>
                      <a:pt x="5977" y="7548"/>
                    </a:lnTo>
                    <a:lnTo>
                      <a:pt x="6102" y="7270"/>
                    </a:lnTo>
                    <a:lnTo>
                      <a:pt x="6207" y="6973"/>
                    </a:lnTo>
                    <a:lnTo>
                      <a:pt x="6313" y="6667"/>
                    </a:lnTo>
                    <a:lnTo>
                      <a:pt x="6399" y="6331"/>
                    </a:lnTo>
                    <a:lnTo>
                      <a:pt x="6485" y="5977"/>
                    </a:lnTo>
                    <a:lnTo>
                      <a:pt x="6552" y="5604"/>
                    </a:lnTo>
                    <a:lnTo>
                      <a:pt x="6609" y="5211"/>
                    </a:lnTo>
                    <a:lnTo>
                      <a:pt x="6676" y="4904"/>
                    </a:lnTo>
                    <a:lnTo>
                      <a:pt x="6724" y="4607"/>
                    </a:lnTo>
                    <a:lnTo>
                      <a:pt x="6772" y="4320"/>
                    </a:lnTo>
                    <a:lnTo>
                      <a:pt x="6811" y="4042"/>
                    </a:lnTo>
                    <a:lnTo>
                      <a:pt x="6830" y="3774"/>
                    </a:lnTo>
                    <a:lnTo>
                      <a:pt x="6849" y="3516"/>
                    </a:lnTo>
                    <a:lnTo>
                      <a:pt x="6858" y="3266"/>
                    </a:lnTo>
                    <a:lnTo>
                      <a:pt x="6858" y="3027"/>
                    </a:lnTo>
                    <a:lnTo>
                      <a:pt x="6849" y="2807"/>
                    </a:lnTo>
                    <a:lnTo>
                      <a:pt x="6839" y="2586"/>
                    </a:lnTo>
                    <a:lnTo>
                      <a:pt x="6811" y="2376"/>
                    </a:lnTo>
                    <a:lnTo>
                      <a:pt x="6782" y="2175"/>
                    </a:lnTo>
                    <a:lnTo>
                      <a:pt x="6744" y="1993"/>
                    </a:lnTo>
                    <a:lnTo>
                      <a:pt x="6705" y="1811"/>
                    </a:lnTo>
                    <a:lnTo>
                      <a:pt x="6657" y="1638"/>
                    </a:lnTo>
                    <a:lnTo>
                      <a:pt x="6600" y="1485"/>
                    </a:lnTo>
                    <a:lnTo>
                      <a:pt x="6542" y="1332"/>
                    </a:lnTo>
                    <a:lnTo>
                      <a:pt x="6485" y="1188"/>
                    </a:lnTo>
                    <a:lnTo>
                      <a:pt x="6418" y="1064"/>
                    </a:lnTo>
                    <a:lnTo>
                      <a:pt x="6341" y="939"/>
                    </a:lnTo>
                    <a:lnTo>
                      <a:pt x="6265" y="834"/>
                    </a:lnTo>
                    <a:lnTo>
                      <a:pt x="6188" y="728"/>
                    </a:lnTo>
                    <a:lnTo>
                      <a:pt x="6111" y="633"/>
                    </a:lnTo>
                    <a:lnTo>
                      <a:pt x="6025" y="556"/>
                    </a:lnTo>
                    <a:lnTo>
                      <a:pt x="5939" y="479"/>
                    </a:lnTo>
                    <a:lnTo>
                      <a:pt x="5853" y="422"/>
                    </a:lnTo>
                    <a:lnTo>
                      <a:pt x="5757" y="364"/>
                    </a:lnTo>
                    <a:lnTo>
                      <a:pt x="5671" y="326"/>
                    </a:lnTo>
                    <a:lnTo>
                      <a:pt x="5575" y="288"/>
                    </a:lnTo>
                    <a:lnTo>
                      <a:pt x="5489" y="269"/>
                    </a:lnTo>
                    <a:lnTo>
                      <a:pt x="5393" y="249"/>
                    </a:lnTo>
                    <a:lnTo>
                      <a:pt x="5307" y="249"/>
                    </a:lnTo>
                    <a:lnTo>
                      <a:pt x="5087" y="230"/>
                    </a:lnTo>
                    <a:lnTo>
                      <a:pt x="4809" y="201"/>
                    </a:lnTo>
                    <a:lnTo>
                      <a:pt x="4100" y="96"/>
                    </a:lnTo>
                    <a:lnTo>
                      <a:pt x="3688" y="48"/>
                    </a:lnTo>
                    <a:lnTo>
                      <a:pt x="3257" y="20"/>
                    </a:lnTo>
                    <a:lnTo>
                      <a:pt x="3037" y="10"/>
                    </a:lnTo>
                    <a:lnTo>
                      <a:pt x="2817"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409;p31">
                <a:extLst>
                  <a:ext uri="{FF2B5EF4-FFF2-40B4-BE49-F238E27FC236}">
                    <a16:creationId xmlns:a16="http://schemas.microsoft.com/office/drawing/2014/main" id="{E03AEFC9-3266-4A05-B8DF-709446F0C09C}"/>
                  </a:ext>
                </a:extLst>
              </p:cNvPr>
              <p:cNvSpPr/>
              <p:nvPr/>
            </p:nvSpPr>
            <p:spPr>
              <a:xfrm>
                <a:off x="2988420" y="1885723"/>
                <a:ext cx="44265" cy="22294"/>
              </a:xfrm>
              <a:custGeom>
                <a:avLst/>
                <a:gdLst/>
                <a:ahLst/>
                <a:cxnLst/>
                <a:rect l="l" t="t" r="r" b="b"/>
                <a:pathLst>
                  <a:path w="1370" h="690" extrusionOk="0">
                    <a:moveTo>
                      <a:pt x="747" y="0"/>
                    </a:moveTo>
                    <a:lnTo>
                      <a:pt x="651" y="19"/>
                    </a:lnTo>
                    <a:lnTo>
                      <a:pt x="546" y="58"/>
                    </a:lnTo>
                    <a:lnTo>
                      <a:pt x="460" y="96"/>
                    </a:lnTo>
                    <a:lnTo>
                      <a:pt x="364" y="144"/>
                    </a:lnTo>
                    <a:lnTo>
                      <a:pt x="278" y="201"/>
                    </a:lnTo>
                    <a:lnTo>
                      <a:pt x="201" y="278"/>
                    </a:lnTo>
                    <a:lnTo>
                      <a:pt x="134" y="354"/>
                    </a:lnTo>
                    <a:lnTo>
                      <a:pt x="77" y="450"/>
                    </a:lnTo>
                    <a:lnTo>
                      <a:pt x="29" y="556"/>
                    </a:lnTo>
                    <a:lnTo>
                      <a:pt x="0" y="671"/>
                    </a:lnTo>
                    <a:lnTo>
                      <a:pt x="125" y="690"/>
                    </a:lnTo>
                    <a:lnTo>
                      <a:pt x="326" y="690"/>
                    </a:lnTo>
                    <a:lnTo>
                      <a:pt x="421" y="680"/>
                    </a:lnTo>
                    <a:lnTo>
                      <a:pt x="594" y="651"/>
                    </a:lnTo>
                    <a:lnTo>
                      <a:pt x="747" y="604"/>
                    </a:lnTo>
                    <a:lnTo>
                      <a:pt x="900" y="536"/>
                    </a:lnTo>
                    <a:lnTo>
                      <a:pt x="1054" y="450"/>
                    </a:lnTo>
                    <a:lnTo>
                      <a:pt x="1207" y="335"/>
                    </a:lnTo>
                    <a:lnTo>
                      <a:pt x="1284" y="268"/>
                    </a:lnTo>
                    <a:lnTo>
                      <a:pt x="1370" y="172"/>
                    </a:lnTo>
                    <a:lnTo>
                      <a:pt x="1322" y="134"/>
                    </a:lnTo>
                    <a:lnTo>
                      <a:pt x="1264" y="105"/>
                    </a:lnTo>
                    <a:lnTo>
                      <a:pt x="1169" y="48"/>
                    </a:lnTo>
                    <a:lnTo>
                      <a:pt x="1063" y="19"/>
                    </a:lnTo>
                    <a:lnTo>
                      <a:pt x="958" y="0"/>
                    </a:lnTo>
                    <a:close/>
                  </a:path>
                </a:pathLst>
              </a:custGeom>
              <a:solidFill>
                <a:srgbClr val="5A2D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410;p31">
                <a:extLst>
                  <a:ext uri="{FF2B5EF4-FFF2-40B4-BE49-F238E27FC236}">
                    <a16:creationId xmlns:a16="http://schemas.microsoft.com/office/drawing/2014/main" id="{F2EFEA95-E9FE-4DDC-AA5E-8E79C1D445D8}"/>
                  </a:ext>
                </a:extLst>
              </p:cNvPr>
              <p:cNvSpPr/>
              <p:nvPr/>
            </p:nvSpPr>
            <p:spPr>
              <a:xfrm>
                <a:off x="3037306" y="1919455"/>
                <a:ext cx="31599" cy="81712"/>
              </a:xfrm>
              <a:custGeom>
                <a:avLst/>
                <a:gdLst/>
                <a:ahLst/>
                <a:cxnLst/>
                <a:rect l="l" t="t" r="r" b="b"/>
                <a:pathLst>
                  <a:path w="978" h="2529" extrusionOk="0">
                    <a:moveTo>
                      <a:pt x="680" y="0"/>
                    </a:moveTo>
                    <a:lnTo>
                      <a:pt x="10" y="2031"/>
                    </a:lnTo>
                    <a:lnTo>
                      <a:pt x="0" y="2107"/>
                    </a:lnTo>
                    <a:lnTo>
                      <a:pt x="10" y="2174"/>
                    </a:lnTo>
                    <a:lnTo>
                      <a:pt x="29" y="2232"/>
                    </a:lnTo>
                    <a:lnTo>
                      <a:pt x="58" y="2289"/>
                    </a:lnTo>
                    <a:lnTo>
                      <a:pt x="87" y="2337"/>
                    </a:lnTo>
                    <a:lnTo>
                      <a:pt x="134" y="2375"/>
                    </a:lnTo>
                    <a:lnTo>
                      <a:pt x="173" y="2404"/>
                    </a:lnTo>
                    <a:lnTo>
                      <a:pt x="230" y="2433"/>
                    </a:lnTo>
                    <a:lnTo>
                      <a:pt x="336" y="2481"/>
                    </a:lnTo>
                    <a:lnTo>
                      <a:pt x="451" y="2510"/>
                    </a:lnTo>
                    <a:lnTo>
                      <a:pt x="556" y="2519"/>
                    </a:lnTo>
                    <a:lnTo>
                      <a:pt x="642" y="2529"/>
                    </a:lnTo>
                    <a:lnTo>
                      <a:pt x="719" y="2519"/>
                    </a:lnTo>
                    <a:lnTo>
                      <a:pt x="786" y="2490"/>
                    </a:lnTo>
                    <a:lnTo>
                      <a:pt x="843" y="2462"/>
                    </a:lnTo>
                    <a:lnTo>
                      <a:pt x="891" y="2414"/>
                    </a:lnTo>
                    <a:lnTo>
                      <a:pt x="929" y="2356"/>
                    </a:lnTo>
                    <a:lnTo>
                      <a:pt x="958" y="2289"/>
                    </a:lnTo>
                    <a:lnTo>
                      <a:pt x="977" y="2222"/>
                    </a:lnTo>
                    <a:lnTo>
                      <a:pt x="977" y="2146"/>
                    </a:lnTo>
                    <a:lnTo>
                      <a:pt x="68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411;p31">
                <a:extLst>
                  <a:ext uri="{FF2B5EF4-FFF2-40B4-BE49-F238E27FC236}">
                    <a16:creationId xmlns:a16="http://schemas.microsoft.com/office/drawing/2014/main" id="{8F6418A2-1544-4527-8BEE-53E5BF9379C4}"/>
                  </a:ext>
                </a:extLst>
              </p:cNvPr>
              <p:cNvSpPr/>
              <p:nvPr/>
            </p:nvSpPr>
            <p:spPr>
              <a:xfrm>
                <a:off x="3095174" y="1885723"/>
                <a:ext cx="46753" cy="22294"/>
              </a:xfrm>
              <a:custGeom>
                <a:avLst/>
                <a:gdLst/>
                <a:ahLst/>
                <a:cxnLst/>
                <a:rect l="l" t="t" r="r" b="b"/>
                <a:pathLst>
                  <a:path w="1447" h="690" extrusionOk="0">
                    <a:moveTo>
                      <a:pt x="432" y="0"/>
                    </a:moveTo>
                    <a:lnTo>
                      <a:pt x="326" y="19"/>
                    </a:lnTo>
                    <a:lnTo>
                      <a:pt x="221" y="58"/>
                    </a:lnTo>
                    <a:lnTo>
                      <a:pt x="106" y="105"/>
                    </a:lnTo>
                    <a:lnTo>
                      <a:pt x="58" y="134"/>
                    </a:lnTo>
                    <a:lnTo>
                      <a:pt x="0" y="172"/>
                    </a:lnTo>
                    <a:lnTo>
                      <a:pt x="87" y="268"/>
                    </a:lnTo>
                    <a:lnTo>
                      <a:pt x="173" y="345"/>
                    </a:lnTo>
                    <a:lnTo>
                      <a:pt x="259" y="402"/>
                    </a:lnTo>
                    <a:lnTo>
                      <a:pt x="345" y="460"/>
                    </a:lnTo>
                    <a:lnTo>
                      <a:pt x="432" y="508"/>
                    </a:lnTo>
                    <a:lnTo>
                      <a:pt x="508" y="546"/>
                    </a:lnTo>
                    <a:lnTo>
                      <a:pt x="681" y="604"/>
                    </a:lnTo>
                    <a:lnTo>
                      <a:pt x="843" y="651"/>
                    </a:lnTo>
                    <a:lnTo>
                      <a:pt x="1025" y="671"/>
                    </a:lnTo>
                    <a:lnTo>
                      <a:pt x="1112" y="680"/>
                    </a:lnTo>
                    <a:lnTo>
                      <a:pt x="1217" y="680"/>
                    </a:lnTo>
                    <a:lnTo>
                      <a:pt x="1265" y="690"/>
                    </a:lnTo>
                    <a:lnTo>
                      <a:pt x="1294" y="680"/>
                    </a:lnTo>
                    <a:lnTo>
                      <a:pt x="1322" y="690"/>
                    </a:lnTo>
                    <a:lnTo>
                      <a:pt x="1447" y="680"/>
                    </a:lnTo>
                    <a:lnTo>
                      <a:pt x="1437" y="623"/>
                    </a:lnTo>
                    <a:lnTo>
                      <a:pt x="1418" y="556"/>
                    </a:lnTo>
                    <a:lnTo>
                      <a:pt x="1399" y="498"/>
                    </a:lnTo>
                    <a:lnTo>
                      <a:pt x="1370" y="441"/>
                    </a:lnTo>
                    <a:lnTo>
                      <a:pt x="1341" y="393"/>
                    </a:lnTo>
                    <a:lnTo>
                      <a:pt x="1303" y="345"/>
                    </a:lnTo>
                    <a:lnTo>
                      <a:pt x="1226" y="259"/>
                    </a:lnTo>
                    <a:lnTo>
                      <a:pt x="1140" y="192"/>
                    </a:lnTo>
                    <a:lnTo>
                      <a:pt x="1054" y="125"/>
                    </a:lnTo>
                    <a:lnTo>
                      <a:pt x="949" y="77"/>
                    </a:lnTo>
                    <a:lnTo>
                      <a:pt x="853" y="48"/>
                    </a:lnTo>
                    <a:lnTo>
                      <a:pt x="748" y="19"/>
                    </a:lnTo>
                    <a:lnTo>
                      <a:pt x="642" y="0"/>
                    </a:lnTo>
                    <a:close/>
                  </a:path>
                </a:pathLst>
              </a:custGeom>
              <a:solidFill>
                <a:srgbClr val="5A2D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412;p31">
                <a:extLst>
                  <a:ext uri="{FF2B5EF4-FFF2-40B4-BE49-F238E27FC236}">
                    <a16:creationId xmlns:a16="http://schemas.microsoft.com/office/drawing/2014/main" id="{6616F977-CF73-431F-9DBF-000798530197}"/>
                  </a:ext>
                </a:extLst>
              </p:cNvPr>
              <p:cNvSpPr/>
              <p:nvPr/>
            </p:nvSpPr>
            <p:spPr>
              <a:xfrm>
                <a:off x="3015011" y="1923462"/>
                <a:ext cx="14895" cy="30662"/>
              </a:xfrm>
              <a:custGeom>
                <a:avLst/>
                <a:gdLst/>
                <a:ahLst/>
                <a:cxnLst/>
                <a:rect l="l" t="t" r="r" b="b"/>
                <a:pathLst>
                  <a:path w="461" h="949" extrusionOk="0">
                    <a:moveTo>
                      <a:pt x="231" y="1"/>
                    </a:moveTo>
                    <a:lnTo>
                      <a:pt x="192" y="10"/>
                    </a:lnTo>
                    <a:lnTo>
                      <a:pt x="144" y="39"/>
                    </a:lnTo>
                    <a:lnTo>
                      <a:pt x="106" y="77"/>
                    </a:lnTo>
                    <a:lnTo>
                      <a:pt x="68" y="135"/>
                    </a:lnTo>
                    <a:lnTo>
                      <a:pt x="39" y="211"/>
                    </a:lnTo>
                    <a:lnTo>
                      <a:pt x="20" y="288"/>
                    </a:lnTo>
                    <a:lnTo>
                      <a:pt x="10" y="374"/>
                    </a:lnTo>
                    <a:lnTo>
                      <a:pt x="1" y="470"/>
                    </a:lnTo>
                    <a:lnTo>
                      <a:pt x="10" y="566"/>
                    </a:lnTo>
                    <a:lnTo>
                      <a:pt x="20" y="662"/>
                    </a:lnTo>
                    <a:lnTo>
                      <a:pt x="39" y="738"/>
                    </a:lnTo>
                    <a:lnTo>
                      <a:pt x="68" y="805"/>
                    </a:lnTo>
                    <a:lnTo>
                      <a:pt x="106" y="863"/>
                    </a:lnTo>
                    <a:lnTo>
                      <a:pt x="144" y="911"/>
                    </a:lnTo>
                    <a:lnTo>
                      <a:pt x="192" y="939"/>
                    </a:lnTo>
                    <a:lnTo>
                      <a:pt x="231" y="949"/>
                    </a:lnTo>
                    <a:lnTo>
                      <a:pt x="279" y="939"/>
                    </a:lnTo>
                    <a:lnTo>
                      <a:pt x="326" y="911"/>
                    </a:lnTo>
                    <a:lnTo>
                      <a:pt x="365" y="863"/>
                    </a:lnTo>
                    <a:lnTo>
                      <a:pt x="393" y="805"/>
                    </a:lnTo>
                    <a:lnTo>
                      <a:pt x="422" y="738"/>
                    </a:lnTo>
                    <a:lnTo>
                      <a:pt x="451" y="662"/>
                    </a:lnTo>
                    <a:lnTo>
                      <a:pt x="461" y="566"/>
                    </a:lnTo>
                    <a:lnTo>
                      <a:pt x="461" y="470"/>
                    </a:lnTo>
                    <a:lnTo>
                      <a:pt x="461" y="374"/>
                    </a:lnTo>
                    <a:lnTo>
                      <a:pt x="451" y="288"/>
                    </a:lnTo>
                    <a:lnTo>
                      <a:pt x="422" y="211"/>
                    </a:lnTo>
                    <a:lnTo>
                      <a:pt x="393" y="135"/>
                    </a:lnTo>
                    <a:lnTo>
                      <a:pt x="365" y="77"/>
                    </a:lnTo>
                    <a:lnTo>
                      <a:pt x="326" y="39"/>
                    </a:lnTo>
                    <a:lnTo>
                      <a:pt x="279" y="10"/>
                    </a:lnTo>
                    <a:lnTo>
                      <a:pt x="231" y="1"/>
                    </a:lnTo>
                    <a:close/>
                  </a:path>
                </a:pathLst>
              </a:custGeom>
              <a:solidFill>
                <a:srgbClr val="5A2D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413;p31">
                <a:extLst>
                  <a:ext uri="{FF2B5EF4-FFF2-40B4-BE49-F238E27FC236}">
                    <a16:creationId xmlns:a16="http://schemas.microsoft.com/office/drawing/2014/main" id="{4D4F41F2-D77B-403A-87D9-3576FBA9A3CF}"/>
                  </a:ext>
                </a:extLst>
              </p:cNvPr>
              <p:cNvSpPr/>
              <p:nvPr/>
            </p:nvSpPr>
            <p:spPr>
              <a:xfrm>
                <a:off x="3094237" y="1923462"/>
                <a:ext cx="14895" cy="30662"/>
              </a:xfrm>
              <a:custGeom>
                <a:avLst/>
                <a:gdLst/>
                <a:ahLst/>
                <a:cxnLst/>
                <a:rect l="l" t="t" r="r" b="b"/>
                <a:pathLst>
                  <a:path w="461" h="949" extrusionOk="0">
                    <a:moveTo>
                      <a:pt x="231" y="1"/>
                    </a:moveTo>
                    <a:lnTo>
                      <a:pt x="183" y="10"/>
                    </a:lnTo>
                    <a:lnTo>
                      <a:pt x="135" y="39"/>
                    </a:lnTo>
                    <a:lnTo>
                      <a:pt x="97" y="77"/>
                    </a:lnTo>
                    <a:lnTo>
                      <a:pt x="68" y="135"/>
                    </a:lnTo>
                    <a:lnTo>
                      <a:pt x="39" y="211"/>
                    </a:lnTo>
                    <a:lnTo>
                      <a:pt x="20" y="288"/>
                    </a:lnTo>
                    <a:lnTo>
                      <a:pt x="1" y="374"/>
                    </a:lnTo>
                    <a:lnTo>
                      <a:pt x="1" y="470"/>
                    </a:lnTo>
                    <a:lnTo>
                      <a:pt x="1" y="566"/>
                    </a:lnTo>
                    <a:lnTo>
                      <a:pt x="20" y="662"/>
                    </a:lnTo>
                    <a:lnTo>
                      <a:pt x="39" y="738"/>
                    </a:lnTo>
                    <a:lnTo>
                      <a:pt x="68" y="805"/>
                    </a:lnTo>
                    <a:lnTo>
                      <a:pt x="97" y="863"/>
                    </a:lnTo>
                    <a:lnTo>
                      <a:pt x="135" y="911"/>
                    </a:lnTo>
                    <a:lnTo>
                      <a:pt x="183" y="939"/>
                    </a:lnTo>
                    <a:lnTo>
                      <a:pt x="231" y="949"/>
                    </a:lnTo>
                    <a:lnTo>
                      <a:pt x="279" y="939"/>
                    </a:lnTo>
                    <a:lnTo>
                      <a:pt x="317" y="911"/>
                    </a:lnTo>
                    <a:lnTo>
                      <a:pt x="355" y="863"/>
                    </a:lnTo>
                    <a:lnTo>
                      <a:pt x="393" y="805"/>
                    </a:lnTo>
                    <a:lnTo>
                      <a:pt x="422" y="738"/>
                    </a:lnTo>
                    <a:lnTo>
                      <a:pt x="441" y="662"/>
                    </a:lnTo>
                    <a:lnTo>
                      <a:pt x="451" y="566"/>
                    </a:lnTo>
                    <a:lnTo>
                      <a:pt x="461" y="470"/>
                    </a:lnTo>
                    <a:lnTo>
                      <a:pt x="451" y="374"/>
                    </a:lnTo>
                    <a:lnTo>
                      <a:pt x="441" y="288"/>
                    </a:lnTo>
                    <a:lnTo>
                      <a:pt x="422" y="211"/>
                    </a:lnTo>
                    <a:lnTo>
                      <a:pt x="393" y="135"/>
                    </a:lnTo>
                    <a:lnTo>
                      <a:pt x="355" y="77"/>
                    </a:lnTo>
                    <a:lnTo>
                      <a:pt x="317" y="39"/>
                    </a:lnTo>
                    <a:lnTo>
                      <a:pt x="279" y="10"/>
                    </a:lnTo>
                    <a:lnTo>
                      <a:pt x="231" y="1"/>
                    </a:lnTo>
                    <a:close/>
                  </a:path>
                </a:pathLst>
              </a:custGeom>
              <a:solidFill>
                <a:srgbClr val="5A2D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1414;p31">
                <a:extLst>
                  <a:ext uri="{FF2B5EF4-FFF2-40B4-BE49-F238E27FC236}">
                    <a16:creationId xmlns:a16="http://schemas.microsoft.com/office/drawing/2014/main" id="{E9692767-69D1-4CD6-A22E-1636A0AC88C7}"/>
                  </a:ext>
                </a:extLst>
              </p:cNvPr>
              <p:cNvSpPr/>
              <p:nvPr/>
            </p:nvSpPr>
            <p:spPr>
              <a:xfrm>
                <a:off x="3029874" y="2017841"/>
                <a:ext cx="65331" cy="32536"/>
              </a:xfrm>
              <a:custGeom>
                <a:avLst/>
                <a:gdLst/>
                <a:ahLst/>
                <a:cxnLst/>
                <a:rect l="l" t="t" r="r" b="b"/>
                <a:pathLst>
                  <a:path w="2022" h="1007" extrusionOk="0">
                    <a:moveTo>
                      <a:pt x="1" y="1"/>
                    </a:moveTo>
                    <a:lnTo>
                      <a:pt x="10" y="97"/>
                    </a:lnTo>
                    <a:lnTo>
                      <a:pt x="29" y="202"/>
                    </a:lnTo>
                    <a:lnTo>
                      <a:pt x="48" y="298"/>
                    </a:lnTo>
                    <a:lnTo>
                      <a:pt x="87" y="394"/>
                    </a:lnTo>
                    <a:lnTo>
                      <a:pt x="125" y="480"/>
                    </a:lnTo>
                    <a:lnTo>
                      <a:pt x="173" y="566"/>
                    </a:lnTo>
                    <a:lnTo>
                      <a:pt x="240" y="643"/>
                    </a:lnTo>
                    <a:lnTo>
                      <a:pt x="297" y="710"/>
                    </a:lnTo>
                    <a:lnTo>
                      <a:pt x="374" y="777"/>
                    </a:lnTo>
                    <a:lnTo>
                      <a:pt x="451" y="834"/>
                    </a:lnTo>
                    <a:lnTo>
                      <a:pt x="537" y="882"/>
                    </a:lnTo>
                    <a:lnTo>
                      <a:pt x="623" y="930"/>
                    </a:lnTo>
                    <a:lnTo>
                      <a:pt x="719" y="959"/>
                    </a:lnTo>
                    <a:lnTo>
                      <a:pt x="815" y="987"/>
                    </a:lnTo>
                    <a:lnTo>
                      <a:pt x="910" y="1007"/>
                    </a:lnTo>
                    <a:lnTo>
                      <a:pt x="1121" y="1007"/>
                    </a:lnTo>
                    <a:lnTo>
                      <a:pt x="1217" y="987"/>
                    </a:lnTo>
                    <a:lnTo>
                      <a:pt x="1313" y="959"/>
                    </a:lnTo>
                    <a:lnTo>
                      <a:pt x="1408" y="930"/>
                    </a:lnTo>
                    <a:lnTo>
                      <a:pt x="1495" y="882"/>
                    </a:lnTo>
                    <a:lnTo>
                      <a:pt x="1581" y="834"/>
                    </a:lnTo>
                    <a:lnTo>
                      <a:pt x="1658" y="777"/>
                    </a:lnTo>
                    <a:lnTo>
                      <a:pt x="1725" y="710"/>
                    </a:lnTo>
                    <a:lnTo>
                      <a:pt x="1792" y="643"/>
                    </a:lnTo>
                    <a:lnTo>
                      <a:pt x="1849" y="566"/>
                    </a:lnTo>
                    <a:lnTo>
                      <a:pt x="1907" y="480"/>
                    </a:lnTo>
                    <a:lnTo>
                      <a:pt x="1945" y="394"/>
                    </a:lnTo>
                    <a:lnTo>
                      <a:pt x="1983" y="298"/>
                    </a:lnTo>
                    <a:lnTo>
                      <a:pt x="2002" y="202"/>
                    </a:lnTo>
                    <a:lnTo>
                      <a:pt x="2021" y="97"/>
                    </a:lnTo>
                    <a:lnTo>
                      <a:pt x="2021" y="1"/>
                    </a:lnTo>
                    <a:close/>
                  </a:path>
                </a:pathLst>
              </a:custGeom>
              <a:solidFill>
                <a:srgbClr val="F9F8F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1415;p31">
                <a:extLst>
                  <a:ext uri="{FF2B5EF4-FFF2-40B4-BE49-F238E27FC236}">
                    <a16:creationId xmlns:a16="http://schemas.microsoft.com/office/drawing/2014/main" id="{2EC56B00-904B-4DEC-A372-8950CE69023B}"/>
                  </a:ext>
                </a:extLst>
              </p:cNvPr>
              <p:cNvSpPr/>
              <p:nvPr/>
            </p:nvSpPr>
            <p:spPr>
              <a:xfrm>
                <a:off x="2850388" y="1697868"/>
                <a:ext cx="342292" cy="214474"/>
              </a:xfrm>
              <a:custGeom>
                <a:avLst/>
                <a:gdLst/>
                <a:ahLst/>
                <a:cxnLst/>
                <a:rect l="l" t="t" r="r" b="b"/>
                <a:pathLst>
                  <a:path w="10594" h="6638" extrusionOk="0">
                    <a:moveTo>
                      <a:pt x="3975" y="0"/>
                    </a:moveTo>
                    <a:lnTo>
                      <a:pt x="3630" y="19"/>
                    </a:lnTo>
                    <a:lnTo>
                      <a:pt x="3458" y="38"/>
                    </a:lnTo>
                    <a:lnTo>
                      <a:pt x="3295" y="58"/>
                    </a:lnTo>
                    <a:lnTo>
                      <a:pt x="3123" y="96"/>
                    </a:lnTo>
                    <a:lnTo>
                      <a:pt x="2950" y="125"/>
                    </a:lnTo>
                    <a:lnTo>
                      <a:pt x="2682" y="201"/>
                    </a:lnTo>
                    <a:lnTo>
                      <a:pt x="2414" y="297"/>
                    </a:lnTo>
                    <a:lnTo>
                      <a:pt x="2165" y="402"/>
                    </a:lnTo>
                    <a:lnTo>
                      <a:pt x="1916" y="527"/>
                    </a:lnTo>
                    <a:lnTo>
                      <a:pt x="1686" y="671"/>
                    </a:lnTo>
                    <a:lnTo>
                      <a:pt x="1466" y="833"/>
                    </a:lnTo>
                    <a:lnTo>
                      <a:pt x="1265" y="1006"/>
                    </a:lnTo>
                    <a:lnTo>
                      <a:pt x="1063" y="1188"/>
                    </a:lnTo>
                    <a:lnTo>
                      <a:pt x="891" y="1379"/>
                    </a:lnTo>
                    <a:lnTo>
                      <a:pt x="719" y="1581"/>
                    </a:lnTo>
                    <a:lnTo>
                      <a:pt x="575" y="1791"/>
                    </a:lnTo>
                    <a:lnTo>
                      <a:pt x="441" y="2012"/>
                    </a:lnTo>
                    <a:lnTo>
                      <a:pt x="326" y="2241"/>
                    </a:lnTo>
                    <a:lnTo>
                      <a:pt x="221" y="2471"/>
                    </a:lnTo>
                    <a:lnTo>
                      <a:pt x="144" y="2711"/>
                    </a:lnTo>
                    <a:lnTo>
                      <a:pt x="77" y="2950"/>
                    </a:lnTo>
                    <a:lnTo>
                      <a:pt x="29" y="3190"/>
                    </a:lnTo>
                    <a:lnTo>
                      <a:pt x="10" y="3439"/>
                    </a:lnTo>
                    <a:lnTo>
                      <a:pt x="0" y="3678"/>
                    </a:lnTo>
                    <a:lnTo>
                      <a:pt x="19" y="3918"/>
                    </a:lnTo>
                    <a:lnTo>
                      <a:pt x="58" y="4157"/>
                    </a:lnTo>
                    <a:lnTo>
                      <a:pt x="86" y="4282"/>
                    </a:lnTo>
                    <a:lnTo>
                      <a:pt x="125" y="4397"/>
                    </a:lnTo>
                    <a:lnTo>
                      <a:pt x="163" y="4511"/>
                    </a:lnTo>
                    <a:lnTo>
                      <a:pt x="201" y="4626"/>
                    </a:lnTo>
                    <a:lnTo>
                      <a:pt x="259" y="4741"/>
                    </a:lnTo>
                    <a:lnTo>
                      <a:pt x="316" y="4847"/>
                    </a:lnTo>
                    <a:lnTo>
                      <a:pt x="374" y="4962"/>
                    </a:lnTo>
                    <a:lnTo>
                      <a:pt x="441" y="5067"/>
                    </a:lnTo>
                    <a:lnTo>
                      <a:pt x="517" y="5172"/>
                    </a:lnTo>
                    <a:lnTo>
                      <a:pt x="604" y="5278"/>
                    </a:lnTo>
                    <a:lnTo>
                      <a:pt x="690" y="5383"/>
                    </a:lnTo>
                    <a:lnTo>
                      <a:pt x="786" y="5479"/>
                    </a:lnTo>
                    <a:lnTo>
                      <a:pt x="891" y="5575"/>
                    </a:lnTo>
                    <a:lnTo>
                      <a:pt x="996" y="5670"/>
                    </a:lnTo>
                    <a:lnTo>
                      <a:pt x="1111" y="5757"/>
                    </a:lnTo>
                    <a:lnTo>
                      <a:pt x="1236" y="5843"/>
                    </a:lnTo>
                    <a:lnTo>
                      <a:pt x="1360" y="5929"/>
                    </a:lnTo>
                    <a:lnTo>
                      <a:pt x="1494" y="6015"/>
                    </a:lnTo>
                    <a:lnTo>
                      <a:pt x="1638" y="6092"/>
                    </a:lnTo>
                    <a:lnTo>
                      <a:pt x="1791" y="6168"/>
                    </a:lnTo>
                    <a:lnTo>
                      <a:pt x="1945" y="6236"/>
                    </a:lnTo>
                    <a:lnTo>
                      <a:pt x="2107" y="6303"/>
                    </a:lnTo>
                    <a:lnTo>
                      <a:pt x="2318" y="6379"/>
                    </a:lnTo>
                    <a:lnTo>
                      <a:pt x="2519" y="6446"/>
                    </a:lnTo>
                    <a:lnTo>
                      <a:pt x="2730" y="6494"/>
                    </a:lnTo>
                    <a:lnTo>
                      <a:pt x="2931" y="6542"/>
                    </a:lnTo>
                    <a:lnTo>
                      <a:pt x="3142" y="6580"/>
                    </a:lnTo>
                    <a:lnTo>
                      <a:pt x="3343" y="6609"/>
                    </a:lnTo>
                    <a:lnTo>
                      <a:pt x="3544" y="6628"/>
                    </a:lnTo>
                    <a:lnTo>
                      <a:pt x="3745" y="6638"/>
                    </a:lnTo>
                    <a:lnTo>
                      <a:pt x="4138" y="6638"/>
                    </a:lnTo>
                    <a:lnTo>
                      <a:pt x="4339" y="6628"/>
                    </a:lnTo>
                    <a:lnTo>
                      <a:pt x="4531" y="6599"/>
                    </a:lnTo>
                    <a:lnTo>
                      <a:pt x="4732" y="6580"/>
                    </a:lnTo>
                    <a:lnTo>
                      <a:pt x="4923" y="6542"/>
                    </a:lnTo>
                    <a:lnTo>
                      <a:pt x="5115" y="6504"/>
                    </a:lnTo>
                    <a:lnTo>
                      <a:pt x="5297" y="6465"/>
                    </a:lnTo>
                    <a:lnTo>
                      <a:pt x="5488" y="6408"/>
                    </a:lnTo>
                    <a:lnTo>
                      <a:pt x="5670" y="6350"/>
                    </a:lnTo>
                    <a:lnTo>
                      <a:pt x="6034" y="6226"/>
                    </a:lnTo>
                    <a:lnTo>
                      <a:pt x="6389" y="6082"/>
                    </a:lnTo>
                    <a:lnTo>
                      <a:pt x="6734" y="5919"/>
                    </a:lnTo>
                    <a:lnTo>
                      <a:pt x="7069" y="5737"/>
                    </a:lnTo>
                    <a:lnTo>
                      <a:pt x="7395" y="5555"/>
                    </a:lnTo>
                    <a:lnTo>
                      <a:pt x="7711" y="5354"/>
                    </a:lnTo>
                    <a:lnTo>
                      <a:pt x="8008" y="5153"/>
                    </a:lnTo>
                    <a:lnTo>
                      <a:pt x="8295" y="4942"/>
                    </a:lnTo>
                    <a:lnTo>
                      <a:pt x="8573" y="4732"/>
                    </a:lnTo>
                    <a:lnTo>
                      <a:pt x="8831" y="4511"/>
                    </a:lnTo>
                    <a:lnTo>
                      <a:pt x="9080" y="4301"/>
                    </a:lnTo>
                    <a:lnTo>
                      <a:pt x="9301" y="4100"/>
                    </a:lnTo>
                    <a:lnTo>
                      <a:pt x="9521" y="3898"/>
                    </a:lnTo>
                    <a:lnTo>
                      <a:pt x="9894" y="3525"/>
                    </a:lnTo>
                    <a:lnTo>
                      <a:pt x="10191" y="3199"/>
                    </a:lnTo>
                    <a:lnTo>
                      <a:pt x="10412" y="2950"/>
                    </a:lnTo>
                    <a:lnTo>
                      <a:pt x="10594" y="2720"/>
                    </a:lnTo>
                    <a:lnTo>
                      <a:pt x="10412" y="2577"/>
                    </a:lnTo>
                    <a:lnTo>
                      <a:pt x="10201" y="2414"/>
                    </a:lnTo>
                    <a:lnTo>
                      <a:pt x="9914" y="2203"/>
                    </a:lnTo>
                    <a:lnTo>
                      <a:pt x="9550" y="1954"/>
                    </a:lnTo>
                    <a:lnTo>
                      <a:pt x="9128" y="1686"/>
                    </a:lnTo>
                    <a:lnTo>
                      <a:pt x="8659" y="1399"/>
                    </a:lnTo>
                    <a:lnTo>
                      <a:pt x="8400" y="1255"/>
                    </a:lnTo>
                    <a:lnTo>
                      <a:pt x="8132" y="1111"/>
                    </a:lnTo>
                    <a:lnTo>
                      <a:pt x="7854" y="977"/>
                    </a:lnTo>
                    <a:lnTo>
                      <a:pt x="7567" y="833"/>
                    </a:lnTo>
                    <a:lnTo>
                      <a:pt x="7260" y="709"/>
                    </a:lnTo>
                    <a:lnTo>
                      <a:pt x="6963" y="584"/>
                    </a:lnTo>
                    <a:lnTo>
                      <a:pt x="6647" y="469"/>
                    </a:lnTo>
                    <a:lnTo>
                      <a:pt x="6331" y="364"/>
                    </a:lnTo>
                    <a:lnTo>
                      <a:pt x="6006" y="268"/>
                    </a:lnTo>
                    <a:lnTo>
                      <a:pt x="5670" y="182"/>
                    </a:lnTo>
                    <a:lnTo>
                      <a:pt x="5335" y="115"/>
                    </a:lnTo>
                    <a:lnTo>
                      <a:pt x="5000" y="58"/>
                    </a:lnTo>
                    <a:lnTo>
                      <a:pt x="4655" y="19"/>
                    </a:lnTo>
                    <a:lnTo>
                      <a:pt x="432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416;p31">
                <a:extLst>
                  <a:ext uri="{FF2B5EF4-FFF2-40B4-BE49-F238E27FC236}">
                    <a16:creationId xmlns:a16="http://schemas.microsoft.com/office/drawing/2014/main" id="{491CCA50-61AD-4942-98C9-47C1CC0DFF93}"/>
                  </a:ext>
                </a:extLst>
              </p:cNvPr>
              <p:cNvSpPr/>
              <p:nvPr/>
            </p:nvSpPr>
            <p:spPr>
              <a:xfrm>
                <a:off x="3141895" y="1559514"/>
                <a:ext cx="319417" cy="231824"/>
              </a:xfrm>
              <a:custGeom>
                <a:avLst/>
                <a:gdLst/>
                <a:ahLst/>
                <a:cxnLst/>
                <a:rect l="l" t="t" r="r" b="b"/>
                <a:pathLst>
                  <a:path w="9886" h="7175" extrusionOk="0">
                    <a:moveTo>
                      <a:pt x="6399" y="1"/>
                    </a:moveTo>
                    <a:lnTo>
                      <a:pt x="6121" y="10"/>
                    </a:lnTo>
                    <a:lnTo>
                      <a:pt x="5853" y="39"/>
                    </a:lnTo>
                    <a:lnTo>
                      <a:pt x="5566" y="77"/>
                    </a:lnTo>
                    <a:lnTo>
                      <a:pt x="5278" y="135"/>
                    </a:lnTo>
                    <a:lnTo>
                      <a:pt x="4991" y="202"/>
                    </a:lnTo>
                    <a:lnTo>
                      <a:pt x="4694" y="288"/>
                    </a:lnTo>
                    <a:lnTo>
                      <a:pt x="4388" y="393"/>
                    </a:lnTo>
                    <a:lnTo>
                      <a:pt x="4081" y="508"/>
                    </a:lnTo>
                    <a:lnTo>
                      <a:pt x="3822" y="623"/>
                    </a:lnTo>
                    <a:lnTo>
                      <a:pt x="3573" y="757"/>
                    </a:lnTo>
                    <a:lnTo>
                      <a:pt x="3324" y="911"/>
                    </a:lnTo>
                    <a:lnTo>
                      <a:pt x="3095" y="1073"/>
                    </a:lnTo>
                    <a:lnTo>
                      <a:pt x="2865" y="1255"/>
                    </a:lnTo>
                    <a:lnTo>
                      <a:pt x="2654" y="1437"/>
                    </a:lnTo>
                    <a:lnTo>
                      <a:pt x="2443" y="1639"/>
                    </a:lnTo>
                    <a:lnTo>
                      <a:pt x="2242" y="1840"/>
                    </a:lnTo>
                    <a:lnTo>
                      <a:pt x="2050" y="2060"/>
                    </a:lnTo>
                    <a:lnTo>
                      <a:pt x="1878" y="2271"/>
                    </a:lnTo>
                    <a:lnTo>
                      <a:pt x="1706" y="2501"/>
                    </a:lnTo>
                    <a:lnTo>
                      <a:pt x="1543" y="2721"/>
                    </a:lnTo>
                    <a:lnTo>
                      <a:pt x="1390" y="2951"/>
                    </a:lnTo>
                    <a:lnTo>
                      <a:pt x="1236" y="3181"/>
                    </a:lnTo>
                    <a:lnTo>
                      <a:pt x="1102" y="3411"/>
                    </a:lnTo>
                    <a:lnTo>
                      <a:pt x="978" y="3640"/>
                    </a:lnTo>
                    <a:lnTo>
                      <a:pt x="738" y="4081"/>
                    </a:lnTo>
                    <a:lnTo>
                      <a:pt x="537" y="4493"/>
                    </a:lnTo>
                    <a:lnTo>
                      <a:pt x="374" y="4876"/>
                    </a:lnTo>
                    <a:lnTo>
                      <a:pt x="240" y="5211"/>
                    </a:lnTo>
                    <a:lnTo>
                      <a:pt x="135" y="5489"/>
                    </a:lnTo>
                    <a:lnTo>
                      <a:pt x="58" y="5709"/>
                    </a:lnTo>
                    <a:lnTo>
                      <a:pt x="1" y="5891"/>
                    </a:lnTo>
                    <a:lnTo>
                      <a:pt x="461" y="6677"/>
                    </a:lnTo>
                    <a:lnTo>
                      <a:pt x="853" y="6763"/>
                    </a:lnTo>
                    <a:lnTo>
                      <a:pt x="1303" y="6859"/>
                    </a:lnTo>
                    <a:lnTo>
                      <a:pt x="1888" y="6954"/>
                    </a:lnTo>
                    <a:lnTo>
                      <a:pt x="2232" y="7002"/>
                    </a:lnTo>
                    <a:lnTo>
                      <a:pt x="2587" y="7050"/>
                    </a:lnTo>
                    <a:lnTo>
                      <a:pt x="2970" y="7089"/>
                    </a:lnTo>
                    <a:lnTo>
                      <a:pt x="3363" y="7127"/>
                    </a:lnTo>
                    <a:lnTo>
                      <a:pt x="3784" y="7156"/>
                    </a:lnTo>
                    <a:lnTo>
                      <a:pt x="4206" y="7175"/>
                    </a:lnTo>
                    <a:lnTo>
                      <a:pt x="5068" y="7175"/>
                    </a:lnTo>
                    <a:lnTo>
                      <a:pt x="5499" y="7156"/>
                    </a:lnTo>
                    <a:lnTo>
                      <a:pt x="5930" y="7117"/>
                    </a:lnTo>
                    <a:lnTo>
                      <a:pt x="6361" y="7060"/>
                    </a:lnTo>
                    <a:lnTo>
                      <a:pt x="6782" y="6983"/>
                    </a:lnTo>
                    <a:lnTo>
                      <a:pt x="6983" y="6935"/>
                    </a:lnTo>
                    <a:lnTo>
                      <a:pt x="7184" y="6887"/>
                    </a:lnTo>
                    <a:lnTo>
                      <a:pt x="7376" y="6830"/>
                    </a:lnTo>
                    <a:lnTo>
                      <a:pt x="7577" y="6763"/>
                    </a:lnTo>
                    <a:lnTo>
                      <a:pt x="7759" y="6696"/>
                    </a:lnTo>
                    <a:lnTo>
                      <a:pt x="7941" y="6619"/>
                    </a:lnTo>
                    <a:lnTo>
                      <a:pt x="8123" y="6543"/>
                    </a:lnTo>
                    <a:lnTo>
                      <a:pt x="8295" y="6447"/>
                    </a:lnTo>
                    <a:lnTo>
                      <a:pt x="8458" y="6351"/>
                    </a:lnTo>
                    <a:lnTo>
                      <a:pt x="8611" y="6246"/>
                    </a:lnTo>
                    <a:lnTo>
                      <a:pt x="8765" y="6131"/>
                    </a:lnTo>
                    <a:lnTo>
                      <a:pt x="8908" y="6016"/>
                    </a:lnTo>
                    <a:lnTo>
                      <a:pt x="9043" y="5891"/>
                    </a:lnTo>
                    <a:lnTo>
                      <a:pt x="9167" y="5748"/>
                    </a:lnTo>
                    <a:lnTo>
                      <a:pt x="9282" y="5604"/>
                    </a:lnTo>
                    <a:lnTo>
                      <a:pt x="9397" y="5451"/>
                    </a:lnTo>
                    <a:lnTo>
                      <a:pt x="9493" y="5288"/>
                    </a:lnTo>
                    <a:lnTo>
                      <a:pt x="9579" y="5115"/>
                    </a:lnTo>
                    <a:lnTo>
                      <a:pt x="9656" y="4943"/>
                    </a:lnTo>
                    <a:lnTo>
                      <a:pt x="9723" y="4751"/>
                    </a:lnTo>
                    <a:lnTo>
                      <a:pt x="9780" y="4550"/>
                    </a:lnTo>
                    <a:lnTo>
                      <a:pt x="9828" y="4340"/>
                    </a:lnTo>
                    <a:lnTo>
                      <a:pt x="9857" y="4119"/>
                    </a:lnTo>
                    <a:lnTo>
                      <a:pt x="9876" y="3889"/>
                    </a:lnTo>
                    <a:lnTo>
                      <a:pt x="9885" y="3583"/>
                    </a:lnTo>
                    <a:lnTo>
                      <a:pt x="9876" y="3286"/>
                    </a:lnTo>
                    <a:lnTo>
                      <a:pt x="9847" y="2999"/>
                    </a:lnTo>
                    <a:lnTo>
                      <a:pt x="9809" y="2731"/>
                    </a:lnTo>
                    <a:lnTo>
                      <a:pt x="9761" y="2472"/>
                    </a:lnTo>
                    <a:lnTo>
                      <a:pt x="9684" y="2223"/>
                    </a:lnTo>
                    <a:lnTo>
                      <a:pt x="9608" y="1983"/>
                    </a:lnTo>
                    <a:lnTo>
                      <a:pt x="9502" y="1763"/>
                    </a:lnTo>
                    <a:lnTo>
                      <a:pt x="9397" y="1552"/>
                    </a:lnTo>
                    <a:lnTo>
                      <a:pt x="9272" y="1361"/>
                    </a:lnTo>
                    <a:lnTo>
                      <a:pt x="9129" y="1169"/>
                    </a:lnTo>
                    <a:lnTo>
                      <a:pt x="8985" y="997"/>
                    </a:lnTo>
                    <a:lnTo>
                      <a:pt x="8822" y="844"/>
                    </a:lnTo>
                    <a:lnTo>
                      <a:pt x="8650" y="700"/>
                    </a:lnTo>
                    <a:lnTo>
                      <a:pt x="8468" y="566"/>
                    </a:lnTo>
                    <a:lnTo>
                      <a:pt x="8276" y="441"/>
                    </a:lnTo>
                    <a:lnTo>
                      <a:pt x="8066" y="346"/>
                    </a:lnTo>
                    <a:lnTo>
                      <a:pt x="7855" y="250"/>
                    </a:lnTo>
                    <a:lnTo>
                      <a:pt x="7635" y="173"/>
                    </a:lnTo>
                    <a:lnTo>
                      <a:pt x="7405" y="106"/>
                    </a:lnTo>
                    <a:lnTo>
                      <a:pt x="7165" y="58"/>
                    </a:lnTo>
                    <a:lnTo>
                      <a:pt x="6916" y="29"/>
                    </a:lnTo>
                    <a:lnTo>
                      <a:pt x="6658" y="10"/>
                    </a:lnTo>
                    <a:lnTo>
                      <a:pt x="639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417;p31">
                <a:extLst>
                  <a:ext uri="{FF2B5EF4-FFF2-40B4-BE49-F238E27FC236}">
                    <a16:creationId xmlns:a16="http://schemas.microsoft.com/office/drawing/2014/main" id="{B6C2EDA5-D986-4E6B-BCDF-1F7504855B8E}"/>
                  </a:ext>
                </a:extLst>
              </p:cNvPr>
              <p:cNvSpPr/>
              <p:nvPr/>
            </p:nvSpPr>
            <p:spPr>
              <a:xfrm>
                <a:off x="3179343" y="1906757"/>
                <a:ext cx="53893" cy="86979"/>
              </a:xfrm>
              <a:custGeom>
                <a:avLst/>
                <a:gdLst/>
                <a:ahLst/>
                <a:cxnLst/>
                <a:rect l="l" t="t" r="r" b="b"/>
                <a:pathLst>
                  <a:path w="1668" h="2692" extrusionOk="0">
                    <a:moveTo>
                      <a:pt x="1045" y="0"/>
                    </a:moveTo>
                    <a:lnTo>
                      <a:pt x="959" y="20"/>
                    </a:lnTo>
                    <a:lnTo>
                      <a:pt x="882" y="39"/>
                    </a:lnTo>
                    <a:lnTo>
                      <a:pt x="796" y="77"/>
                    </a:lnTo>
                    <a:lnTo>
                      <a:pt x="719" y="125"/>
                    </a:lnTo>
                    <a:lnTo>
                      <a:pt x="642" y="192"/>
                    </a:lnTo>
                    <a:lnTo>
                      <a:pt x="566" y="259"/>
                    </a:lnTo>
                    <a:lnTo>
                      <a:pt x="489" y="345"/>
                    </a:lnTo>
                    <a:lnTo>
                      <a:pt x="422" y="431"/>
                    </a:lnTo>
                    <a:lnTo>
                      <a:pt x="346" y="527"/>
                    </a:lnTo>
                    <a:lnTo>
                      <a:pt x="288" y="642"/>
                    </a:lnTo>
                    <a:lnTo>
                      <a:pt x="231" y="757"/>
                    </a:lnTo>
                    <a:lnTo>
                      <a:pt x="173" y="882"/>
                    </a:lnTo>
                    <a:lnTo>
                      <a:pt x="125" y="1006"/>
                    </a:lnTo>
                    <a:lnTo>
                      <a:pt x="87" y="1140"/>
                    </a:lnTo>
                    <a:lnTo>
                      <a:pt x="49" y="1274"/>
                    </a:lnTo>
                    <a:lnTo>
                      <a:pt x="29" y="1408"/>
                    </a:lnTo>
                    <a:lnTo>
                      <a:pt x="10" y="1542"/>
                    </a:lnTo>
                    <a:lnTo>
                      <a:pt x="1" y="1677"/>
                    </a:lnTo>
                    <a:lnTo>
                      <a:pt x="1" y="1801"/>
                    </a:lnTo>
                    <a:lnTo>
                      <a:pt x="10" y="1916"/>
                    </a:lnTo>
                    <a:lnTo>
                      <a:pt x="20" y="2031"/>
                    </a:lnTo>
                    <a:lnTo>
                      <a:pt x="49" y="2146"/>
                    </a:lnTo>
                    <a:lnTo>
                      <a:pt x="77" y="2242"/>
                    </a:lnTo>
                    <a:lnTo>
                      <a:pt x="116" y="2337"/>
                    </a:lnTo>
                    <a:lnTo>
                      <a:pt x="154" y="2424"/>
                    </a:lnTo>
                    <a:lnTo>
                      <a:pt x="202" y="2491"/>
                    </a:lnTo>
                    <a:lnTo>
                      <a:pt x="259" y="2558"/>
                    </a:lnTo>
                    <a:lnTo>
                      <a:pt x="326" y="2606"/>
                    </a:lnTo>
                    <a:lnTo>
                      <a:pt x="393" y="2654"/>
                    </a:lnTo>
                    <a:lnTo>
                      <a:pt x="470" y="2682"/>
                    </a:lnTo>
                    <a:lnTo>
                      <a:pt x="547" y="2692"/>
                    </a:lnTo>
                    <a:lnTo>
                      <a:pt x="623" y="2692"/>
                    </a:lnTo>
                    <a:lnTo>
                      <a:pt x="710" y="2682"/>
                    </a:lnTo>
                    <a:lnTo>
                      <a:pt x="786" y="2654"/>
                    </a:lnTo>
                    <a:lnTo>
                      <a:pt x="872" y="2615"/>
                    </a:lnTo>
                    <a:lnTo>
                      <a:pt x="949" y="2567"/>
                    </a:lnTo>
                    <a:lnTo>
                      <a:pt x="1026" y="2510"/>
                    </a:lnTo>
                    <a:lnTo>
                      <a:pt x="1102" y="2433"/>
                    </a:lnTo>
                    <a:lnTo>
                      <a:pt x="1179" y="2357"/>
                    </a:lnTo>
                    <a:lnTo>
                      <a:pt x="1255" y="2261"/>
                    </a:lnTo>
                    <a:lnTo>
                      <a:pt x="1323" y="2165"/>
                    </a:lnTo>
                    <a:lnTo>
                      <a:pt x="1380" y="2060"/>
                    </a:lnTo>
                    <a:lnTo>
                      <a:pt x="1437" y="1945"/>
                    </a:lnTo>
                    <a:lnTo>
                      <a:pt x="1495" y="1820"/>
                    </a:lnTo>
                    <a:lnTo>
                      <a:pt x="1543" y="1686"/>
                    </a:lnTo>
                    <a:lnTo>
                      <a:pt x="1581" y="1552"/>
                    </a:lnTo>
                    <a:lnTo>
                      <a:pt x="1619" y="1418"/>
                    </a:lnTo>
                    <a:lnTo>
                      <a:pt x="1648" y="1284"/>
                    </a:lnTo>
                    <a:lnTo>
                      <a:pt x="1658" y="1150"/>
                    </a:lnTo>
                    <a:lnTo>
                      <a:pt x="1667" y="1016"/>
                    </a:lnTo>
                    <a:lnTo>
                      <a:pt x="1667" y="891"/>
                    </a:lnTo>
                    <a:lnTo>
                      <a:pt x="1658" y="776"/>
                    </a:lnTo>
                    <a:lnTo>
                      <a:pt x="1648" y="661"/>
                    </a:lnTo>
                    <a:lnTo>
                      <a:pt x="1629" y="556"/>
                    </a:lnTo>
                    <a:lnTo>
                      <a:pt x="1591" y="451"/>
                    </a:lnTo>
                    <a:lnTo>
                      <a:pt x="1562" y="364"/>
                    </a:lnTo>
                    <a:lnTo>
                      <a:pt x="1514" y="278"/>
                    </a:lnTo>
                    <a:lnTo>
                      <a:pt x="1466" y="202"/>
                    </a:lnTo>
                    <a:lnTo>
                      <a:pt x="1409" y="134"/>
                    </a:lnTo>
                    <a:lnTo>
                      <a:pt x="1342" y="87"/>
                    </a:lnTo>
                    <a:lnTo>
                      <a:pt x="1275" y="48"/>
                    </a:lnTo>
                    <a:lnTo>
                      <a:pt x="1198" y="20"/>
                    </a:lnTo>
                    <a:lnTo>
                      <a:pt x="1121"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418;p31">
                <a:extLst>
                  <a:ext uri="{FF2B5EF4-FFF2-40B4-BE49-F238E27FC236}">
                    <a16:creationId xmlns:a16="http://schemas.microsoft.com/office/drawing/2014/main" id="{1F24D71B-D8E7-4BF2-B351-7D7B61AF8713}"/>
                  </a:ext>
                </a:extLst>
              </p:cNvPr>
              <p:cNvSpPr/>
              <p:nvPr/>
            </p:nvSpPr>
            <p:spPr>
              <a:xfrm>
                <a:off x="3133559" y="1768726"/>
                <a:ext cx="103683" cy="222842"/>
              </a:xfrm>
              <a:custGeom>
                <a:avLst/>
                <a:gdLst/>
                <a:ahLst/>
                <a:cxnLst/>
                <a:rect l="l" t="t" r="r" b="b"/>
                <a:pathLst>
                  <a:path w="3209" h="6897" extrusionOk="0">
                    <a:moveTo>
                      <a:pt x="833" y="1"/>
                    </a:moveTo>
                    <a:lnTo>
                      <a:pt x="766" y="10"/>
                    </a:lnTo>
                    <a:lnTo>
                      <a:pt x="699" y="29"/>
                    </a:lnTo>
                    <a:lnTo>
                      <a:pt x="642" y="68"/>
                    </a:lnTo>
                    <a:lnTo>
                      <a:pt x="584" y="106"/>
                    </a:lnTo>
                    <a:lnTo>
                      <a:pt x="527" y="163"/>
                    </a:lnTo>
                    <a:lnTo>
                      <a:pt x="479" y="230"/>
                    </a:lnTo>
                    <a:lnTo>
                      <a:pt x="431" y="307"/>
                    </a:lnTo>
                    <a:lnTo>
                      <a:pt x="383" y="393"/>
                    </a:lnTo>
                    <a:lnTo>
                      <a:pt x="335" y="499"/>
                    </a:lnTo>
                    <a:lnTo>
                      <a:pt x="288" y="614"/>
                    </a:lnTo>
                    <a:lnTo>
                      <a:pt x="211" y="891"/>
                    </a:lnTo>
                    <a:lnTo>
                      <a:pt x="134" y="1227"/>
                    </a:lnTo>
                    <a:lnTo>
                      <a:pt x="67" y="1629"/>
                    </a:lnTo>
                    <a:lnTo>
                      <a:pt x="0" y="2089"/>
                    </a:lnTo>
                    <a:lnTo>
                      <a:pt x="144" y="2376"/>
                    </a:lnTo>
                    <a:lnTo>
                      <a:pt x="288" y="2692"/>
                    </a:lnTo>
                    <a:lnTo>
                      <a:pt x="450" y="3085"/>
                    </a:lnTo>
                    <a:lnTo>
                      <a:pt x="537" y="3315"/>
                    </a:lnTo>
                    <a:lnTo>
                      <a:pt x="613" y="3544"/>
                    </a:lnTo>
                    <a:lnTo>
                      <a:pt x="680" y="3793"/>
                    </a:lnTo>
                    <a:lnTo>
                      <a:pt x="747" y="4033"/>
                    </a:lnTo>
                    <a:lnTo>
                      <a:pt x="795" y="4292"/>
                    </a:lnTo>
                    <a:lnTo>
                      <a:pt x="833" y="4531"/>
                    </a:lnTo>
                    <a:lnTo>
                      <a:pt x="853" y="4780"/>
                    </a:lnTo>
                    <a:lnTo>
                      <a:pt x="862" y="5019"/>
                    </a:lnTo>
                    <a:lnTo>
                      <a:pt x="843" y="5451"/>
                    </a:lnTo>
                    <a:lnTo>
                      <a:pt x="843" y="5824"/>
                    </a:lnTo>
                    <a:lnTo>
                      <a:pt x="862" y="6150"/>
                    </a:lnTo>
                    <a:lnTo>
                      <a:pt x="891" y="6408"/>
                    </a:lnTo>
                    <a:lnTo>
                      <a:pt x="920" y="6523"/>
                    </a:lnTo>
                    <a:lnTo>
                      <a:pt x="939" y="6619"/>
                    </a:lnTo>
                    <a:lnTo>
                      <a:pt x="968" y="6696"/>
                    </a:lnTo>
                    <a:lnTo>
                      <a:pt x="996" y="6763"/>
                    </a:lnTo>
                    <a:lnTo>
                      <a:pt x="1035" y="6820"/>
                    </a:lnTo>
                    <a:lnTo>
                      <a:pt x="1073" y="6858"/>
                    </a:lnTo>
                    <a:lnTo>
                      <a:pt x="1111" y="6887"/>
                    </a:lnTo>
                    <a:lnTo>
                      <a:pt x="1150" y="6897"/>
                    </a:lnTo>
                    <a:lnTo>
                      <a:pt x="1178" y="6887"/>
                    </a:lnTo>
                    <a:lnTo>
                      <a:pt x="1197" y="6868"/>
                    </a:lnTo>
                    <a:lnTo>
                      <a:pt x="1226" y="6830"/>
                    </a:lnTo>
                    <a:lnTo>
                      <a:pt x="1245" y="6791"/>
                    </a:lnTo>
                    <a:lnTo>
                      <a:pt x="1293" y="6657"/>
                    </a:lnTo>
                    <a:lnTo>
                      <a:pt x="1351" y="6495"/>
                    </a:lnTo>
                    <a:lnTo>
                      <a:pt x="1485" y="6064"/>
                    </a:lnTo>
                    <a:lnTo>
                      <a:pt x="1561" y="5824"/>
                    </a:lnTo>
                    <a:lnTo>
                      <a:pt x="1648" y="5565"/>
                    </a:lnTo>
                    <a:lnTo>
                      <a:pt x="1743" y="5316"/>
                    </a:lnTo>
                    <a:lnTo>
                      <a:pt x="1858" y="5058"/>
                    </a:lnTo>
                    <a:lnTo>
                      <a:pt x="1973" y="4818"/>
                    </a:lnTo>
                    <a:lnTo>
                      <a:pt x="2040" y="4703"/>
                    </a:lnTo>
                    <a:lnTo>
                      <a:pt x="2117" y="4598"/>
                    </a:lnTo>
                    <a:lnTo>
                      <a:pt x="2194" y="4493"/>
                    </a:lnTo>
                    <a:lnTo>
                      <a:pt x="2270" y="4406"/>
                    </a:lnTo>
                    <a:lnTo>
                      <a:pt x="2356" y="4320"/>
                    </a:lnTo>
                    <a:lnTo>
                      <a:pt x="2443" y="4244"/>
                    </a:lnTo>
                    <a:lnTo>
                      <a:pt x="2538" y="4177"/>
                    </a:lnTo>
                    <a:lnTo>
                      <a:pt x="2634" y="4119"/>
                    </a:lnTo>
                    <a:lnTo>
                      <a:pt x="2740" y="4071"/>
                    </a:lnTo>
                    <a:lnTo>
                      <a:pt x="2845" y="4043"/>
                    </a:lnTo>
                    <a:lnTo>
                      <a:pt x="2874" y="4033"/>
                    </a:lnTo>
                    <a:lnTo>
                      <a:pt x="2902" y="4004"/>
                    </a:lnTo>
                    <a:lnTo>
                      <a:pt x="2931" y="3966"/>
                    </a:lnTo>
                    <a:lnTo>
                      <a:pt x="2960" y="3918"/>
                    </a:lnTo>
                    <a:lnTo>
                      <a:pt x="3017" y="3784"/>
                    </a:lnTo>
                    <a:lnTo>
                      <a:pt x="3075" y="3602"/>
                    </a:lnTo>
                    <a:lnTo>
                      <a:pt x="3123" y="3401"/>
                    </a:lnTo>
                    <a:lnTo>
                      <a:pt x="3171" y="3161"/>
                    </a:lnTo>
                    <a:lnTo>
                      <a:pt x="3199" y="2903"/>
                    </a:lnTo>
                    <a:lnTo>
                      <a:pt x="3209" y="2635"/>
                    </a:lnTo>
                    <a:lnTo>
                      <a:pt x="3199" y="2347"/>
                    </a:lnTo>
                    <a:lnTo>
                      <a:pt x="3180" y="2204"/>
                    </a:lnTo>
                    <a:lnTo>
                      <a:pt x="3161" y="2060"/>
                    </a:lnTo>
                    <a:lnTo>
                      <a:pt x="3132" y="1916"/>
                    </a:lnTo>
                    <a:lnTo>
                      <a:pt x="3094" y="1782"/>
                    </a:lnTo>
                    <a:lnTo>
                      <a:pt x="3056" y="1638"/>
                    </a:lnTo>
                    <a:lnTo>
                      <a:pt x="3008" y="1504"/>
                    </a:lnTo>
                    <a:lnTo>
                      <a:pt x="2950" y="1370"/>
                    </a:lnTo>
                    <a:lnTo>
                      <a:pt x="2874" y="1246"/>
                    </a:lnTo>
                    <a:lnTo>
                      <a:pt x="2797" y="1121"/>
                    </a:lnTo>
                    <a:lnTo>
                      <a:pt x="2711" y="1006"/>
                    </a:lnTo>
                    <a:lnTo>
                      <a:pt x="2615" y="891"/>
                    </a:lnTo>
                    <a:lnTo>
                      <a:pt x="2500" y="796"/>
                    </a:lnTo>
                    <a:lnTo>
                      <a:pt x="2385" y="700"/>
                    </a:lnTo>
                    <a:lnTo>
                      <a:pt x="2251" y="614"/>
                    </a:lnTo>
                    <a:lnTo>
                      <a:pt x="1743" y="326"/>
                    </a:lnTo>
                    <a:lnTo>
                      <a:pt x="1523" y="202"/>
                    </a:lnTo>
                    <a:lnTo>
                      <a:pt x="1332" y="106"/>
                    </a:lnTo>
                    <a:lnTo>
                      <a:pt x="1150" y="39"/>
                    </a:lnTo>
                    <a:lnTo>
                      <a:pt x="1063" y="20"/>
                    </a:lnTo>
                    <a:lnTo>
                      <a:pt x="987"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ustDataLst>
      <p:tags r:id="rId1"/>
    </p:custDataLst>
    <p:extLst>
      <p:ext uri="{BB962C8B-B14F-4D97-AF65-F5344CB8AC3E}">
        <p14:creationId xmlns:p14="http://schemas.microsoft.com/office/powerpoint/2010/main" val="26990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45">
            <a:extLst>
              <a:ext uri="{FF2B5EF4-FFF2-40B4-BE49-F238E27FC236}">
                <a16:creationId xmlns:a16="http://schemas.microsoft.com/office/drawing/2014/main" id="{6D2BEE0A-9672-4C93-99DF-4FDC11D2AE90}"/>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29" name="Google Shape;412;p18">
            <a:extLst>
              <a:ext uri="{FF2B5EF4-FFF2-40B4-BE49-F238E27FC236}">
                <a16:creationId xmlns:a16="http://schemas.microsoft.com/office/drawing/2014/main" id="{0C7F5EF2-5A10-40AC-9759-AC01B71BFB93}"/>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CÀI ĐẶT MÔ HÌNH VÀ HUẤN LUYỆN MÔ HÌNH</a:t>
            </a:r>
          </a:p>
        </p:txBody>
      </p:sp>
      <p:sp>
        <p:nvSpPr>
          <p:cNvPr id="27" name="Rectangle 26">
            <a:extLst>
              <a:ext uri="{FF2B5EF4-FFF2-40B4-BE49-F238E27FC236}">
                <a16:creationId xmlns:a16="http://schemas.microsoft.com/office/drawing/2014/main" id="{670EC300-66AD-4B34-B5BB-02D12F470835}"/>
              </a:ext>
            </a:extLst>
          </p:cNvPr>
          <p:cNvSpPr/>
          <p:nvPr/>
        </p:nvSpPr>
        <p:spPr>
          <a:xfrm>
            <a:off x="1300100" y="4232248"/>
            <a:ext cx="3014962" cy="3809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Kiểm tra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30">
            <a:extLst>
              <a:ext uri="{FF2B5EF4-FFF2-40B4-BE49-F238E27FC236}">
                <a16:creationId xmlns:a16="http://schemas.microsoft.com/office/drawing/2014/main" id="{2CB7035E-5528-4FA9-A48A-CA3774A23E9C}"/>
              </a:ext>
            </a:extLst>
          </p:cNvPr>
          <p:cNvSpPr/>
          <p:nvPr/>
        </p:nvSpPr>
        <p:spPr>
          <a:xfrm>
            <a:off x="1300101" y="3727045"/>
            <a:ext cx="3014962" cy="38098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Tối ưu hóa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2" name="Rectangle 31">
            <a:extLst>
              <a:ext uri="{FF2B5EF4-FFF2-40B4-BE49-F238E27FC236}">
                <a16:creationId xmlns:a16="http://schemas.microsoft.com/office/drawing/2014/main" id="{1888896E-F6E3-436A-A239-68BCA396451A}"/>
              </a:ext>
            </a:extLst>
          </p:cNvPr>
          <p:cNvSpPr/>
          <p:nvPr/>
        </p:nvSpPr>
        <p:spPr>
          <a:xfrm>
            <a:off x="1300101" y="3229218"/>
            <a:ext cx="3014962" cy="38098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Đánh giá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3" name="Rectangle 32">
            <a:extLst>
              <a:ext uri="{FF2B5EF4-FFF2-40B4-BE49-F238E27FC236}">
                <a16:creationId xmlns:a16="http://schemas.microsoft.com/office/drawing/2014/main" id="{5B5E2987-CAF5-4D62-82B9-DA255D9890C6}"/>
              </a:ext>
            </a:extLst>
          </p:cNvPr>
          <p:cNvSpPr/>
          <p:nvPr/>
        </p:nvSpPr>
        <p:spPr>
          <a:xfrm>
            <a:off x="1300101" y="2731391"/>
            <a:ext cx="3014962" cy="38098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Huấn luyện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4" name="Rectangle 33">
            <a:extLst>
              <a:ext uri="{FF2B5EF4-FFF2-40B4-BE49-F238E27FC236}">
                <a16:creationId xmlns:a16="http://schemas.microsoft.com/office/drawing/2014/main" id="{88BE984D-63EE-4C55-87A6-933162680BDF}"/>
              </a:ext>
            </a:extLst>
          </p:cNvPr>
          <p:cNvSpPr/>
          <p:nvPr/>
        </p:nvSpPr>
        <p:spPr>
          <a:xfrm>
            <a:off x="1300101" y="2224480"/>
            <a:ext cx="3014962" cy="3809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Khởi tạo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34">
            <a:extLst>
              <a:ext uri="{FF2B5EF4-FFF2-40B4-BE49-F238E27FC236}">
                <a16:creationId xmlns:a16="http://schemas.microsoft.com/office/drawing/2014/main" id="{910216FC-AC53-41E6-9579-C0FF0D7C9103}"/>
              </a:ext>
            </a:extLst>
          </p:cNvPr>
          <p:cNvSpPr/>
          <p:nvPr/>
        </p:nvSpPr>
        <p:spPr>
          <a:xfrm>
            <a:off x="1300101" y="1729361"/>
            <a:ext cx="3014962" cy="38098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Cài đặt thư viện</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35">
            <a:extLst>
              <a:ext uri="{FF2B5EF4-FFF2-40B4-BE49-F238E27FC236}">
                <a16:creationId xmlns:a16="http://schemas.microsoft.com/office/drawing/2014/main" id="{DB4AEF63-5D26-4751-A689-AAE50C0A5090}"/>
              </a:ext>
            </a:extLst>
          </p:cNvPr>
          <p:cNvSpPr/>
          <p:nvPr/>
        </p:nvSpPr>
        <p:spPr>
          <a:xfrm>
            <a:off x="1300103" y="1227280"/>
            <a:ext cx="3014962" cy="38098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541"/>
            <a:r>
              <a:rPr lang="en-US" sz="1600" b="1">
                <a:solidFill>
                  <a:srgbClr val="000000"/>
                </a:solidFill>
                <a:latin typeface="Tahoma" panose="020B0604030504040204" pitchFamily="34" charset="0"/>
                <a:ea typeface="Tahoma" panose="020B0604030504040204" pitchFamily="34" charset="0"/>
                <a:cs typeface="Tahoma" panose="020B0604030504040204" pitchFamily="34" charset="0"/>
                <a:sym typeface="Calibri" panose="020F0502020204030204" pitchFamily="34" charset="0"/>
              </a:rPr>
              <a:t>Lựa chọn mô hình</a:t>
            </a:r>
            <a:endParaRPr lang="en-US" sz="16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7" name="Flowchart: Stored Data 36">
            <a:extLst>
              <a:ext uri="{FF2B5EF4-FFF2-40B4-BE49-F238E27FC236}">
                <a16:creationId xmlns:a16="http://schemas.microsoft.com/office/drawing/2014/main" id="{9E7402FA-C463-4684-B228-9EE2F2CC4E93}"/>
              </a:ext>
            </a:extLst>
          </p:cNvPr>
          <p:cNvSpPr/>
          <p:nvPr/>
        </p:nvSpPr>
        <p:spPr>
          <a:xfrm rot="5400000" flipH="1">
            <a:off x="867959" y="4174860"/>
            <a:ext cx="425694" cy="549659"/>
          </a:xfrm>
          <a:prstGeom prst="flowChartOnlineStorag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8" name="Flowchart: Stored Data 37">
            <a:extLst>
              <a:ext uri="{FF2B5EF4-FFF2-40B4-BE49-F238E27FC236}">
                <a16:creationId xmlns:a16="http://schemas.microsoft.com/office/drawing/2014/main" id="{092FB441-91B9-451A-BCB5-F573F792EDCD}"/>
              </a:ext>
            </a:extLst>
          </p:cNvPr>
          <p:cNvSpPr/>
          <p:nvPr/>
        </p:nvSpPr>
        <p:spPr>
          <a:xfrm rot="5400000" flipH="1">
            <a:off x="867959" y="3677129"/>
            <a:ext cx="425694" cy="549659"/>
          </a:xfrm>
          <a:prstGeom prst="flowChartOnlineStorag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9" name="Flowchart: Stored Data 38">
            <a:extLst>
              <a:ext uri="{FF2B5EF4-FFF2-40B4-BE49-F238E27FC236}">
                <a16:creationId xmlns:a16="http://schemas.microsoft.com/office/drawing/2014/main" id="{867F9113-50E2-4509-853A-F8B5A8ADECC1}"/>
              </a:ext>
            </a:extLst>
          </p:cNvPr>
          <p:cNvSpPr/>
          <p:nvPr/>
        </p:nvSpPr>
        <p:spPr>
          <a:xfrm rot="5400000" flipH="1">
            <a:off x="867960" y="3179396"/>
            <a:ext cx="425694" cy="549659"/>
          </a:xfrm>
          <a:prstGeom prst="flowChartOnlineStorag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0" name="Flowchart: Stored Data 39">
            <a:extLst>
              <a:ext uri="{FF2B5EF4-FFF2-40B4-BE49-F238E27FC236}">
                <a16:creationId xmlns:a16="http://schemas.microsoft.com/office/drawing/2014/main" id="{1DE0A3FE-1D39-4BE5-8F39-F6EF7905A28A}"/>
              </a:ext>
            </a:extLst>
          </p:cNvPr>
          <p:cNvSpPr/>
          <p:nvPr/>
        </p:nvSpPr>
        <p:spPr>
          <a:xfrm rot="5400000" flipH="1">
            <a:off x="867960" y="2681663"/>
            <a:ext cx="425694" cy="549659"/>
          </a:xfrm>
          <a:prstGeom prst="flowChartOnlineStorag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1" name="Flowchart: Stored Data 40">
            <a:extLst>
              <a:ext uri="{FF2B5EF4-FFF2-40B4-BE49-F238E27FC236}">
                <a16:creationId xmlns:a16="http://schemas.microsoft.com/office/drawing/2014/main" id="{CAD53B58-CF62-4640-8346-816E35C5D0FD}"/>
              </a:ext>
            </a:extLst>
          </p:cNvPr>
          <p:cNvSpPr/>
          <p:nvPr/>
        </p:nvSpPr>
        <p:spPr>
          <a:xfrm rot="5400000" flipH="1">
            <a:off x="867960" y="2164230"/>
            <a:ext cx="425694" cy="549659"/>
          </a:xfrm>
          <a:prstGeom prst="flowChartOnlineStorag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2" name="Flowchart: Stored Data 41">
            <a:extLst>
              <a:ext uri="{FF2B5EF4-FFF2-40B4-BE49-F238E27FC236}">
                <a16:creationId xmlns:a16="http://schemas.microsoft.com/office/drawing/2014/main" id="{C99E3969-484B-400A-AFC3-DE3DCE513CE7}"/>
              </a:ext>
            </a:extLst>
          </p:cNvPr>
          <p:cNvSpPr/>
          <p:nvPr/>
        </p:nvSpPr>
        <p:spPr>
          <a:xfrm rot="5400000" flipH="1">
            <a:off x="867963" y="1674040"/>
            <a:ext cx="425694" cy="549659"/>
          </a:xfrm>
          <a:prstGeom prst="flowChartOnlineStorag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3" name="Flowchart: Stored Data 42">
            <a:extLst>
              <a:ext uri="{FF2B5EF4-FFF2-40B4-BE49-F238E27FC236}">
                <a16:creationId xmlns:a16="http://schemas.microsoft.com/office/drawing/2014/main" id="{B3B62898-FE88-4611-B4C3-B078740E6D1A}"/>
              </a:ext>
            </a:extLst>
          </p:cNvPr>
          <p:cNvSpPr/>
          <p:nvPr/>
        </p:nvSpPr>
        <p:spPr>
          <a:xfrm rot="5400000" flipH="1">
            <a:off x="867961" y="1180945"/>
            <a:ext cx="425694" cy="549659"/>
          </a:xfrm>
          <a:prstGeom prst="flowChartOnlineStorag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4" name="Rectangle 43">
            <a:extLst>
              <a:ext uri="{FF2B5EF4-FFF2-40B4-BE49-F238E27FC236}">
                <a16:creationId xmlns:a16="http://schemas.microsoft.com/office/drawing/2014/main" id="{324E6E80-D15D-47A2-BB01-AB9C76F98BC4}"/>
              </a:ext>
            </a:extLst>
          </p:cNvPr>
          <p:cNvSpPr/>
          <p:nvPr/>
        </p:nvSpPr>
        <p:spPr>
          <a:xfrm rot="5400000">
            <a:off x="-825141" y="2753477"/>
            <a:ext cx="3811907" cy="348565"/>
          </a:xfrm>
          <a:prstGeom prst="rect">
            <a:avLst/>
          </a:prstGeom>
          <a:solidFill>
            <a:srgbClr val="D0CEC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45" name="Flowchart: Stored Data 44">
            <a:extLst>
              <a:ext uri="{FF2B5EF4-FFF2-40B4-BE49-F238E27FC236}">
                <a16:creationId xmlns:a16="http://schemas.microsoft.com/office/drawing/2014/main" id="{E0A1D51A-4492-4649-860B-902A252B9D43}"/>
              </a:ext>
            </a:extLst>
          </p:cNvPr>
          <p:cNvSpPr/>
          <p:nvPr/>
        </p:nvSpPr>
        <p:spPr>
          <a:xfrm rot="5400000">
            <a:off x="867968" y="1104266"/>
            <a:ext cx="425694" cy="549659"/>
          </a:xfrm>
          <a:prstGeom prst="flowChartOnlineStorage">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1</a:t>
            </a:r>
          </a:p>
        </p:txBody>
      </p:sp>
      <p:sp>
        <p:nvSpPr>
          <p:cNvPr id="46" name="Flowchart: Stored Data 45">
            <a:extLst>
              <a:ext uri="{FF2B5EF4-FFF2-40B4-BE49-F238E27FC236}">
                <a16:creationId xmlns:a16="http://schemas.microsoft.com/office/drawing/2014/main" id="{78C57317-06B7-42C2-9CD6-1F1176F4780C}"/>
              </a:ext>
            </a:extLst>
          </p:cNvPr>
          <p:cNvSpPr/>
          <p:nvPr/>
        </p:nvSpPr>
        <p:spPr>
          <a:xfrm rot="5400000">
            <a:off x="867968" y="1602001"/>
            <a:ext cx="425694" cy="549659"/>
          </a:xfrm>
          <a:prstGeom prst="flowChartOnlineStorag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2</a:t>
            </a:r>
          </a:p>
        </p:txBody>
      </p:sp>
      <p:sp>
        <p:nvSpPr>
          <p:cNvPr id="47" name="Flowchart: Stored Data 46">
            <a:extLst>
              <a:ext uri="{FF2B5EF4-FFF2-40B4-BE49-F238E27FC236}">
                <a16:creationId xmlns:a16="http://schemas.microsoft.com/office/drawing/2014/main" id="{D8FC8943-5007-4F8D-AB78-88BB5241822A}"/>
              </a:ext>
            </a:extLst>
          </p:cNvPr>
          <p:cNvSpPr/>
          <p:nvPr/>
        </p:nvSpPr>
        <p:spPr>
          <a:xfrm rot="5400000">
            <a:off x="867967" y="2099735"/>
            <a:ext cx="425694" cy="549659"/>
          </a:xfrm>
          <a:prstGeom prst="flowChartOnlineStorag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3</a:t>
            </a:r>
          </a:p>
        </p:txBody>
      </p:sp>
      <p:sp>
        <p:nvSpPr>
          <p:cNvPr id="48" name="Flowchart: Stored Data 47">
            <a:extLst>
              <a:ext uri="{FF2B5EF4-FFF2-40B4-BE49-F238E27FC236}">
                <a16:creationId xmlns:a16="http://schemas.microsoft.com/office/drawing/2014/main" id="{78062BD0-488D-417C-9F89-37BFDD544455}"/>
              </a:ext>
            </a:extLst>
          </p:cNvPr>
          <p:cNvSpPr/>
          <p:nvPr/>
        </p:nvSpPr>
        <p:spPr>
          <a:xfrm rot="5400000">
            <a:off x="867968" y="2606246"/>
            <a:ext cx="425694" cy="549659"/>
          </a:xfrm>
          <a:prstGeom prst="flowChartOnlineStorag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4</a:t>
            </a:r>
          </a:p>
        </p:txBody>
      </p:sp>
      <p:sp>
        <p:nvSpPr>
          <p:cNvPr id="49" name="Flowchart: Stored Data 48">
            <a:extLst>
              <a:ext uri="{FF2B5EF4-FFF2-40B4-BE49-F238E27FC236}">
                <a16:creationId xmlns:a16="http://schemas.microsoft.com/office/drawing/2014/main" id="{B6B8F00C-6148-4DDE-A992-2423B8E3E6F4}"/>
              </a:ext>
            </a:extLst>
          </p:cNvPr>
          <p:cNvSpPr/>
          <p:nvPr/>
        </p:nvSpPr>
        <p:spPr>
          <a:xfrm rot="5400000">
            <a:off x="867968" y="3103980"/>
            <a:ext cx="425694" cy="549659"/>
          </a:xfrm>
          <a:prstGeom prst="flowChartOnlineStorag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5</a:t>
            </a:r>
          </a:p>
        </p:txBody>
      </p:sp>
      <p:sp>
        <p:nvSpPr>
          <p:cNvPr id="50" name="Flowchart: Stored Data 49">
            <a:extLst>
              <a:ext uri="{FF2B5EF4-FFF2-40B4-BE49-F238E27FC236}">
                <a16:creationId xmlns:a16="http://schemas.microsoft.com/office/drawing/2014/main" id="{D14B8C57-3E3B-40F6-B98D-F555BC2E46A0}"/>
              </a:ext>
            </a:extLst>
          </p:cNvPr>
          <p:cNvSpPr/>
          <p:nvPr/>
        </p:nvSpPr>
        <p:spPr>
          <a:xfrm rot="5400000">
            <a:off x="867967" y="3601714"/>
            <a:ext cx="425694" cy="549659"/>
          </a:xfrm>
          <a:prstGeom prst="flowChartOnlineStorag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6</a:t>
            </a:r>
          </a:p>
        </p:txBody>
      </p:sp>
      <p:sp>
        <p:nvSpPr>
          <p:cNvPr id="51" name="Flowchart: Stored Data 50">
            <a:extLst>
              <a:ext uri="{FF2B5EF4-FFF2-40B4-BE49-F238E27FC236}">
                <a16:creationId xmlns:a16="http://schemas.microsoft.com/office/drawing/2014/main" id="{5C0D7EBD-9D72-4364-B26C-9F273F171C7A}"/>
              </a:ext>
            </a:extLst>
          </p:cNvPr>
          <p:cNvSpPr/>
          <p:nvPr/>
        </p:nvSpPr>
        <p:spPr>
          <a:xfrm rot="5400000">
            <a:off x="867966" y="4108225"/>
            <a:ext cx="425694" cy="549659"/>
          </a:xfrm>
          <a:prstGeom prst="flowChartOnlineStorag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500" b="1" dirty="0">
                <a:latin typeface="Tahoma" panose="020B0604030504040204" pitchFamily="34" charset="0"/>
                <a:ea typeface="Tahoma" panose="020B0604030504040204" pitchFamily="34" charset="0"/>
                <a:cs typeface="Tahoma" panose="020B0604030504040204" pitchFamily="34" charset="0"/>
              </a:rPr>
              <a:t>07</a:t>
            </a:r>
          </a:p>
        </p:txBody>
      </p:sp>
      <p:sp>
        <p:nvSpPr>
          <p:cNvPr id="53" name="Rounded Rectangle 118">
            <a:extLst>
              <a:ext uri="{FF2B5EF4-FFF2-40B4-BE49-F238E27FC236}">
                <a16:creationId xmlns:a16="http://schemas.microsoft.com/office/drawing/2014/main" id="{9C112E16-9DD9-4BA4-9567-FD95C640486A}"/>
              </a:ext>
            </a:extLst>
          </p:cNvPr>
          <p:cNvSpPr/>
          <p:nvPr/>
        </p:nvSpPr>
        <p:spPr>
          <a:xfrm>
            <a:off x="4708026" y="2147596"/>
            <a:ext cx="4303391" cy="1516100"/>
          </a:xfrm>
          <a:prstGeom prst="roundRect">
            <a:avLst>
              <a:gd name="adj" fmla="val 50000"/>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b="1">
                <a:solidFill>
                  <a:schemeClr val="tx1"/>
                </a:solidFill>
                <a:latin typeface="Tahoma" panose="020B0604030504040204" pitchFamily="34" charset="0"/>
                <a:ea typeface="Tahoma" panose="020B0604030504040204" pitchFamily="34" charset="0"/>
                <a:cs typeface="Tahoma" panose="020B0604030504040204" pitchFamily="34" charset="0"/>
              </a:rPr>
              <a:t>Quy trình này </a:t>
            </a:r>
            <a:r>
              <a:rPr lang="en-US" b="1">
                <a:solidFill>
                  <a:schemeClr val="tx1"/>
                </a:solidFill>
                <a:latin typeface="Tahoma" panose="020B0604030504040204" pitchFamily="34" charset="0"/>
                <a:ea typeface="Tahoma" panose="020B0604030504040204" pitchFamily="34" charset="0"/>
                <a:cs typeface="Tahoma" panose="020B0604030504040204" pitchFamily="34" charset="0"/>
              </a:rPr>
              <a:t>giúp </a:t>
            </a:r>
            <a:r>
              <a:rPr lang="vi-VN" b="1">
                <a:solidFill>
                  <a:schemeClr val="tx1"/>
                </a:solidFill>
                <a:latin typeface="Tahoma" panose="020B0604030504040204" pitchFamily="34" charset="0"/>
                <a:ea typeface="Tahoma" panose="020B0604030504040204" pitchFamily="34" charset="0"/>
                <a:cs typeface="Tahoma" panose="020B0604030504040204" pitchFamily="34" charset="0"/>
              </a:rPr>
              <a:t>cài đặt và huấn luyện mô hình học máy một cách có hệ thống, từ việc lựa chọn mô hình đến việc tối ưu hóa và lưu trữ mô hình để sử dụng trong tương lai.</a:t>
            </a:r>
          </a:p>
        </p:txBody>
      </p:sp>
    </p:spTree>
    <p:extLst>
      <p:ext uri="{BB962C8B-B14F-4D97-AF65-F5344CB8AC3E}">
        <p14:creationId xmlns:p14="http://schemas.microsoft.com/office/powerpoint/2010/main" val="2572480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grpSp>
        <p:nvGrpSpPr>
          <p:cNvPr id="1263" name="Google Shape;1263;p30"/>
          <p:cNvGrpSpPr/>
          <p:nvPr/>
        </p:nvGrpSpPr>
        <p:grpSpPr>
          <a:xfrm>
            <a:off x="457197" y="1512105"/>
            <a:ext cx="2381210" cy="331800"/>
            <a:chOff x="457200" y="959300"/>
            <a:chExt cx="2518200" cy="331800"/>
          </a:xfrm>
        </p:grpSpPr>
        <p:sp>
          <p:nvSpPr>
            <p:cNvPr id="1265" name="Google Shape;1265;p30"/>
            <p:cNvSpPr txBox="1"/>
            <p:nvPr/>
          </p:nvSpPr>
          <p:spPr>
            <a:xfrm>
              <a:off x="914400" y="959300"/>
              <a:ext cx="2061000" cy="331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800" b="1">
                  <a:latin typeface="Fira Sans Extra Condensed"/>
                  <a:ea typeface="Fira Sans Extra Condensed"/>
                  <a:cs typeface="Fira Sans Extra Condensed"/>
                  <a:sym typeface="Fira Sans Extra Condensed"/>
                </a:rPr>
                <a:t>G</a:t>
              </a:r>
              <a:r>
                <a:rPr lang="en" sz="1800" b="1">
                  <a:latin typeface="Fira Sans Extra Condensed"/>
                  <a:ea typeface="Fira Sans Extra Condensed"/>
                  <a:cs typeface="Fira Sans Extra Condensed"/>
                  <a:sym typeface="Fira Sans Extra Condensed"/>
                </a:rPr>
                <a:t>iới thiệu</a:t>
              </a:r>
              <a:endParaRPr sz="1800" b="1">
                <a:solidFill>
                  <a:srgbClr val="000000"/>
                </a:solidFill>
                <a:latin typeface="Fira Sans Extra Condensed"/>
                <a:ea typeface="Fira Sans Extra Condensed"/>
                <a:cs typeface="Fira Sans Extra Condensed"/>
                <a:sym typeface="Fira Sans Extra Condensed"/>
              </a:endParaRPr>
            </a:p>
          </p:txBody>
        </p:sp>
        <p:sp>
          <p:nvSpPr>
            <p:cNvPr id="1267" name="Google Shape;1267;p30"/>
            <p:cNvSpPr txBox="1"/>
            <p:nvPr/>
          </p:nvSpPr>
          <p:spPr>
            <a:xfrm>
              <a:off x="457200" y="959300"/>
              <a:ext cx="457200"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1800" b="1">
                  <a:solidFill>
                    <a:schemeClr val="accent1"/>
                  </a:solidFill>
                  <a:latin typeface="Fira Sans Extra Condensed"/>
                  <a:ea typeface="Fira Sans Extra Condensed"/>
                  <a:cs typeface="Fira Sans Extra Condensed"/>
                  <a:sym typeface="Fira Sans Extra Condensed"/>
                </a:rPr>
                <a:t>01</a:t>
              </a:r>
              <a:endParaRPr sz="1800" b="1">
                <a:solidFill>
                  <a:schemeClr val="accent1"/>
                </a:solidFill>
                <a:latin typeface="Fira Sans Extra Condensed"/>
                <a:ea typeface="Fira Sans Extra Condensed"/>
                <a:cs typeface="Fira Sans Extra Condensed"/>
                <a:sym typeface="Fira Sans Extra Condensed"/>
              </a:endParaRPr>
            </a:p>
          </p:txBody>
        </p:sp>
      </p:grpSp>
      <p:grpSp>
        <p:nvGrpSpPr>
          <p:cNvPr id="1268" name="Google Shape;1268;p30"/>
          <p:cNvGrpSpPr/>
          <p:nvPr/>
        </p:nvGrpSpPr>
        <p:grpSpPr>
          <a:xfrm>
            <a:off x="6782271" y="1493620"/>
            <a:ext cx="2248373" cy="331800"/>
            <a:chOff x="6305606" y="1509839"/>
            <a:chExt cx="2381197" cy="331800"/>
          </a:xfrm>
        </p:grpSpPr>
        <p:sp>
          <p:nvSpPr>
            <p:cNvPr id="1270" name="Google Shape;1270;p30"/>
            <p:cNvSpPr txBox="1"/>
            <p:nvPr/>
          </p:nvSpPr>
          <p:spPr>
            <a:xfrm>
              <a:off x="6305606" y="1509839"/>
              <a:ext cx="1948882"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sz="1800" b="1">
                  <a:latin typeface="Fira Sans Extra Condensed"/>
                  <a:ea typeface="Fira Sans Extra Condensed"/>
                  <a:cs typeface="Fira Sans Extra Condensed"/>
                  <a:sym typeface="Fira Sans Extra Condensed"/>
                </a:rPr>
                <a:t>C</a:t>
              </a:r>
              <a:r>
                <a:rPr lang="en" sz="1800" b="1">
                  <a:latin typeface="Fira Sans Extra Condensed"/>
                  <a:ea typeface="Fira Sans Extra Condensed"/>
                  <a:cs typeface="Fira Sans Extra Condensed"/>
                  <a:sym typeface="Fira Sans Extra Condensed"/>
                </a:rPr>
                <a:t>ách hoạt động</a:t>
              </a:r>
              <a:endParaRPr sz="1800" b="1">
                <a:solidFill>
                  <a:srgbClr val="000000"/>
                </a:solidFill>
                <a:latin typeface="Fira Sans Extra Condensed"/>
                <a:ea typeface="Fira Sans Extra Condensed"/>
                <a:cs typeface="Fira Sans Extra Condensed"/>
                <a:sym typeface="Fira Sans Extra Condensed"/>
              </a:endParaRPr>
            </a:p>
          </p:txBody>
        </p:sp>
        <p:sp>
          <p:nvSpPr>
            <p:cNvPr id="1272" name="Google Shape;1272;p30"/>
            <p:cNvSpPr txBox="1"/>
            <p:nvPr/>
          </p:nvSpPr>
          <p:spPr>
            <a:xfrm>
              <a:off x="8254503" y="1509839"/>
              <a:ext cx="432300"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1800" b="1">
                  <a:solidFill>
                    <a:schemeClr val="accent4"/>
                  </a:solidFill>
                  <a:latin typeface="Fira Sans Extra Condensed"/>
                  <a:ea typeface="Fira Sans Extra Condensed"/>
                  <a:cs typeface="Fira Sans Extra Condensed"/>
                  <a:sym typeface="Fira Sans Extra Condensed"/>
                </a:rPr>
                <a:t>02</a:t>
              </a:r>
              <a:endParaRPr sz="1800" b="1">
                <a:solidFill>
                  <a:schemeClr val="accent4"/>
                </a:solidFill>
                <a:latin typeface="Fira Sans Extra Condensed"/>
                <a:ea typeface="Fira Sans Extra Condensed"/>
                <a:cs typeface="Fira Sans Extra Condensed"/>
                <a:sym typeface="Fira Sans Extra Condensed"/>
              </a:endParaRPr>
            </a:p>
          </p:txBody>
        </p:sp>
      </p:grpSp>
      <p:grpSp>
        <p:nvGrpSpPr>
          <p:cNvPr id="1273" name="Google Shape;1273;p30"/>
          <p:cNvGrpSpPr/>
          <p:nvPr/>
        </p:nvGrpSpPr>
        <p:grpSpPr>
          <a:xfrm>
            <a:off x="457197" y="2988260"/>
            <a:ext cx="2381210" cy="331800"/>
            <a:chOff x="457200" y="959300"/>
            <a:chExt cx="2518200" cy="331800"/>
          </a:xfrm>
        </p:grpSpPr>
        <p:sp>
          <p:nvSpPr>
            <p:cNvPr id="1275" name="Google Shape;1275;p30"/>
            <p:cNvSpPr txBox="1"/>
            <p:nvPr/>
          </p:nvSpPr>
          <p:spPr>
            <a:xfrm>
              <a:off x="914400" y="959300"/>
              <a:ext cx="2061000" cy="331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800" b="1">
                  <a:latin typeface="Fira Sans Extra Condensed"/>
                  <a:ea typeface="Fira Sans Extra Condensed"/>
                  <a:cs typeface="Fira Sans Extra Condensed"/>
                  <a:sym typeface="Fira Sans Extra Condensed"/>
                </a:rPr>
                <a:t>N</a:t>
              </a:r>
              <a:r>
                <a:rPr lang="en" sz="1800" b="1">
                  <a:latin typeface="Fira Sans Extra Condensed"/>
                  <a:ea typeface="Fira Sans Extra Condensed"/>
                  <a:cs typeface="Fira Sans Extra Condensed"/>
                  <a:sym typeface="Fira Sans Extra Condensed"/>
                </a:rPr>
                <a:t>hược điểm</a:t>
              </a:r>
              <a:endParaRPr sz="1800" b="1">
                <a:solidFill>
                  <a:srgbClr val="000000"/>
                </a:solidFill>
                <a:latin typeface="Fira Sans Extra Condensed"/>
                <a:ea typeface="Fira Sans Extra Condensed"/>
                <a:cs typeface="Fira Sans Extra Condensed"/>
                <a:sym typeface="Fira Sans Extra Condensed"/>
              </a:endParaRPr>
            </a:p>
          </p:txBody>
        </p:sp>
        <p:sp>
          <p:nvSpPr>
            <p:cNvPr id="1277" name="Google Shape;1277;p30"/>
            <p:cNvSpPr txBox="1"/>
            <p:nvPr/>
          </p:nvSpPr>
          <p:spPr>
            <a:xfrm>
              <a:off x="457200" y="959300"/>
              <a:ext cx="457200"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1800" b="1">
                  <a:solidFill>
                    <a:schemeClr val="accent5"/>
                  </a:solidFill>
                  <a:latin typeface="Fira Sans Extra Condensed"/>
                  <a:ea typeface="Fira Sans Extra Condensed"/>
                  <a:cs typeface="Fira Sans Extra Condensed"/>
                  <a:sym typeface="Fira Sans Extra Condensed"/>
                </a:rPr>
                <a:t>03</a:t>
              </a:r>
              <a:endParaRPr sz="1800" b="1">
                <a:solidFill>
                  <a:schemeClr val="accent5"/>
                </a:solidFill>
                <a:latin typeface="Fira Sans Extra Condensed"/>
                <a:ea typeface="Fira Sans Extra Condensed"/>
                <a:cs typeface="Fira Sans Extra Condensed"/>
                <a:sym typeface="Fira Sans Extra Condensed"/>
              </a:endParaRPr>
            </a:p>
          </p:txBody>
        </p:sp>
      </p:grpSp>
      <p:grpSp>
        <p:nvGrpSpPr>
          <p:cNvPr id="1278" name="Google Shape;1278;p30"/>
          <p:cNvGrpSpPr/>
          <p:nvPr/>
        </p:nvGrpSpPr>
        <p:grpSpPr>
          <a:xfrm>
            <a:off x="6305606" y="2986010"/>
            <a:ext cx="2381197" cy="331800"/>
            <a:chOff x="6305606" y="2986010"/>
            <a:chExt cx="2381197" cy="331800"/>
          </a:xfrm>
        </p:grpSpPr>
        <p:sp>
          <p:nvSpPr>
            <p:cNvPr id="1280" name="Google Shape;1280;p30"/>
            <p:cNvSpPr txBox="1"/>
            <p:nvPr/>
          </p:nvSpPr>
          <p:spPr>
            <a:xfrm>
              <a:off x="6305606" y="2986010"/>
              <a:ext cx="1948882"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vi-VN" sz="1800" b="1">
                  <a:solidFill>
                    <a:srgbClr val="000000"/>
                  </a:solidFill>
                  <a:latin typeface="Fira Sans Extra Condensed"/>
                  <a:ea typeface="Fira Sans Extra Condensed"/>
                  <a:cs typeface="Fira Sans Extra Condensed"/>
                  <a:sym typeface="Fira Sans Extra Condensed"/>
                </a:rPr>
                <a:t>Ư</a:t>
              </a:r>
              <a:r>
                <a:rPr lang="en" sz="1800" b="1">
                  <a:solidFill>
                    <a:srgbClr val="000000"/>
                  </a:solidFill>
                  <a:latin typeface="Fira Sans Extra Condensed"/>
                  <a:ea typeface="Fira Sans Extra Condensed"/>
                  <a:cs typeface="Fira Sans Extra Condensed"/>
                  <a:sym typeface="Fira Sans Extra Condensed"/>
                </a:rPr>
                <a:t>u </a:t>
              </a:r>
              <a:r>
                <a:rPr lang="en" sz="1800" b="1">
                  <a:latin typeface="Fira Sans Extra Condensed"/>
                  <a:ea typeface="Fira Sans Extra Condensed"/>
                  <a:cs typeface="Fira Sans Extra Condensed"/>
                  <a:sym typeface="Fira Sans Extra Condensed"/>
                </a:rPr>
                <a:t>điểm</a:t>
              </a:r>
              <a:endParaRPr sz="1800" b="1">
                <a:solidFill>
                  <a:srgbClr val="000000"/>
                </a:solidFill>
                <a:latin typeface="Fira Sans Extra Condensed"/>
                <a:ea typeface="Fira Sans Extra Condensed"/>
                <a:cs typeface="Fira Sans Extra Condensed"/>
                <a:sym typeface="Fira Sans Extra Condensed"/>
              </a:endParaRPr>
            </a:p>
          </p:txBody>
        </p:sp>
        <p:sp>
          <p:nvSpPr>
            <p:cNvPr id="1282" name="Google Shape;1282;p30"/>
            <p:cNvSpPr txBox="1"/>
            <p:nvPr/>
          </p:nvSpPr>
          <p:spPr>
            <a:xfrm>
              <a:off x="8254503" y="2986010"/>
              <a:ext cx="432300" cy="3318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 sz="1800" b="1">
                  <a:solidFill>
                    <a:schemeClr val="accent6"/>
                  </a:solidFill>
                  <a:latin typeface="Fira Sans Extra Condensed"/>
                  <a:ea typeface="Fira Sans Extra Condensed"/>
                  <a:cs typeface="Fira Sans Extra Condensed"/>
                  <a:sym typeface="Fira Sans Extra Condensed"/>
                </a:rPr>
                <a:t>03</a:t>
              </a:r>
              <a:endParaRPr sz="1800" b="1">
                <a:solidFill>
                  <a:schemeClr val="accent6"/>
                </a:solidFill>
                <a:latin typeface="Fira Sans Extra Condensed"/>
                <a:ea typeface="Fira Sans Extra Condensed"/>
                <a:cs typeface="Fira Sans Extra Condensed"/>
                <a:sym typeface="Fira Sans Extra Condensed"/>
              </a:endParaRPr>
            </a:p>
          </p:txBody>
        </p:sp>
      </p:grpSp>
      <p:sp>
        <p:nvSpPr>
          <p:cNvPr id="1283" name="Google Shape;1283;p30"/>
          <p:cNvSpPr/>
          <p:nvPr/>
        </p:nvSpPr>
        <p:spPr>
          <a:xfrm>
            <a:off x="2324100" y="16097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30"/>
          <p:cNvSpPr/>
          <p:nvPr/>
        </p:nvSpPr>
        <p:spPr>
          <a:xfrm>
            <a:off x="2438400" y="30659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30"/>
          <p:cNvSpPr/>
          <p:nvPr/>
        </p:nvSpPr>
        <p:spPr>
          <a:xfrm>
            <a:off x="7153275" y="30659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30"/>
          <p:cNvSpPr/>
          <p:nvPr/>
        </p:nvSpPr>
        <p:spPr>
          <a:xfrm>
            <a:off x="6962700" y="16097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87" name="Google Shape;1287;p30"/>
          <p:cNvGrpSpPr/>
          <p:nvPr/>
        </p:nvGrpSpPr>
        <p:grpSpPr>
          <a:xfrm>
            <a:off x="3229376" y="1038225"/>
            <a:ext cx="2990047" cy="3762375"/>
            <a:chOff x="3229376" y="1038225"/>
            <a:chExt cx="2990047" cy="3762375"/>
          </a:xfrm>
        </p:grpSpPr>
        <p:grpSp>
          <p:nvGrpSpPr>
            <p:cNvPr id="1288" name="Google Shape;1288;p30"/>
            <p:cNvGrpSpPr/>
            <p:nvPr/>
          </p:nvGrpSpPr>
          <p:grpSpPr>
            <a:xfrm>
              <a:off x="3229376" y="1122657"/>
              <a:ext cx="2990047" cy="3677943"/>
              <a:chOff x="3076803" y="1122657"/>
              <a:chExt cx="2990047" cy="3677943"/>
            </a:xfrm>
          </p:grpSpPr>
          <p:sp>
            <p:nvSpPr>
              <p:cNvPr id="1289" name="Google Shape;1289;p30"/>
              <p:cNvSpPr/>
              <p:nvPr/>
            </p:nvSpPr>
            <p:spPr>
              <a:xfrm>
                <a:off x="5028550" y="4610100"/>
                <a:ext cx="1038300" cy="190500"/>
              </a:xfrm>
              <a:prstGeom prst="ellipse">
                <a:avLst/>
              </a:pr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90" name="Google Shape;1290;p30"/>
              <p:cNvGrpSpPr/>
              <p:nvPr/>
            </p:nvGrpSpPr>
            <p:grpSpPr>
              <a:xfrm>
                <a:off x="3076803" y="1122657"/>
                <a:ext cx="2846761" cy="3609149"/>
                <a:chOff x="5746228" y="1003890"/>
                <a:chExt cx="2940565" cy="3728074"/>
              </a:xfrm>
            </p:grpSpPr>
            <p:grpSp>
              <p:nvGrpSpPr>
                <p:cNvPr id="1291" name="Google Shape;1291;p30"/>
                <p:cNvGrpSpPr/>
                <p:nvPr/>
              </p:nvGrpSpPr>
              <p:grpSpPr>
                <a:xfrm>
                  <a:off x="5746228" y="1003890"/>
                  <a:ext cx="1610200" cy="3314901"/>
                  <a:chOff x="6434938" y="1003850"/>
                  <a:chExt cx="1165376" cy="2399147"/>
                </a:xfrm>
              </p:grpSpPr>
              <p:sp>
                <p:nvSpPr>
                  <p:cNvPr id="1292" name="Google Shape;1292;p30"/>
                  <p:cNvSpPr/>
                  <p:nvPr/>
                </p:nvSpPr>
                <p:spPr>
                  <a:xfrm>
                    <a:off x="6434938" y="1003850"/>
                    <a:ext cx="1165376" cy="2399147"/>
                  </a:xfrm>
                  <a:custGeom>
                    <a:avLst/>
                    <a:gdLst/>
                    <a:ahLst/>
                    <a:cxnLst/>
                    <a:rect l="l" t="t" r="r" b="b"/>
                    <a:pathLst>
                      <a:path w="38184" h="78609" extrusionOk="0">
                        <a:moveTo>
                          <a:pt x="1891" y="0"/>
                        </a:moveTo>
                        <a:lnTo>
                          <a:pt x="1687" y="14"/>
                        </a:lnTo>
                        <a:lnTo>
                          <a:pt x="1510" y="41"/>
                        </a:lnTo>
                        <a:lnTo>
                          <a:pt x="1320" y="82"/>
                        </a:lnTo>
                        <a:lnTo>
                          <a:pt x="1157" y="150"/>
                        </a:lnTo>
                        <a:lnTo>
                          <a:pt x="994" y="231"/>
                        </a:lnTo>
                        <a:lnTo>
                          <a:pt x="830" y="326"/>
                        </a:lnTo>
                        <a:lnTo>
                          <a:pt x="681" y="435"/>
                        </a:lnTo>
                        <a:lnTo>
                          <a:pt x="558" y="558"/>
                        </a:lnTo>
                        <a:lnTo>
                          <a:pt x="436" y="694"/>
                        </a:lnTo>
                        <a:lnTo>
                          <a:pt x="327" y="830"/>
                        </a:lnTo>
                        <a:lnTo>
                          <a:pt x="232" y="993"/>
                        </a:lnTo>
                        <a:lnTo>
                          <a:pt x="150" y="1156"/>
                        </a:lnTo>
                        <a:lnTo>
                          <a:pt x="82" y="1319"/>
                        </a:lnTo>
                        <a:lnTo>
                          <a:pt x="41" y="1510"/>
                        </a:lnTo>
                        <a:lnTo>
                          <a:pt x="14" y="1687"/>
                        </a:lnTo>
                        <a:lnTo>
                          <a:pt x="1" y="1891"/>
                        </a:lnTo>
                        <a:lnTo>
                          <a:pt x="1" y="76079"/>
                        </a:lnTo>
                        <a:lnTo>
                          <a:pt x="14" y="76337"/>
                        </a:lnTo>
                        <a:lnTo>
                          <a:pt x="55" y="76582"/>
                        </a:lnTo>
                        <a:lnTo>
                          <a:pt x="109" y="76827"/>
                        </a:lnTo>
                        <a:lnTo>
                          <a:pt x="205" y="77058"/>
                        </a:lnTo>
                        <a:lnTo>
                          <a:pt x="313" y="77276"/>
                        </a:lnTo>
                        <a:lnTo>
                          <a:pt x="436" y="77494"/>
                        </a:lnTo>
                        <a:lnTo>
                          <a:pt x="572" y="77684"/>
                        </a:lnTo>
                        <a:lnTo>
                          <a:pt x="735" y="77861"/>
                        </a:lnTo>
                        <a:lnTo>
                          <a:pt x="926" y="78024"/>
                        </a:lnTo>
                        <a:lnTo>
                          <a:pt x="1116" y="78174"/>
                        </a:lnTo>
                        <a:lnTo>
                          <a:pt x="1320" y="78296"/>
                        </a:lnTo>
                        <a:lnTo>
                          <a:pt x="1551" y="78405"/>
                        </a:lnTo>
                        <a:lnTo>
                          <a:pt x="1782" y="78487"/>
                        </a:lnTo>
                        <a:lnTo>
                          <a:pt x="2014" y="78555"/>
                        </a:lnTo>
                        <a:lnTo>
                          <a:pt x="2272" y="78595"/>
                        </a:lnTo>
                        <a:lnTo>
                          <a:pt x="2531" y="78609"/>
                        </a:lnTo>
                        <a:lnTo>
                          <a:pt x="35667" y="78609"/>
                        </a:lnTo>
                        <a:lnTo>
                          <a:pt x="35925" y="78595"/>
                        </a:lnTo>
                        <a:lnTo>
                          <a:pt x="36170" y="78555"/>
                        </a:lnTo>
                        <a:lnTo>
                          <a:pt x="36415" y="78487"/>
                        </a:lnTo>
                        <a:lnTo>
                          <a:pt x="36646" y="78405"/>
                        </a:lnTo>
                        <a:lnTo>
                          <a:pt x="36864" y="78296"/>
                        </a:lnTo>
                        <a:lnTo>
                          <a:pt x="37081" y="78174"/>
                        </a:lnTo>
                        <a:lnTo>
                          <a:pt x="37272" y="78024"/>
                        </a:lnTo>
                        <a:lnTo>
                          <a:pt x="37449" y="77861"/>
                        </a:lnTo>
                        <a:lnTo>
                          <a:pt x="37612" y="77684"/>
                        </a:lnTo>
                        <a:lnTo>
                          <a:pt x="37761" y="77494"/>
                        </a:lnTo>
                        <a:lnTo>
                          <a:pt x="37884" y="77276"/>
                        </a:lnTo>
                        <a:lnTo>
                          <a:pt x="37993" y="77058"/>
                        </a:lnTo>
                        <a:lnTo>
                          <a:pt x="38074" y="76827"/>
                        </a:lnTo>
                        <a:lnTo>
                          <a:pt x="38142" y="76582"/>
                        </a:lnTo>
                        <a:lnTo>
                          <a:pt x="38183" y="76337"/>
                        </a:lnTo>
                        <a:lnTo>
                          <a:pt x="38183" y="76079"/>
                        </a:lnTo>
                        <a:lnTo>
                          <a:pt x="38183" y="1891"/>
                        </a:lnTo>
                        <a:lnTo>
                          <a:pt x="38183" y="1687"/>
                        </a:lnTo>
                        <a:lnTo>
                          <a:pt x="38156" y="1510"/>
                        </a:lnTo>
                        <a:lnTo>
                          <a:pt x="38101" y="1319"/>
                        </a:lnTo>
                        <a:lnTo>
                          <a:pt x="38047" y="1156"/>
                        </a:lnTo>
                        <a:lnTo>
                          <a:pt x="37965" y="993"/>
                        </a:lnTo>
                        <a:lnTo>
                          <a:pt x="37870" y="830"/>
                        </a:lnTo>
                        <a:lnTo>
                          <a:pt x="37761" y="694"/>
                        </a:lnTo>
                        <a:lnTo>
                          <a:pt x="37639" y="558"/>
                        </a:lnTo>
                        <a:lnTo>
                          <a:pt x="37503" y="435"/>
                        </a:lnTo>
                        <a:lnTo>
                          <a:pt x="37353" y="326"/>
                        </a:lnTo>
                        <a:lnTo>
                          <a:pt x="37204" y="231"/>
                        </a:lnTo>
                        <a:lnTo>
                          <a:pt x="37040" y="150"/>
                        </a:lnTo>
                        <a:lnTo>
                          <a:pt x="36864" y="82"/>
                        </a:lnTo>
                        <a:lnTo>
                          <a:pt x="36687" y="41"/>
                        </a:lnTo>
                        <a:lnTo>
                          <a:pt x="36496" y="14"/>
                        </a:lnTo>
                        <a:lnTo>
                          <a:pt x="36306" y="0"/>
                        </a:lnTo>
                        <a:close/>
                      </a:path>
                    </a:pathLst>
                  </a:custGeom>
                  <a:solidFill>
                    <a:srgbClr val="EA4827">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30"/>
                  <p:cNvSpPr/>
                  <p:nvPr/>
                </p:nvSpPr>
                <p:spPr>
                  <a:xfrm>
                    <a:off x="6434938" y="1003850"/>
                    <a:ext cx="1165376" cy="2399147"/>
                  </a:xfrm>
                  <a:custGeom>
                    <a:avLst/>
                    <a:gdLst/>
                    <a:ahLst/>
                    <a:cxnLst/>
                    <a:rect l="l" t="t" r="r" b="b"/>
                    <a:pathLst>
                      <a:path w="38184" h="78609" fill="none" extrusionOk="0">
                        <a:moveTo>
                          <a:pt x="38183" y="1891"/>
                        </a:moveTo>
                        <a:lnTo>
                          <a:pt x="38183" y="76079"/>
                        </a:lnTo>
                        <a:lnTo>
                          <a:pt x="38183" y="76079"/>
                        </a:lnTo>
                        <a:lnTo>
                          <a:pt x="38183" y="76337"/>
                        </a:lnTo>
                        <a:lnTo>
                          <a:pt x="38142" y="76582"/>
                        </a:lnTo>
                        <a:lnTo>
                          <a:pt x="38074" y="76827"/>
                        </a:lnTo>
                        <a:lnTo>
                          <a:pt x="37993" y="77058"/>
                        </a:lnTo>
                        <a:lnTo>
                          <a:pt x="37884" y="77276"/>
                        </a:lnTo>
                        <a:lnTo>
                          <a:pt x="37761" y="77494"/>
                        </a:lnTo>
                        <a:lnTo>
                          <a:pt x="37612" y="77684"/>
                        </a:lnTo>
                        <a:lnTo>
                          <a:pt x="37449" y="77861"/>
                        </a:lnTo>
                        <a:lnTo>
                          <a:pt x="37272" y="78024"/>
                        </a:lnTo>
                        <a:lnTo>
                          <a:pt x="37081" y="78174"/>
                        </a:lnTo>
                        <a:lnTo>
                          <a:pt x="36864" y="78296"/>
                        </a:lnTo>
                        <a:lnTo>
                          <a:pt x="36646" y="78405"/>
                        </a:lnTo>
                        <a:lnTo>
                          <a:pt x="36415" y="78487"/>
                        </a:lnTo>
                        <a:lnTo>
                          <a:pt x="36170" y="78555"/>
                        </a:lnTo>
                        <a:lnTo>
                          <a:pt x="35925" y="78595"/>
                        </a:lnTo>
                        <a:lnTo>
                          <a:pt x="35667" y="78609"/>
                        </a:lnTo>
                        <a:lnTo>
                          <a:pt x="2531" y="78609"/>
                        </a:lnTo>
                        <a:lnTo>
                          <a:pt x="2531" y="78609"/>
                        </a:lnTo>
                        <a:lnTo>
                          <a:pt x="2272" y="78595"/>
                        </a:lnTo>
                        <a:lnTo>
                          <a:pt x="2014" y="78555"/>
                        </a:lnTo>
                        <a:lnTo>
                          <a:pt x="1782" y="78487"/>
                        </a:lnTo>
                        <a:lnTo>
                          <a:pt x="1551" y="78405"/>
                        </a:lnTo>
                        <a:lnTo>
                          <a:pt x="1320" y="78296"/>
                        </a:lnTo>
                        <a:lnTo>
                          <a:pt x="1116" y="78174"/>
                        </a:lnTo>
                        <a:lnTo>
                          <a:pt x="926" y="78024"/>
                        </a:lnTo>
                        <a:lnTo>
                          <a:pt x="735" y="77861"/>
                        </a:lnTo>
                        <a:lnTo>
                          <a:pt x="572" y="77684"/>
                        </a:lnTo>
                        <a:lnTo>
                          <a:pt x="436" y="77494"/>
                        </a:lnTo>
                        <a:lnTo>
                          <a:pt x="313" y="77276"/>
                        </a:lnTo>
                        <a:lnTo>
                          <a:pt x="205" y="77058"/>
                        </a:lnTo>
                        <a:lnTo>
                          <a:pt x="109" y="76827"/>
                        </a:lnTo>
                        <a:lnTo>
                          <a:pt x="55" y="76582"/>
                        </a:lnTo>
                        <a:lnTo>
                          <a:pt x="14" y="76337"/>
                        </a:lnTo>
                        <a:lnTo>
                          <a:pt x="1" y="76079"/>
                        </a:lnTo>
                        <a:lnTo>
                          <a:pt x="1" y="1891"/>
                        </a:lnTo>
                        <a:lnTo>
                          <a:pt x="1" y="1891"/>
                        </a:lnTo>
                        <a:lnTo>
                          <a:pt x="14" y="1687"/>
                        </a:lnTo>
                        <a:lnTo>
                          <a:pt x="41" y="1510"/>
                        </a:lnTo>
                        <a:lnTo>
                          <a:pt x="82" y="1319"/>
                        </a:lnTo>
                        <a:lnTo>
                          <a:pt x="150" y="1156"/>
                        </a:lnTo>
                        <a:lnTo>
                          <a:pt x="232" y="993"/>
                        </a:lnTo>
                        <a:lnTo>
                          <a:pt x="327" y="830"/>
                        </a:lnTo>
                        <a:lnTo>
                          <a:pt x="436" y="694"/>
                        </a:lnTo>
                        <a:lnTo>
                          <a:pt x="558" y="558"/>
                        </a:lnTo>
                        <a:lnTo>
                          <a:pt x="681" y="435"/>
                        </a:lnTo>
                        <a:lnTo>
                          <a:pt x="830" y="326"/>
                        </a:lnTo>
                        <a:lnTo>
                          <a:pt x="994" y="231"/>
                        </a:lnTo>
                        <a:lnTo>
                          <a:pt x="1157" y="150"/>
                        </a:lnTo>
                        <a:lnTo>
                          <a:pt x="1320" y="82"/>
                        </a:lnTo>
                        <a:lnTo>
                          <a:pt x="1510" y="41"/>
                        </a:lnTo>
                        <a:lnTo>
                          <a:pt x="1687" y="14"/>
                        </a:lnTo>
                        <a:lnTo>
                          <a:pt x="1891" y="0"/>
                        </a:lnTo>
                        <a:lnTo>
                          <a:pt x="36306" y="0"/>
                        </a:lnTo>
                        <a:lnTo>
                          <a:pt x="36306" y="0"/>
                        </a:lnTo>
                        <a:lnTo>
                          <a:pt x="36496" y="14"/>
                        </a:lnTo>
                        <a:lnTo>
                          <a:pt x="36687" y="41"/>
                        </a:lnTo>
                        <a:lnTo>
                          <a:pt x="36864" y="82"/>
                        </a:lnTo>
                        <a:lnTo>
                          <a:pt x="37040" y="150"/>
                        </a:lnTo>
                        <a:lnTo>
                          <a:pt x="37204" y="231"/>
                        </a:lnTo>
                        <a:lnTo>
                          <a:pt x="37353" y="326"/>
                        </a:lnTo>
                        <a:lnTo>
                          <a:pt x="37503" y="435"/>
                        </a:lnTo>
                        <a:lnTo>
                          <a:pt x="37639" y="558"/>
                        </a:lnTo>
                        <a:lnTo>
                          <a:pt x="37761" y="694"/>
                        </a:lnTo>
                        <a:lnTo>
                          <a:pt x="37870" y="830"/>
                        </a:lnTo>
                        <a:lnTo>
                          <a:pt x="37965" y="993"/>
                        </a:lnTo>
                        <a:lnTo>
                          <a:pt x="38047" y="1156"/>
                        </a:lnTo>
                        <a:lnTo>
                          <a:pt x="38101" y="1319"/>
                        </a:lnTo>
                        <a:lnTo>
                          <a:pt x="38156" y="1510"/>
                        </a:lnTo>
                        <a:lnTo>
                          <a:pt x="38183" y="1687"/>
                        </a:lnTo>
                        <a:lnTo>
                          <a:pt x="38183" y="189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30"/>
                  <p:cNvSpPr/>
                  <p:nvPr/>
                </p:nvSpPr>
                <p:spPr>
                  <a:xfrm>
                    <a:off x="6603899" y="2229800"/>
                    <a:ext cx="827855" cy="51487"/>
                  </a:xfrm>
                  <a:custGeom>
                    <a:avLst/>
                    <a:gdLst/>
                    <a:ahLst/>
                    <a:cxnLst/>
                    <a:rect l="l" t="t" r="r" b="b"/>
                    <a:pathLst>
                      <a:path w="27125" h="1687" extrusionOk="0">
                        <a:moveTo>
                          <a:pt x="844" y="0"/>
                        </a:moveTo>
                        <a:lnTo>
                          <a:pt x="749" y="14"/>
                        </a:lnTo>
                        <a:lnTo>
                          <a:pt x="667" y="27"/>
                        </a:lnTo>
                        <a:lnTo>
                          <a:pt x="586" y="41"/>
                        </a:lnTo>
                        <a:lnTo>
                          <a:pt x="518" y="68"/>
                        </a:lnTo>
                        <a:lnTo>
                          <a:pt x="368" y="150"/>
                        </a:lnTo>
                        <a:lnTo>
                          <a:pt x="246" y="259"/>
                        </a:lnTo>
                        <a:lnTo>
                          <a:pt x="150" y="381"/>
                        </a:lnTo>
                        <a:lnTo>
                          <a:pt x="69" y="517"/>
                        </a:lnTo>
                        <a:lnTo>
                          <a:pt x="42" y="599"/>
                        </a:lnTo>
                        <a:lnTo>
                          <a:pt x="14" y="680"/>
                        </a:lnTo>
                        <a:lnTo>
                          <a:pt x="1" y="762"/>
                        </a:lnTo>
                        <a:lnTo>
                          <a:pt x="1" y="844"/>
                        </a:lnTo>
                        <a:lnTo>
                          <a:pt x="1" y="925"/>
                        </a:lnTo>
                        <a:lnTo>
                          <a:pt x="14" y="1020"/>
                        </a:lnTo>
                        <a:lnTo>
                          <a:pt x="42" y="1088"/>
                        </a:lnTo>
                        <a:lnTo>
                          <a:pt x="69" y="1170"/>
                        </a:lnTo>
                        <a:lnTo>
                          <a:pt x="150" y="1320"/>
                        </a:lnTo>
                        <a:lnTo>
                          <a:pt x="246" y="1442"/>
                        </a:lnTo>
                        <a:lnTo>
                          <a:pt x="368" y="1537"/>
                        </a:lnTo>
                        <a:lnTo>
                          <a:pt x="518" y="1619"/>
                        </a:lnTo>
                        <a:lnTo>
                          <a:pt x="586" y="1646"/>
                        </a:lnTo>
                        <a:lnTo>
                          <a:pt x="667" y="1673"/>
                        </a:lnTo>
                        <a:lnTo>
                          <a:pt x="749" y="1673"/>
                        </a:lnTo>
                        <a:lnTo>
                          <a:pt x="844" y="1687"/>
                        </a:lnTo>
                        <a:lnTo>
                          <a:pt x="26281" y="1687"/>
                        </a:lnTo>
                        <a:lnTo>
                          <a:pt x="26363" y="1673"/>
                        </a:lnTo>
                        <a:lnTo>
                          <a:pt x="26444" y="1673"/>
                        </a:lnTo>
                        <a:lnTo>
                          <a:pt x="26526" y="1646"/>
                        </a:lnTo>
                        <a:lnTo>
                          <a:pt x="26608" y="1619"/>
                        </a:lnTo>
                        <a:lnTo>
                          <a:pt x="26744" y="1537"/>
                        </a:lnTo>
                        <a:lnTo>
                          <a:pt x="26866" y="1442"/>
                        </a:lnTo>
                        <a:lnTo>
                          <a:pt x="26975" y="1320"/>
                        </a:lnTo>
                        <a:lnTo>
                          <a:pt x="27056" y="1170"/>
                        </a:lnTo>
                        <a:lnTo>
                          <a:pt x="27084" y="1088"/>
                        </a:lnTo>
                        <a:lnTo>
                          <a:pt x="27097" y="1020"/>
                        </a:lnTo>
                        <a:lnTo>
                          <a:pt x="27111" y="925"/>
                        </a:lnTo>
                        <a:lnTo>
                          <a:pt x="27124" y="844"/>
                        </a:lnTo>
                        <a:lnTo>
                          <a:pt x="27111" y="762"/>
                        </a:lnTo>
                        <a:lnTo>
                          <a:pt x="27097" y="680"/>
                        </a:lnTo>
                        <a:lnTo>
                          <a:pt x="27084" y="599"/>
                        </a:lnTo>
                        <a:lnTo>
                          <a:pt x="27056" y="517"/>
                        </a:lnTo>
                        <a:lnTo>
                          <a:pt x="26975" y="381"/>
                        </a:lnTo>
                        <a:lnTo>
                          <a:pt x="26866" y="259"/>
                        </a:lnTo>
                        <a:lnTo>
                          <a:pt x="26744" y="150"/>
                        </a:lnTo>
                        <a:lnTo>
                          <a:pt x="26608" y="68"/>
                        </a:lnTo>
                        <a:lnTo>
                          <a:pt x="26526" y="41"/>
                        </a:lnTo>
                        <a:lnTo>
                          <a:pt x="26444" y="27"/>
                        </a:lnTo>
                        <a:lnTo>
                          <a:pt x="26363" y="14"/>
                        </a:lnTo>
                        <a:lnTo>
                          <a:pt x="26281"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30"/>
                  <p:cNvSpPr/>
                  <p:nvPr/>
                </p:nvSpPr>
                <p:spPr>
                  <a:xfrm>
                    <a:off x="6603899" y="2392536"/>
                    <a:ext cx="827855" cy="51090"/>
                  </a:xfrm>
                  <a:custGeom>
                    <a:avLst/>
                    <a:gdLst/>
                    <a:ahLst/>
                    <a:cxnLst/>
                    <a:rect l="l" t="t" r="r" b="b"/>
                    <a:pathLst>
                      <a:path w="27125" h="1674" extrusionOk="0">
                        <a:moveTo>
                          <a:pt x="749" y="0"/>
                        </a:moveTo>
                        <a:lnTo>
                          <a:pt x="667" y="14"/>
                        </a:lnTo>
                        <a:lnTo>
                          <a:pt x="586" y="28"/>
                        </a:lnTo>
                        <a:lnTo>
                          <a:pt x="518" y="55"/>
                        </a:lnTo>
                        <a:lnTo>
                          <a:pt x="368" y="136"/>
                        </a:lnTo>
                        <a:lnTo>
                          <a:pt x="246" y="245"/>
                        </a:lnTo>
                        <a:lnTo>
                          <a:pt x="150" y="368"/>
                        </a:lnTo>
                        <a:lnTo>
                          <a:pt x="69" y="504"/>
                        </a:lnTo>
                        <a:lnTo>
                          <a:pt x="42" y="585"/>
                        </a:lnTo>
                        <a:lnTo>
                          <a:pt x="14" y="667"/>
                        </a:lnTo>
                        <a:lnTo>
                          <a:pt x="1" y="749"/>
                        </a:lnTo>
                        <a:lnTo>
                          <a:pt x="1" y="830"/>
                        </a:lnTo>
                        <a:lnTo>
                          <a:pt x="1" y="925"/>
                        </a:lnTo>
                        <a:lnTo>
                          <a:pt x="14" y="1007"/>
                        </a:lnTo>
                        <a:lnTo>
                          <a:pt x="42" y="1089"/>
                        </a:lnTo>
                        <a:lnTo>
                          <a:pt x="69" y="1157"/>
                        </a:lnTo>
                        <a:lnTo>
                          <a:pt x="150" y="1306"/>
                        </a:lnTo>
                        <a:lnTo>
                          <a:pt x="246" y="1429"/>
                        </a:lnTo>
                        <a:lnTo>
                          <a:pt x="368" y="1524"/>
                        </a:lnTo>
                        <a:lnTo>
                          <a:pt x="518" y="1606"/>
                        </a:lnTo>
                        <a:lnTo>
                          <a:pt x="586" y="1633"/>
                        </a:lnTo>
                        <a:lnTo>
                          <a:pt x="667" y="1660"/>
                        </a:lnTo>
                        <a:lnTo>
                          <a:pt x="749" y="1674"/>
                        </a:lnTo>
                        <a:lnTo>
                          <a:pt x="26363" y="1674"/>
                        </a:lnTo>
                        <a:lnTo>
                          <a:pt x="26444" y="1660"/>
                        </a:lnTo>
                        <a:lnTo>
                          <a:pt x="26526" y="1633"/>
                        </a:lnTo>
                        <a:lnTo>
                          <a:pt x="26608" y="1606"/>
                        </a:lnTo>
                        <a:lnTo>
                          <a:pt x="26744" y="1524"/>
                        </a:lnTo>
                        <a:lnTo>
                          <a:pt x="26866" y="1429"/>
                        </a:lnTo>
                        <a:lnTo>
                          <a:pt x="26975" y="1306"/>
                        </a:lnTo>
                        <a:lnTo>
                          <a:pt x="27056" y="1157"/>
                        </a:lnTo>
                        <a:lnTo>
                          <a:pt x="27084" y="1089"/>
                        </a:lnTo>
                        <a:lnTo>
                          <a:pt x="27097" y="1007"/>
                        </a:lnTo>
                        <a:lnTo>
                          <a:pt x="27111" y="925"/>
                        </a:lnTo>
                        <a:lnTo>
                          <a:pt x="27124" y="830"/>
                        </a:lnTo>
                        <a:lnTo>
                          <a:pt x="27111" y="749"/>
                        </a:lnTo>
                        <a:lnTo>
                          <a:pt x="27097" y="667"/>
                        </a:lnTo>
                        <a:lnTo>
                          <a:pt x="27084" y="585"/>
                        </a:lnTo>
                        <a:lnTo>
                          <a:pt x="27056" y="504"/>
                        </a:lnTo>
                        <a:lnTo>
                          <a:pt x="26975" y="368"/>
                        </a:lnTo>
                        <a:lnTo>
                          <a:pt x="26866" y="245"/>
                        </a:lnTo>
                        <a:lnTo>
                          <a:pt x="26744" y="136"/>
                        </a:lnTo>
                        <a:lnTo>
                          <a:pt x="26608" y="55"/>
                        </a:lnTo>
                        <a:lnTo>
                          <a:pt x="26526" y="28"/>
                        </a:lnTo>
                        <a:lnTo>
                          <a:pt x="26444" y="14"/>
                        </a:lnTo>
                        <a:lnTo>
                          <a:pt x="2636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30"/>
                  <p:cNvSpPr/>
                  <p:nvPr/>
                </p:nvSpPr>
                <p:spPr>
                  <a:xfrm>
                    <a:off x="6603899" y="2554875"/>
                    <a:ext cx="827855" cy="51090"/>
                  </a:xfrm>
                  <a:custGeom>
                    <a:avLst/>
                    <a:gdLst/>
                    <a:ahLst/>
                    <a:cxnLst/>
                    <a:rect l="l" t="t" r="r" b="b"/>
                    <a:pathLst>
                      <a:path w="27125" h="1674" extrusionOk="0">
                        <a:moveTo>
                          <a:pt x="749" y="0"/>
                        </a:moveTo>
                        <a:lnTo>
                          <a:pt x="667" y="14"/>
                        </a:lnTo>
                        <a:lnTo>
                          <a:pt x="586" y="41"/>
                        </a:lnTo>
                        <a:lnTo>
                          <a:pt x="518" y="68"/>
                        </a:lnTo>
                        <a:lnTo>
                          <a:pt x="368" y="136"/>
                        </a:lnTo>
                        <a:lnTo>
                          <a:pt x="246" y="245"/>
                        </a:lnTo>
                        <a:lnTo>
                          <a:pt x="150" y="367"/>
                        </a:lnTo>
                        <a:lnTo>
                          <a:pt x="69" y="503"/>
                        </a:lnTo>
                        <a:lnTo>
                          <a:pt x="42" y="585"/>
                        </a:lnTo>
                        <a:lnTo>
                          <a:pt x="14" y="667"/>
                        </a:lnTo>
                        <a:lnTo>
                          <a:pt x="1" y="748"/>
                        </a:lnTo>
                        <a:lnTo>
                          <a:pt x="1" y="830"/>
                        </a:lnTo>
                        <a:lnTo>
                          <a:pt x="1" y="925"/>
                        </a:lnTo>
                        <a:lnTo>
                          <a:pt x="14" y="1007"/>
                        </a:lnTo>
                        <a:lnTo>
                          <a:pt x="42" y="1088"/>
                        </a:lnTo>
                        <a:lnTo>
                          <a:pt x="69" y="1156"/>
                        </a:lnTo>
                        <a:lnTo>
                          <a:pt x="150" y="1306"/>
                        </a:lnTo>
                        <a:lnTo>
                          <a:pt x="246" y="1428"/>
                        </a:lnTo>
                        <a:lnTo>
                          <a:pt x="368" y="1537"/>
                        </a:lnTo>
                        <a:lnTo>
                          <a:pt x="518" y="1605"/>
                        </a:lnTo>
                        <a:lnTo>
                          <a:pt x="586" y="1632"/>
                        </a:lnTo>
                        <a:lnTo>
                          <a:pt x="667" y="1660"/>
                        </a:lnTo>
                        <a:lnTo>
                          <a:pt x="749" y="1673"/>
                        </a:lnTo>
                        <a:lnTo>
                          <a:pt x="26363" y="1673"/>
                        </a:lnTo>
                        <a:lnTo>
                          <a:pt x="26444" y="1660"/>
                        </a:lnTo>
                        <a:lnTo>
                          <a:pt x="26526" y="1632"/>
                        </a:lnTo>
                        <a:lnTo>
                          <a:pt x="26608" y="1605"/>
                        </a:lnTo>
                        <a:lnTo>
                          <a:pt x="26744" y="1537"/>
                        </a:lnTo>
                        <a:lnTo>
                          <a:pt x="26866" y="1428"/>
                        </a:lnTo>
                        <a:lnTo>
                          <a:pt x="26975" y="1306"/>
                        </a:lnTo>
                        <a:lnTo>
                          <a:pt x="27056" y="1156"/>
                        </a:lnTo>
                        <a:lnTo>
                          <a:pt x="27084" y="1088"/>
                        </a:lnTo>
                        <a:lnTo>
                          <a:pt x="27097" y="1007"/>
                        </a:lnTo>
                        <a:lnTo>
                          <a:pt x="27111" y="925"/>
                        </a:lnTo>
                        <a:lnTo>
                          <a:pt x="27124" y="830"/>
                        </a:lnTo>
                        <a:lnTo>
                          <a:pt x="27111" y="748"/>
                        </a:lnTo>
                        <a:lnTo>
                          <a:pt x="27097" y="667"/>
                        </a:lnTo>
                        <a:lnTo>
                          <a:pt x="27084" y="585"/>
                        </a:lnTo>
                        <a:lnTo>
                          <a:pt x="27056" y="503"/>
                        </a:lnTo>
                        <a:lnTo>
                          <a:pt x="26975" y="367"/>
                        </a:lnTo>
                        <a:lnTo>
                          <a:pt x="26866" y="245"/>
                        </a:lnTo>
                        <a:lnTo>
                          <a:pt x="26744" y="136"/>
                        </a:lnTo>
                        <a:lnTo>
                          <a:pt x="26608" y="68"/>
                        </a:lnTo>
                        <a:lnTo>
                          <a:pt x="26526" y="41"/>
                        </a:lnTo>
                        <a:lnTo>
                          <a:pt x="26444" y="14"/>
                        </a:lnTo>
                        <a:lnTo>
                          <a:pt x="2636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30"/>
                  <p:cNvSpPr/>
                  <p:nvPr/>
                </p:nvSpPr>
                <p:spPr>
                  <a:xfrm>
                    <a:off x="6603899" y="2717183"/>
                    <a:ext cx="827855" cy="51090"/>
                  </a:xfrm>
                  <a:custGeom>
                    <a:avLst/>
                    <a:gdLst/>
                    <a:ahLst/>
                    <a:cxnLst/>
                    <a:rect l="l" t="t" r="r" b="b"/>
                    <a:pathLst>
                      <a:path w="27125" h="1674" extrusionOk="0">
                        <a:moveTo>
                          <a:pt x="749" y="1"/>
                        </a:moveTo>
                        <a:lnTo>
                          <a:pt x="667" y="14"/>
                        </a:lnTo>
                        <a:lnTo>
                          <a:pt x="586" y="41"/>
                        </a:lnTo>
                        <a:lnTo>
                          <a:pt x="518" y="69"/>
                        </a:lnTo>
                        <a:lnTo>
                          <a:pt x="368" y="137"/>
                        </a:lnTo>
                        <a:lnTo>
                          <a:pt x="246" y="245"/>
                        </a:lnTo>
                        <a:lnTo>
                          <a:pt x="150" y="368"/>
                        </a:lnTo>
                        <a:lnTo>
                          <a:pt x="69" y="518"/>
                        </a:lnTo>
                        <a:lnTo>
                          <a:pt x="42" y="586"/>
                        </a:lnTo>
                        <a:lnTo>
                          <a:pt x="14" y="667"/>
                        </a:lnTo>
                        <a:lnTo>
                          <a:pt x="1" y="749"/>
                        </a:lnTo>
                        <a:lnTo>
                          <a:pt x="1" y="844"/>
                        </a:lnTo>
                        <a:lnTo>
                          <a:pt x="1" y="926"/>
                        </a:lnTo>
                        <a:lnTo>
                          <a:pt x="14" y="1007"/>
                        </a:lnTo>
                        <a:lnTo>
                          <a:pt x="42" y="1089"/>
                        </a:lnTo>
                        <a:lnTo>
                          <a:pt x="69" y="1170"/>
                        </a:lnTo>
                        <a:lnTo>
                          <a:pt x="150" y="1306"/>
                        </a:lnTo>
                        <a:lnTo>
                          <a:pt x="246" y="1429"/>
                        </a:lnTo>
                        <a:lnTo>
                          <a:pt x="368" y="1538"/>
                        </a:lnTo>
                        <a:lnTo>
                          <a:pt x="518" y="1606"/>
                        </a:lnTo>
                        <a:lnTo>
                          <a:pt x="586" y="1647"/>
                        </a:lnTo>
                        <a:lnTo>
                          <a:pt x="667" y="1660"/>
                        </a:lnTo>
                        <a:lnTo>
                          <a:pt x="749" y="1674"/>
                        </a:lnTo>
                        <a:lnTo>
                          <a:pt x="26363" y="1674"/>
                        </a:lnTo>
                        <a:lnTo>
                          <a:pt x="26444" y="1660"/>
                        </a:lnTo>
                        <a:lnTo>
                          <a:pt x="26526" y="1647"/>
                        </a:lnTo>
                        <a:lnTo>
                          <a:pt x="26608" y="1606"/>
                        </a:lnTo>
                        <a:lnTo>
                          <a:pt x="26744" y="1538"/>
                        </a:lnTo>
                        <a:lnTo>
                          <a:pt x="26866" y="1429"/>
                        </a:lnTo>
                        <a:lnTo>
                          <a:pt x="26975" y="1306"/>
                        </a:lnTo>
                        <a:lnTo>
                          <a:pt x="27056" y="1170"/>
                        </a:lnTo>
                        <a:lnTo>
                          <a:pt x="27084" y="1089"/>
                        </a:lnTo>
                        <a:lnTo>
                          <a:pt x="27097" y="1007"/>
                        </a:lnTo>
                        <a:lnTo>
                          <a:pt x="27111" y="926"/>
                        </a:lnTo>
                        <a:lnTo>
                          <a:pt x="27124" y="844"/>
                        </a:lnTo>
                        <a:lnTo>
                          <a:pt x="27111" y="749"/>
                        </a:lnTo>
                        <a:lnTo>
                          <a:pt x="27097" y="667"/>
                        </a:lnTo>
                        <a:lnTo>
                          <a:pt x="27084" y="586"/>
                        </a:lnTo>
                        <a:lnTo>
                          <a:pt x="27056" y="518"/>
                        </a:lnTo>
                        <a:lnTo>
                          <a:pt x="26975" y="368"/>
                        </a:lnTo>
                        <a:lnTo>
                          <a:pt x="26866" y="245"/>
                        </a:lnTo>
                        <a:lnTo>
                          <a:pt x="26744" y="137"/>
                        </a:lnTo>
                        <a:lnTo>
                          <a:pt x="26608" y="69"/>
                        </a:lnTo>
                        <a:lnTo>
                          <a:pt x="26526" y="41"/>
                        </a:lnTo>
                        <a:lnTo>
                          <a:pt x="26444" y="14"/>
                        </a:lnTo>
                        <a:lnTo>
                          <a:pt x="2636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30"/>
                  <p:cNvSpPr/>
                  <p:nvPr/>
                </p:nvSpPr>
                <p:spPr>
                  <a:xfrm>
                    <a:off x="6603899" y="2879522"/>
                    <a:ext cx="827855" cy="51090"/>
                  </a:xfrm>
                  <a:custGeom>
                    <a:avLst/>
                    <a:gdLst/>
                    <a:ahLst/>
                    <a:cxnLst/>
                    <a:rect l="l" t="t" r="r" b="b"/>
                    <a:pathLst>
                      <a:path w="27125" h="1674" extrusionOk="0">
                        <a:moveTo>
                          <a:pt x="749" y="0"/>
                        </a:moveTo>
                        <a:lnTo>
                          <a:pt x="667" y="14"/>
                        </a:lnTo>
                        <a:lnTo>
                          <a:pt x="586" y="41"/>
                        </a:lnTo>
                        <a:lnTo>
                          <a:pt x="518" y="68"/>
                        </a:lnTo>
                        <a:lnTo>
                          <a:pt x="368" y="150"/>
                        </a:lnTo>
                        <a:lnTo>
                          <a:pt x="246" y="245"/>
                        </a:lnTo>
                        <a:lnTo>
                          <a:pt x="150" y="367"/>
                        </a:lnTo>
                        <a:lnTo>
                          <a:pt x="69" y="517"/>
                        </a:lnTo>
                        <a:lnTo>
                          <a:pt x="42" y="585"/>
                        </a:lnTo>
                        <a:lnTo>
                          <a:pt x="14" y="667"/>
                        </a:lnTo>
                        <a:lnTo>
                          <a:pt x="1" y="748"/>
                        </a:lnTo>
                        <a:lnTo>
                          <a:pt x="1" y="844"/>
                        </a:lnTo>
                        <a:lnTo>
                          <a:pt x="1" y="925"/>
                        </a:lnTo>
                        <a:lnTo>
                          <a:pt x="14" y="1007"/>
                        </a:lnTo>
                        <a:lnTo>
                          <a:pt x="42" y="1088"/>
                        </a:lnTo>
                        <a:lnTo>
                          <a:pt x="69" y="1170"/>
                        </a:lnTo>
                        <a:lnTo>
                          <a:pt x="150" y="1306"/>
                        </a:lnTo>
                        <a:lnTo>
                          <a:pt x="246" y="1428"/>
                        </a:lnTo>
                        <a:lnTo>
                          <a:pt x="368" y="1537"/>
                        </a:lnTo>
                        <a:lnTo>
                          <a:pt x="518" y="1619"/>
                        </a:lnTo>
                        <a:lnTo>
                          <a:pt x="586" y="1646"/>
                        </a:lnTo>
                        <a:lnTo>
                          <a:pt x="667" y="1660"/>
                        </a:lnTo>
                        <a:lnTo>
                          <a:pt x="749" y="1673"/>
                        </a:lnTo>
                        <a:lnTo>
                          <a:pt x="26363" y="1673"/>
                        </a:lnTo>
                        <a:lnTo>
                          <a:pt x="26444" y="1660"/>
                        </a:lnTo>
                        <a:lnTo>
                          <a:pt x="26526" y="1646"/>
                        </a:lnTo>
                        <a:lnTo>
                          <a:pt x="26608" y="1619"/>
                        </a:lnTo>
                        <a:lnTo>
                          <a:pt x="26744" y="1537"/>
                        </a:lnTo>
                        <a:lnTo>
                          <a:pt x="26866" y="1428"/>
                        </a:lnTo>
                        <a:lnTo>
                          <a:pt x="26975" y="1306"/>
                        </a:lnTo>
                        <a:lnTo>
                          <a:pt x="27056" y="1170"/>
                        </a:lnTo>
                        <a:lnTo>
                          <a:pt x="27084" y="1088"/>
                        </a:lnTo>
                        <a:lnTo>
                          <a:pt x="27097" y="1007"/>
                        </a:lnTo>
                        <a:lnTo>
                          <a:pt x="27111" y="925"/>
                        </a:lnTo>
                        <a:lnTo>
                          <a:pt x="27124" y="844"/>
                        </a:lnTo>
                        <a:lnTo>
                          <a:pt x="27111" y="748"/>
                        </a:lnTo>
                        <a:lnTo>
                          <a:pt x="27097" y="667"/>
                        </a:lnTo>
                        <a:lnTo>
                          <a:pt x="27084" y="585"/>
                        </a:lnTo>
                        <a:lnTo>
                          <a:pt x="27056" y="517"/>
                        </a:lnTo>
                        <a:lnTo>
                          <a:pt x="26975" y="367"/>
                        </a:lnTo>
                        <a:lnTo>
                          <a:pt x="26866" y="245"/>
                        </a:lnTo>
                        <a:lnTo>
                          <a:pt x="26744" y="150"/>
                        </a:lnTo>
                        <a:lnTo>
                          <a:pt x="26608" y="68"/>
                        </a:lnTo>
                        <a:lnTo>
                          <a:pt x="26526" y="41"/>
                        </a:lnTo>
                        <a:lnTo>
                          <a:pt x="26444" y="14"/>
                        </a:lnTo>
                        <a:lnTo>
                          <a:pt x="2636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30"/>
                  <p:cNvSpPr/>
                  <p:nvPr/>
                </p:nvSpPr>
                <p:spPr>
                  <a:xfrm>
                    <a:off x="6603899" y="3041830"/>
                    <a:ext cx="827855" cy="51518"/>
                  </a:xfrm>
                  <a:custGeom>
                    <a:avLst/>
                    <a:gdLst/>
                    <a:ahLst/>
                    <a:cxnLst/>
                    <a:rect l="l" t="t" r="r" b="b"/>
                    <a:pathLst>
                      <a:path w="27125" h="1688" extrusionOk="0">
                        <a:moveTo>
                          <a:pt x="844" y="1"/>
                        </a:moveTo>
                        <a:lnTo>
                          <a:pt x="749" y="14"/>
                        </a:lnTo>
                        <a:lnTo>
                          <a:pt x="667" y="28"/>
                        </a:lnTo>
                        <a:lnTo>
                          <a:pt x="586" y="42"/>
                        </a:lnTo>
                        <a:lnTo>
                          <a:pt x="518" y="69"/>
                        </a:lnTo>
                        <a:lnTo>
                          <a:pt x="368" y="150"/>
                        </a:lnTo>
                        <a:lnTo>
                          <a:pt x="246" y="246"/>
                        </a:lnTo>
                        <a:lnTo>
                          <a:pt x="150" y="368"/>
                        </a:lnTo>
                        <a:lnTo>
                          <a:pt x="69" y="518"/>
                        </a:lnTo>
                        <a:lnTo>
                          <a:pt x="42" y="599"/>
                        </a:lnTo>
                        <a:lnTo>
                          <a:pt x="14" y="681"/>
                        </a:lnTo>
                        <a:lnTo>
                          <a:pt x="1" y="763"/>
                        </a:lnTo>
                        <a:lnTo>
                          <a:pt x="1" y="844"/>
                        </a:lnTo>
                        <a:lnTo>
                          <a:pt x="1" y="926"/>
                        </a:lnTo>
                        <a:lnTo>
                          <a:pt x="14" y="1007"/>
                        </a:lnTo>
                        <a:lnTo>
                          <a:pt x="42" y="1089"/>
                        </a:lnTo>
                        <a:lnTo>
                          <a:pt x="69" y="1171"/>
                        </a:lnTo>
                        <a:lnTo>
                          <a:pt x="150" y="1307"/>
                        </a:lnTo>
                        <a:lnTo>
                          <a:pt x="246" y="1443"/>
                        </a:lnTo>
                        <a:lnTo>
                          <a:pt x="368" y="1538"/>
                        </a:lnTo>
                        <a:lnTo>
                          <a:pt x="518" y="1619"/>
                        </a:lnTo>
                        <a:lnTo>
                          <a:pt x="586" y="1647"/>
                        </a:lnTo>
                        <a:lnTo>
                          <a:pt x="667" y="1660"/>
                        </a:lnTo>
                        <a:lnTo>
                          <a:pt x="749" y="1674"/>
                        </a:lnTo>
                        <a:lnTo>
                          <a:pt x="844" y="1688"/>
                        </a:lnTo>
                        <a:lnTo>
                          <a:pt x="26281" y="1688"/>
                        </a:lnTo>
                        <a:lnTo>
                          <a:pt x="26363" y="1674"/>
                        </a:lnTo>
                        <a:lnTo>
                          <a:pt x="26444" y="1660"/>
                        </a:lnTo>
                        <a:lnTo>
                          <a:pt x="26526" y="1647"/>
                        </a:lnTo>
                        <a:lnTo>
                          <a:pt x="26608" y="1619"/>
                        </a:lnTo>
                        <a:lnTo>
                          <a:pt x="26744" y="1538"/>
                        </a:lnTo>
                        <a:lnTo>
                          <a:pt x="26866" y="1443"/>
                        </a:lnTo>
                        <a:lnTo>
                          <a:pt x="26975" y="1307"/>
                        </a:lnTo>
                        <a:lnTo>
                          <a:pt x="27056" y="1171"/>
                        </a:lnTo>
                        <a:lnTo>
                          <a:pt x="27084" y="1089"/>
                        </a:lnTo>
                        <a:lnTo>
                          <a:pt x="27097" y="1007"/>
                        </a:lnTo>
                        <a:lnTo>
                          <a:pt x="27111" y="926"/>
                        </a:lnTo>
                        <a:lnTo>
                          <a:pt x="27124" y="844"/>
                        </a:lnTo>
                        <a:lnTo>
                          <a:pt x="27111" y="763"/>
                        </a:lnTo>
                        <a:lnTo>
                          <a:pt x="27097" y="681"/>
                        </a:lnTo>
                        <a:lnTo>
                          <a:pt x="27084" y="599"/>
                        </a:lnTo>
                        <a:lnTo>
                          <a:pt x="27056" y="518"/>
                        </a:lnTo>
                        <a:lnTo>
                          <a:pt x="26975" y="368"/>
                        </a:lnTo>
                        <a:lnTo>
                          <a:pt x="26866" y="246"/>
                        </a:lnTo>
                        <a:lnTo>
                          <a:pt x="26744" y="150"/>
                        </a:lnTo>
                        <a:lnTo>
                          <a:pt x="26608" y="69"/>
                        </a:lnTo>
                        <a:lnTo>
                          <a:pt x="26526" y="42"/>
                        </a:lnTo>
                        <a:lnTo>
                          <a:pt x="26444" y="28"/>
                        </a:lnTo>
                        <a:lnTo>
                          <a:pt x="26363" y="14"/>
                        </a:lnTo>
                        <a:lnTo>
                          <a:pt x="2628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30"/>
                  <p:cNvSpPr/>
                  <p:nvPr/>
                </p:nvSpPr>
                <p:spPr>
                  <a:xfrm>
                    <a:off x="6434938" y="1003850"/>
                    <a:ext cx="1165376" cy="217150"/>
                  </a:xfrm>
                  <a:custGeom>
                    <a:avLst/>
                    <a:gdLst/>
                    <a:ahLst/>
                    <a:cxnLst/>
                    <a:rect l="l" t="t" r="r" b="b"/>
                    <a:pathLst>
                      <a:path w="38184" h="7115" extrusionOk="0">
                        <a:moveTo>
                          <a:pt x="1891" y="0"/>
                        </a:moveTo>
                        <a:lnTo>
                          <a:pt x="1687" y="14"/>
                        </a:lnTo>
                        <a:lnTo>
                          <a:pt x="1510" y="41"/>
                        </a:lnTo>
                        <a:lnTo>
                          <a:pt x="1320" y="82"/>
                        </a:lnTo>
                        <a:lnTo>
                          <a:pt x="1157" y="150"/>
                        </a:lnTo>
                        <a:lnTo>
                          <a:pt x="994" y="231"/>
                        </a:lnTo>
                        <a:lnTo>
                          <a:pt x="830" y="326"/>
                        </a:lnTo>
                        <a:lnTo>
                          <a:pt x="681" y="435"/>
                        </a:lnTo>
                        <a:lnTo>
                          <a:pt x="558" y="558"/>
                        </a:lnTo>
                        <a:lnTo>
                          <a:pt x="436" y="694"/>
                        </a:lnTo>
                        <a:lnTo>
                          <a:pt x="327" y="830"/>
                        </a:lnTo>
                        <a:lnTo>
                          <a:pt x="232" y="993"/>
                        </a:lnTo>
                        <a:lnTo>
                          <a:pt x="150" y="1156"/>
                        </a:lnTo>
                        <a:lnTo>
                          <a:pt x="82" y="1319"/>
                        </a:lnTo>
                        <a:lnTo>
                          <a:pt x="41" y="1510"/>
                        </a:lnTo>
                        <a:lnTo>
                          <a:pt x="14" y="1687"/>
                        </a:lnTo>
                        <a:lnTo>
                          <a:pt x="1" y="1891"/>
                        </a:lnTo>
                        <a:lnTo>
                          <a:pt x="1" y="7114"/>
                        </a:lnTo>
                        <a:lnTo>
                          <a:pt x="38183" y="7114"/>
                        </a:lnTo>
                        <a:lnTo>
                          <a:pt x="38183" y="1891"/>
                        </a:lnTo>
                        <a:lnTo>
                          <a:pt x="38183" y="1687"/>
                        </a:lnTo>
                        <a:lnTo>
                          <a:pt x="38156" y="1510"/>
                        </a:lnTo>
                        <a:lnTo>
                          <a:pt x="38101" y="1319"/>
                        </a:lnTo>
                        <a:lnTo>
                          <a:pt x="38047" y="1156"/>
                        </a:lnTo>
                        <a:lnTo>
                          <a:pt x="37965" y="993"/>
                        </a:lnTo>
                        <a:lnTo>
                          <a:pt x="37870" y="830"/>
                        </a:lnTo>
                        <a:lnTo>
                          <a:pt x="37761" y="694"/>
                        </a:lnTo>
                        <a:lnTo>
                          <a:pt x="37639" y="558"/>
                        </a:lnTo>
                        <a:lnTo>
                          <a:pt x="37503" y="435"/>
                        </a:lnTo>
                        <a:lnTo>
                          <a:pt x="37353" y="326"/>
                        </a:lnTo>
                        <a:lnTo>
                          <a:pt x="37204" y="231"/>
                        </a:lnTo>
                        <a:lnTo>
                          <a:pt x="37040" y="150"/>
                        </a:lnTo>
                        <a:lnTo>
                          <a:pt x="36864" y="82"/>
                        </a:lnTo>
                        <a:lnTo>
                          <a:pt x="36687" y="41"/>
                        </a:lnTo>
                        <a:lnTo>
                          <a:pt x="36496" y="14"/>
                        </a:lnTo>
                        <a:lnTo>
                          <a:pt x="36306"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30"/>
                  <p:cNvSpPr/>
                  <p:nvPr/>
                </p:nvSpPr>
                <p:spPr>
                  <a:xfrm>
                    <a:off x="7242418" y="1064037"/>
                    <a:ext cx="75995" cy="75598"/>
                  </a:xfrm>
                  <a:custGeom>
                    <a:avLst/>
                    <a:gdLst/>
                    <a:ahLst/>
                    <a:cxnLst/>
                    <a:rect l="l" t="t" r="r" b="b"/>
                    <a:pathLst>
                      <a:path w="2490" h="2477" extrusionOk="0">
                        <a:moveTo>
                          <a:pt x="1116" y="0"/>
                        </a:moveTo>
                        <a:lnTo>
                          <a:pt x="994" y="28"/>
                        </a:lnTo>
                        <a:lnTo>
                          <a:pt x="871" y="55"/>
                        </a:lnTo>
                        <a:lnTo>
                          <a:pt x="762" y="96"/>
                        </a:lnTo>
                        <a:lnTo>
                          <a:pt x="654" y="150"/>
                        </a:lnTo>
                        <a:lnTo>
                          <a:pt x="545" y="218"/>
                        </a:lnTo>
                        <a:lnTo>
                          <a:pt x="450" y="286"/>
                        </a:lnTo>
                        <a:lnTo>
                          <a:pt x="368" y="368"/>
                        </a:lnTo>
                        <a:lnTo>
                          <a:pt x="286" y="449"/>
                        </a:lnTo>
                        <a:lnTo>
                          <a:pt x="218" y="544"/>
                        </a:lnTo>
                        <a:lnTo>
                          <a:pt x="150" y="653"/>
                        </a:lnTo>
                        <a:lnTo>
                          <a:pt x="96" y="762"/>
                        </a:lnTo>
                        <a:lnTo>
                          <a:pt x="55" y="871"/>
                        </a:lnTo>
                        <a:lnTo>
                          <a:pt x="28" y="993"/>
                        </a:lnTo>
                        <a:lnTo>
                          <a:pt x="14" y="1116"/>
                        </a:lnTo>
                        <a:lnTo>
                          <a:pt x="1" y="1238"/>
                        </a:lnTo>
                        <a:lnTo>
                          <a:pt x="14" y="1374"/>
                        </a:lnTo>
                        <a:lnTo>
                          <a:pt x="28" y="1497"/>
                        </a:lnTo>
                        <a:lnTo>
                          <a:pt x="55" y="1605"/>
                        </a:lnTo>
                        <a:lnTo>
                          <a:pt x="96" y="1728"/>
                        </a:lnTo>
                        <a:lnTo>
                          <a:pt x="150" y="1837"/>
                        </a:lnTo>
                        <a:lnTo>
                          <a:pt x="218" y="1932"/>
                        </a:lnTo>
                        <a:lnTo>
                          <a:pt x="286" y="2027"/>
                        </a:lnTo>
                        <a:lnTo>
                          <a:pt x="368" y="2122"/>
                        </a:lnTo>
                        <a:lnTo>
                          <a:pt x="450" y="2204"/>
                        </a:lnTo>
                        <a:lnTo>
                          <a:pt x="545" y="2272"/>
                        </a:lnTo>
                        <a:lnTo>
                          <a:pt x="654" y="2326"/>
                        </a:lnTo>
                        <a:lnTo>
                          <a:pt x="762" y="2381"/>
                        </a:lnTo>
                        <a:lnTo>
                          <a:pt x="871" y="2422"/>
                        </a:lnTo>
                        <a:lnTo>
                          <a:pt x="994" y="2462"/>
                        </a:lnTo>
                        <a:lnTo>
                          <a:pt x="1116" y="2476"/>
                        </a:lnTo>
                        <a:lnTo>
                          <a:pt x="1374" y="2476"/>
                        </a:lnTo>
                        <a:lnTo>
                          <a:pt x="1497" y="2462"/>
                        </a:lnTo>
                        <a:lnTo>
                          <a:pt x="1619" y="2422"/>
                        </a:lnTo>
                        <a:lnTo>
                          <a:pt x="1728" y="2381"/>
                        </a:lnTo>
                        <a:lnTo>
                          <a:pt x="1837" y="2326"/>
                        </a:lnTo>
                        <a:lnTo>
                          <a:pt x="1932" y="2272"/>
                        </a:lnTo>
                        <a:lnTo>
                          <a:pt x="2027" y="2204"/>
                        </a:lnTo>
                        <a:lnTo>
                          <a:pt x="2123" y="2122"/>
                        </a:lnTo>
                        <a:lnTo>
                          <a:pt x="2204" y="2027"/>
                        </a:lnTo>
                        <a:lnTo>
                          <a:pt x="2272" y="1932"/>
                        </a:lnTo>
                        <a:lnTo>
                          <a:pt x="2340" y="1837"/>
                        </a:lnTo>
                        <a:lnTo>
                          <a:pt x="2381" y="1728"/>
                        </a:lnTo>
                        <a:lnTo>
                          <a:pt x="2435" y="1605"/>
                        </a:lnTo>
                        <a:lnTo>
                          <a:pt x="2463" y="1497"/>
                        </a:lnTo>
                        <a:lnTo>
                          <a:pt x="2476" y="1374"/>
                        </a:lnTo>
                        <a:lnTo>
                          <a:pt x="2490" y="1238"/>
                        </a:lnTo>
                        <a:lnTo>
                          <a:pt x="2476" y="1116"/>
                        </a:lnTo>
                        <a:lnTo>
                          <a:pt x="2463" y="993"/>
                        </a:lnTo>
                        <a:lnTo>
                          <a:pt x="2435" y="871"/>
                        </a:lnTo>
                        <a:lnTo>
                          <a:pt x="2381" y="762"/>
                        </a:lnTo>
                        <a:lnTo>
                          <a:pt x="2340" y="653"/>
                        </a:lnTo>
                        <a:lnTo>
                          <a:pt x="2272" y="544"/>
                        </a:lnTo>
                        <a:lnTo>
                          <a:pt x="2204" y="449"/>
                        </a:lnTo>
                        <a:lnTo>
                          <a:pt x="2123" y="368"/>
                        </a:lnTo>
                        <a:lnTo>
                          <a:pt x="2027" y="286"/>
                        </a:lnTo>
                        <a:lnTo>
                          <a:pt x="1932" y="218"/>
                        </a:lnTo>
                        <a:lnTo>
                          <a:pt x="1837" y="150"/>
                        </a:lnTo>
                        <a:lnTo>
                          <a:pt x="1728" y="96"/>
                        </a:lnTo>
                        <a:lnTo>
                          <a:pt x="1619" y="55"/>
                        </a:lnTo>
                        <a:lnTo>
                          <a:pt x="1497" y="28"/>
                        </a:lnTo>
                        <a:lnTo>
                          <a:pt x="137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30"/>
                  <p:cNvSpPr/>
                  <p:nvPr/>
                </p:nvSpPr>
                <p:spPr>
                  <a:xfrm>
                    <a:off x="7365294" y="1064037"/>
                    <a:ext cx="76025" cy="75598"/>
                  </a:xfrm>
                  <a:custGeom>
                    <a:avLst/>
                    <a:gdLst/>
                    <a:ahLst/>
                    <a:cxnLst/>
                    <a:rect l="l" t="t" r="r" b="b"/>
                    <a:pathLst>
                      <a:path w="2491" h="2477" extrusionOk="0">
                        <a:moveTo>
                          <a:pt x="1116" y="0"/>
                        </a:moveTo>
                        <a:lnTo>
                          <a:pt x="994" y="28"/>
                        </a:lnTo>
                        <a:lnTo>
                          <a:pt x="872" y="55"/>
                        </a:lnTo>
                        <a:lnTo>
                          <a:pt x="763" y="96"/>
                        </a:lnTo>
                        <a:lnTo>
                          <a:pt x="654" y="150"/>
                        </a:lnTo>
                        <a:lnTo>
                          <a:pt x="545" y="218"/>
                        </a:lnTo>
                        <a:lnTo>
                          <a:pt x="450" y="286"/>
                        </a:lnTo>
                        <a:lnTo>
                          <a:pt x="368" y="368"/>
                        </a:lnTo>
                        <a:lnTo>
                          <a:pt x="287" y="449"/>
                        </a:lnTo>
                        <a:lnTo>
                          <a:pt x="219" y="544"/>
                        </a:lnTo>
                        <a:lnTo>
                          <a:pt x="151" y="653"/>
                        </a:lnTo>
                        <a:lnTo>
                          <a:pt x="96" y="762"/>
                        </a:lnTo>
                        <a:lnTo>
                          <a:pt x="55" y="871"/>
                        </a:lnTo>
                        <a:lnTo>
                          <a:pt x="28" y="993"/>
                        </a:lnTo>
                        <a:lnTo>
                          <a:pt x="1" y="1116"/>
                        </a:lnTo>
                        <a:lnTo>
                          <a:pt x="1" y="1238"/>
                        </a:lnTo>
                        <a:lnTo>
                          <a:pt x="1" y="1374"/>
                        </a:lnTo>
                        <a:lnTo>
                          <a:pt x="28" y="1497"/>
                        </a:lnTo>
                        <a:lnTo>
                          <a:pt x="55" y="1605"/>
                        </a:lnTo>
                        <a:lnTo>
                          <a:pt x="96" y="1728"/>
                        </a:lnTo>
                        <a:lnTo>
                          <a:pt x="151" y="1837"/>
                        </a:lnTo>
                        <a:lnTo>
                          <a:pt x="219" y="1932"/>
                        </a:lnTo>
                        <a:lnTo>
                          <a:pt x="287" y="2027"/>
                        </a:lnTo>
                        <a:lnTo>
                          <a:pt x="368" y="2122"/>
                        </a:lnTo>
                        <a:lnTo>
                          <a:pt x="450" y="2204"/>
                        </a:lnTo>
                        <a:lnTo>
                          <a:pt x="545" y="2272"/>
                        </a:lnTo>
                        <a:lnTo>
                          <a:pt x="654" y="2326"/>
                        </a:lnTo>
                        <a:lnTo>
                          <a:pt x="763" y="2381"/>
                        </a:lnTo>
                        <a:lnTo>
                          <a:pt x="872" y="2422"/>
                        </a:lnTo>
                        <a:lnTo>
                          <a:pt x="994" y="2462"/>
                        </a:lnTo>
                        <a:lnTo>
                          <a:pt x="1116" y="2476"/>
                        </a:lnTo>
                        <a:lnTo>
                          <a:pt x="1375" y="2476"/>
                        </a:lnTo>
                        <a:lnTo>
                          <a:pt x="1497" y="2462"/>
                        </a:lnTo>
                        <a:lnTo>
                          <a:pt x="1606" y="2422"/>
                        </a:lnTo>
                        <a:lnTo>
                          <a:pt x="1729" y="2381"/>
                        </a:lnTo>
                        <a:lnTo>
                          <a:pt x="1837" y="2326"/>
                        </a:lnTo>
                        <a:lnTo>
                          <a:pt x="1933" y="2272"/>
                        </a:lnTo>
                        <a:lnTo>
                          <a:pt x="2028" y="2204"/>
                        </a:lnTo>
                        <a:lnTo>
                          <a:pt x="2123" y="2122"/>
                        </a:lnTo>
                        <a:lnTo>
                          <a:pt x="2205" y="2027"/>
                        </a:lnTo>
                        <a:lnTo>
                          <a:pt x="2273" y="1932"/>
                        </a:lnTo>
                        <a:lnTo>
                          <a:pt x="2327" y="1837"/>
                        </a:lnTo>
                        <a:lnTo>
                          <a:pt x="2381" y="1728"/>
                        </a:lnTo>
                        <a:lnTo>
                          <a:pt x="2422" y="1605"/>
                        </a:lnTo>
                        <a:lnTo>
                          <a:pt x="2463" y="1497"/>
                        </a:lnTo>
                        <a:lnTo>
                          <a:pt x="2477" y="1374"/>
                        </a:lnTo>
                        <a:lnTo>
                          <a:pt x="2490" y="1238"/>
                        </a:lnTo>
                        <a:lnTo>
                          <a:pt x="2477" y="1116"/>
                        </a:lnTo>
                        <a:lnTo>
                          <a:pt x="2463" y="993"/>
                        </a:lnTo>
                        <a:lnTo>
                          <a:pt x="2422" y="871"/>
                        </a:lnTo>
                        <a:lnTo>
                          <a:pt x="2381" y="762"/>
                        </a:lnTo>
                        <a:lnTo>
                          <a:pt x="2327" y="653"/>
                        </a:lnTo>
                        <a:lnTo>
                          <a:pt x="2273" y="544"/>
                        </a:lnTo>
                        <a:lnTo>
                          <a:pt x="2205" y="449"/>
                        </a:lnTo>
                        <a:lnTo>
                          <a:pt x="2123" y="368"/>
                        </a:lnTo>
                        <a:lnTo>
                          <a:pt x="2028" y="286"/>
                        </a:lnTo>
                        <a:lnTo>
                          <a:pt x="1933" y="218"/>
                        </a:lnTo>
                        <a:lnTo>
                          <a:pt x="1837" y="150"/>
                        </a:lnTo>
                        <a:lnTo>
                          <a:pt x="1729" y="96"/>
                        </a:lnTo>
                        <a:lnTo>
                          <a:pt x="1606" y="55"/>
                        </a:lnTo>
                        <a:lnTo>
                          <a:pt x="1497" y="28"/>
                        </a:lnTo>
                        <a:lnTo>
                          <a:pt x="1375"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30"/>
                  <p:cNvSpPr/>
                  <p:nvPr/>
                </p:nvSpPr>
                <p:spPr>
                  <a:xfrm>
                    <a:off x="7482798" y="1064037"/>
                    <a:ext cx="75995" cy="75598"/>
                  </a:xfrm>
                  <a:custGeom>
                    <a:avLst/>
                    <a:gdLst/>
                    <a:ahLst/>
                    <a:cxnLst/>
                    <a:rect l="l" t="t" r="r" b="b"/>
                    <a:pathLst>
                      <a:path w="2490" h="2477" extrusionOk="0">
                        <a:moveTo>
                          <a:pt x="1116" y="0"/>
                        </a:moveTo>
                        <a:lnTo>
                          <a:pt x="994" y="28"/>
                        </a:lnTo>
                        <a:lnTo>
                          <a:pt x="871" y="55"/>
                        </a:lnTo>
                        <a:lnTo>
                          <a:pt x="762" y="96"/>
                        </a:lnTo>
                        <a:lnTo>
                          <a:pt x="653" y="150"/>
                        </a:lnTo>
                        <a:lnTo>
                          <a:pt x="545" y="218"/>
                        </a:lnTo>
                        <a:lnTo>
                          <a:pt x="449" y="286"/>
                        </a:lnTo>
                        <a:lnTo>
                          <a:pt x="368" y="368"/>
                        </a:lnTo>
                        <a:lnTo>
                          <a:pt x="286" y="449"/>
                        </a:lnTo>
                        <a:lnTo>
                          <a:pt x="218" y="544"/>
                        </a:lnTo>
                        <a:lnTo>
                          <a:pt x="150" y="653"/>
                        </a:lnTo>
                        <a:lnTo>
                          <a:pt x="96" y="762"/>
                        </a:lnTo>
                        <a:lnTo>
                          <a:pt x="55" y="871"/>
                        </a:lnTo>
                        <a:lnTo>
                          <a:pt x="28" y="993"/>
                        </a:lnTo>
                        <a:lnTo>
                          <a:pt x="14" y="1116"/>
                        </a:lnTo>
                        <a:lnTo>
                          <a:pt x="1" y="1238"/>
                        </a:lnTo>
                        <a:lnTo>
                          <a:pt x="14" y="1374"/>
                        </a:lnTo>
                        <a:lnTo>
                          <a:pt x="28" y="1497"/>
                        </a:lnTo>
                        <a:lnTo>
                          <a:pt x="55" y="1605"/>
                        </a:lnTo>
                        <a:lnTo>
                          <a:pt x="96" y="1728"/>
                        </a:lnTo>
                        <a:lnTo>
                          <a:pt x="150" y="1837"/>
                        </a:lnTo>
                        <a:lnTo>
                          <a:pt x="218" y="1932"/>
                        </a:lnTo>
                        <a:lnTo>
                          <a:pt x="286" y="2027"/>
                        </a:lnTo>
                        <a:lnTo>
                          <a:pt x="368" y="2122"/>
                        </a:lnTo>
                        <a:lnTo>
                          <a:pt x="449" y="2204"/>
                        </a:lnTo>
                        <a:lnTo>
                          <a:pt x="545" y="2272"/>
                        </a:lnTo>
                        <a:lnTo>
                          <a:pt x="653" y="2326"/>
                        </a:lnTo>
                        <a:lnTo>
                          <a:pt x="762" y="2381"/>
                        </a:lnTo>
                        <a:lnTo>
                          <a:pt x="871" y="2422"/>
                        </a:lnTo>
                        <a:lnTo>
                          <a:pt x="994" y="2462"/>
                        </a:lnTo>
                        <a:lnTo>
                          <a:pt x="1116" y="2476"/>
                        </a:lnTo>
                        <a:lnTo>
                          <a:pt x="1374" y="2476"/>
                        </a:lnTo>
                        <a:lnTo>
                          <a:pt x="1497" y="2462"/>
                        </a:lnTo>
                        <a:lnTo>
                          <a:pt x="1619" y="2422"/>
                        </a:lnTo>
                        <a:lnTo>
                          <a:pt x="1728" y="2381"/>
                        </a:lnTo>
                        <a:lnTo>
                          <a:pt x="1837" y="2326"/>
                        </a:lnTo>
                        <a:lnTo>
                          <a:pt x="1946" y="2272"/>
                        </a:lnTo>
                        <a:lnTo>
                          <a:pt x="2041" y="2204"/>
                        </a:lnTo>
                        <a:lnTo>
                          <a:pt x="2123" y="2122"/>
                        </a:lnTo>
                        <a:lnTo>
                          <a:pt x="2204" y="2027"/>
                        </a:lnTo>
                        <a:lnTo>
                          <a:pt x="2272" y="1932"/>
                        </a:lnTo>
                        <a:lnTo>
                          <a:pt x="2340" y="1837"/>
                        </a:lnTo>
                        <a:lnTo>
                          <a:pt x="2395" y="1728"/>
                        </a:lnTo>
                        <a:lnTo>
                          <a:pt x="2435" y="1605"/>
                        </a:lnTo>
                        <a:lnTo>
                          <a:pt x="2463" y="1497"/>
                        </a:lnTo>
                        <a:lnTo>
                          <a:pt x="2476" y="1374"/>
                        </a:lnTo>
                        <a:lnTo>
                          <a:pt x="2490" y="1238"/>
                        </a:lnTo>
                        <a:lnTo>
                          <a:pt x="2476" y="1116"/>
                        </a:lnTo>
                        <a:lnTo>
                          <a:pt x="2463" y="993"/>
                        </a:lnTo>
                        <a:lnTo>
                          <a:pt x="2435" y="871"/>
                        </a:lnTo>
                        <a:lnTo>
                          <a:pt x="2395" y="762"/>
                        </a:lnTo>
                        <a:lnTo>
                          <a:pt x="2340" y="653"/>
                        </a:lnTo>
                        <a:lnTo>
                          <a:pt x="2272" y="544"/>
                        </a:lnTo>
                        <a:lnTo>
                          <a:pt x="2204" y="449"/>
                        </a:lnTo>
                        <a:lnTo>
                          <a:pt x="2123" y="368"/>
                        </a:lnTo>
                        <a:lnTo>
                          <a:pt x="2041" y="286"/>
                        </a:lnTo>
                        <a:lnTo>
                          <a:pt x="1946" y="218"/>
                        </a:lnTo>
                        <a:lnTo>
                          <a:pt x="1837" y="150"/>
                        </a:lnTo>
                        <a:lnTo>
                          <a:pt x="1728" y="96"/>
                        </a:lnTo>
                        <a:lnTo>
                          <a:pt x="1619" y="55"/>
                        </a:lnTo>
                        <a:lnTo>
                          <a:pt x="1497" y="28"/>
                        </a:lnTo>
                        <a:lnTo>
                          <a:pt x="137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30"/>
                  <p:cNvSpPr/>
                  <p:nvPr/>
                </p:nvSpPr>
                <p:spPr>
                  <a:xfrm>
                    <a:off x="6767062" y="1624486"/>
                    <a:ext cx="501108" cy="164014"/>
                  </a:xfrm>
                  <a:custGeom>
                    <a:avLst/>
                    <a:gdLst/>
                    <a:ahLst/>
                    <a:cxnLst/>
                    <a:rect l="l" t="t" r="r" b="b"/>
                    <a:pathLst>
                      <a:path w="16419" h="5374" extrusionOk="0">
                        <a:moveTo>
                          <a:pt x="2599" y="1"/>
                        </a:moveTo>
                        <a:lnTo>
                          <a:pt x="2340" y="14"/>
                        </a:lnTo>
                        <a:lnTo>
                          <a:pt x="2082" y="55"/>
                        </a:lnTo>
                        <a:lnTo>
                          <a:pt x="1837" y="110"/>
                        </a:lnTo>
                        <a:lnTo>
                          <a:pt x="1592" y="205"/>
                        </a:lnTo>
                        <a:lnTo>
                          <a:pt x="1361" y="314"/>
                        </a:lnTo>
                        <a:lnTo>
                          <a:pt x="1157" y="450"/>
                        </a:lnTo>
                        <a:lnTo>
                          <a:pt x="953" y="599"/>
                        </a:lnTo>
                        <a:lnTo>
                          <a:pt x="762" y="763"/>
                        </a:lnTo>
                        <a:lnTo>
                          <a:pt x="599" y="953"/>
                        </a:lnTo>
                        <a:lnTo>
                          <a:pt x="450" y="1143"/>
                        </a:lnTo>
                        <a:lnTo>
                          <a:pt x="313" y="1361"/>
                        </a:lnTo>
                        <a:lnTo>
                          <a:pt x="205" y="1592"/>
                        </a:lnTo>
                        <a:lnTo>
                          <a:pt x="123" y="1824"/>
                        </a:lnTo>
                        <a:lnTo>
                          <a:pt x="55" y="2068"/>
                        </a:lnTo>
                        <a:lnTo>
                          <a:pt x="14" y="2327"/>
                        </a:lnTo>
                        <a:lnTo>
                          <a:pt x="1" y="2599"/>
                        </a:lnTo>
                        <a:lnTo>
                          <a:pt x="1" y="2776"/>
                        </a:lnTo>
                        <a:lnTo>
                          <a:pt x="14" y="3034"/>
                        </a:lnTo>
                        <a:lnTo>
                          <a:pt x="55" y="3293"/>
                        </a:lnTo>
                        <a:lnTo>
                          <a:pt x="123" y="3537"/>
                        </a:lnTo>
                        <a:lnTo>
                          <a:pt x="205" y="3782"/>
                        </a:lnTo>
                        <a:lnTo>
                          <a:pt x="313" y="4014"/>
                        </a:lnTo>
                        <a:lnTo>
                          <a:pt x="450" y="4218"/>
                        </a:lnTo>
                        <a:lnTo>
                          <a:pt x="599" y="4422"/>
                        </a:lnTo>
                        <a:lnTo>
                          <a:pt x="762" y="4612"/>
                        </a:lnTo>
                        <a:lnTo>
                          <a:pt x="953" y="4775"/>
                        </a:lnTo>
                        <a:lnTo>
                          <a:pt x="1157" y="4925"/>
                        </a:lnTo>
                        <a:lnTo>
                          <a:pt x="1361" y="5061"/>
                        </a:lnTo>
                        <a:lnTo>
                          <a:pt x="1592" y="5170"/>
                        </a:lnTo>
                        <a:lnTo>
                          <a:pt x="1837" y="5251"/>
                        </a:lnTo>
                        <a:lnTo>
                          <a:pt x="2082" y="5319"/>
                        </a:lnTo>
                        <a:lnTo>
                          <a:pt x="2340" y="5360"/>
                        </a:lnTo>
                        <a:lnTo>
                          <a:pt x="2599" y="5374"/>
                        </a:lnTo>
                        <a:lnTo>
                          <a:pt x="13821" y="5374"/>
                        </a:lnTo>
                        <a:lnTo>
                          <a:pt x="14093" y="5360"/>
                        </a:lnTo>
                        <a:lnTo>
                          <a:pt x="14351" y="5319"/>
                        </a:lnTo>
                        <a:lnTo>
                          <a:pt x="14596" y="5251"/>
                        </a:lnTo>
                        <a:lnTo>
                          <a:pt x="14827" y="5170"/>
                        </a:lnTo>
                        <a:lnTo>
                          <a:pt x="15059" y="5061"/>
                        </a:lnTo>
                        <a:lnTo>
                          <a:pt x="15276" y="4925"/>
                        </a:lnTo>
                        <a:lnTo>
                          <a:pt x="15480" y="4775"/>
                        </a:lnTo>
                        <a:lnTo>
                          <a:pt x="15657" y="4612"/>
                        </a:lnTo>
                        <a:lnTo>
                          <a:pt x="15834" y="4422"/>
                        </a:lnTo>
                        <a:lnTo>
                          <a:pt x="15984" y="4218"/>
                        </a:lnTo>
                        <a:lnTo>
                          <a:pt x="16106" y="4014"/>
                        </a:lnTo>
                        <a:lnTo>
                          <a:pt x="16215" y="3782"/>
                        </a:lnTo>
                        <a:lnTo>
                          <a:pt x="16310" y="3537"/>
                        </a:lnTo>
                        <a:lnTo>
                          <a:pt x="16365" y="3293"/>
                        </a:lnTo>
                        <a:lnTo>
                          <a:pt x="16405" y="3034"/>
                        </a:lnTo>
                        <a:lnTo>
                          <a:pt x="16419" y="2776"/>
                        </a:lnTo>
                        <a:lnTo>
                          <a:pt x="16419" y="2599"/>
                        </a:lnTo>
                        <a:lnTo>
                          <a:pt x="16405" y="2327"/>
                        </a:lnTo>
                        <a:lnTo>
                          <a:pt x="16365" y="2068"/>
                        </a:lnTo>
                        <a:lnTo>
                          <a:pt x="16310" y="1824"/>
                        </a:lnTo>
                        <a:lnTo>
                          <a:pt x="16215" y="1592"/>
                        </a:lnTo>
                        <a:lnTo>
                          <a:pt x="16106" y="1361"/>
                        </a:lnTo>
                        <a:lnTo>
                          <a:pt x="15984" y="1143"/>
                        </a:lnTo>
                        <a:lnTo>
                          <a:pt x="15834" y="953"/>
                        </a:lnTo>
                        <a:lnTo>
                          <a:pt x="15657" y="763"/>
                        </a:lnTo>
                        <a:lnTo>
                          <a:pt x="15480" y="599"/>
                        </a:lnTo>
                        <a:lnTo>
                          <a:pt x="15276" y="450"/>
                        </a:lnTo>
                        <a:lnTo>
                          <a:pt x="15059" y="314"/>
                        </a:lnTo>
                        <a:lnTo>
                          <a:pt x="14827" y="205"/>
                        </a:lnTo>
                        <a:lnTo>
                          <a:pt x="14596" y="110"/>
                        </a:lnTo>
                        <a:lnTo>
                          <a:pt x="14351" y="55"/>
                        </a:lnTo>
                        <a:lnTo>
                          <a:pt x="14093" y="14"/>
                        </a:lnTo>
                        <a:lnTo>
                          <a:pt x="13821" y="1"/>
                        </a:lnTo>
                        <a:close/>
                      </a:path>
                    </a:pathLst>
                  </a:custGeom>
                  <a:solidFill>
                    <a:srgbClr val="E3390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30"/>
                  <p:cNvSpPr/>
                  <p:nvPr/>
                </p:nvSpPr>
                <p:spPr>
                  <a:xfrm>
                    <a:off x="6661186" y="1439348"/>
                    <a:ext cx="32412" cy="227099"/>
                  </a:xfrm>
                  <a:custGeom>
                    <a:avLst/>
                    <a:gdLst/>
                    <a:ahLst/>
                    <a:cxnLst/>
                    <a:rect l="l" t="t" r="r" b="b"/>
                    <a:pathLst>
                      <a:path w="1062" h="7441" extrusionOk="0">
                        <a:moveTo>
                          <a:pt x="1" y="0"/>
                        </a:moveTo>
                        <a:lnTo>
                          <a:pt x="1" y="7441"/>
                        </a:lnTo>
                        <a:lnTo>
                          <a:pt x="1062" y="7441"/>
                        </a:lnTo>
                        <a:lnTo>
                          <a:pt x="106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30"/>
                  <p:cNvSpPr/>
                  <p:nvPr/>
                </p:nvSpPr>
                <p:spPr>
                  <a:xfrm>
                    <a:off x="6640432" y="1402815"/>
                    <a:ext cx="73523" cy="73492"/>
                  </a:xfrm>
                  <a:custGeom>
                    <a:avLst/>
                    <a:gdLst/>
                    <a:ahLst/>
                    <a:cxnLst/>
                    <a:rect l="l" t="t" r="r" b="b"/>
                    <a:pathLst>
                      <a:path w="2409" h="2408" extrusionOk="0">
                        <a:moveTo>
                          <a:pt x="1089" y="0"/>
                        </a:moveTo>
                        <a:lnTo>
                          <a:pt x="967" y="27"/>
                        </a:lnTo>
                        <a:lnTo>
                          <a:pt x="844" y="54"/>
                        </a:lnTo>
                        <a:lnTo>
                          <a:pt x="735" y="95"/>
                        </a:lnTo>
                        <a:lnTo>
                          <a:pt x="640" y="150"/>
                        </a:lnTo>
                        <a:lnTo>
                          <a:pt x="531" y="204"/>
                        </a:lnTo>
                        <a:lnTo>
                          <a:pt x="436" y="272"/>
                        </a:lnTo>
                        <a:lnTo>
                          <a:pt x="355" y="354"/>
                        </a:lnTo>
                        <a:lnTo>
                          <a:pt x="273" y="435"/>
                        </a:lnTo>
                        <a:lnTo>
                          <a:pt x="205" y="531"/>
                        </a:lnTo>
                        <a:lnTo>
                          <a:pt x="150" y="626"/>
                        </a:lnTo>
                        <a:lnTo>
                          <a:pt x="96" y="735"/>
                        </a:lnTo>
                        <a:lnTo>
                          <a:pt x="55" y="843"/>
                        </a:lnTo>
                        <a:lnTo>
                          <a:pt x="28" y="952"/>
                        </a:lnTo>
                        <a:lnTo>
                          <a:pt x="14" y="1075"/>
                        </a:lnTo>
                        <a:lnTo>
                          <a:pt x="1" y="1197"/>
                        </a:lnTo>
                        <a:lnTo>
                          <a:pt x="14" y="1319"/>
                        </a:lnTo>
                        <a:lnTo>
                          <a:pt x="28" y="1442"/>
                        </a:lnTo>
                        <a:lnTo>
                          <a:pt x="55" y="1564"/>
                        </a:lnTo>
                        <a:lnTo>
                          <a:pt x="96" y="1673"/>
                        </a:lnTo>
                        <a:lnTo>
                          <a:pt x="150" y="1768"/>
                        </a:lnTo>
                        <a:lnTo>
                          <a:pt x="205" y="1877"/>
                        </a:lnTo>
                        <a:lnTo>
                          <a:pt x="273" y="1972"/>
                        </a:lnTo>
                        <a:lnTo>
                          <a:pt x="355" y="2054"/>
                        </a:lnTo>
                        <a:lnTo>
                          <a:pt x="436" y="2136"/>
                        </a:lnTo>
                        <a:lnTo>
                          <a:pt x="531" y="2204"/>
                        </a:lnTo>
                        <a:lnTo>
                          <a:pt x="640" y="2258"/>
                        </a:lnTo>
                        <a:lnTo>
                          <a:pt x="735" y="2312"/>
                        </a:lnTo>
                        <a:lnTo>
                          <a:pt x="844" y="2353"/>
                        </a:lnTo>
                        <a:lnTo>
                          <a:pt x="967" y="2380"/>
                        </a:lnTo>
                        <a:lnTo>
                          <a:pt x="1089" y="2394"/>
                        </a:lnTo>
                        <a:lnTo>
                          <a:pt x="1211" y="2408"/>
                        </a:lnTo>
                        <a:lnTo>
                          <a:pt x="1334" y="2394"/>
                        </a:lnTo>
                        <a:lnTo>
                          <a:pt x="1456" y="2380"/>
                        </a:lnTo>
                        <a:lnTo>
                          <a:pt x="1565" y="2353"/>
                        </a:lnTo>
                        <a:lnTo>
                          <a:pt x="1674" y="2312"/>
                        </a:lnTo>
                        <a:lnTo>
                          <a:pt x="1783" y="2258"/>
                        </a:lnTo>
                        <a:lnTo>
                          <a:pt x="1878" y="2204"/>
                        </a:lnTo>
                        <a:lnTo>
                          <a:pt x="1973" y="2136"/>
                        </a:lnTo>
                        <a:lnTo>
                          <a:pt x="2055" y="2054"/>
                        </a:lnTo>
                        <a:lnTo>
                          <a:pt x="2136" y="1972"/>
                        </a:lnTo>
                        <a:lnTo>
                          <a:pt x="2204" y="1877"/>
                        </a:lnTo>
                        <a:lnTo>
                          <a:pt x="2272" y="1768"/>
                        </a:lnTo>
                        <a:lnTo>
                          <a:pt x="2313" y="1673"/>
                        </a:lnTo>
                        <a:lnTo>
                          <a:pt x="2354" y="1564"/>
                        </a:lnTo>
                        <a:lnTo>
                          <a:pt x="2381" y="1442"/>
                        </a:lnTo>
                        <a:lnTo>
                          <a:pt x="2408" y="1319"/>
                        </a:lnTo>
                        <a:lnTo>
                          <a:pt x="2408" y="1197"/>
                        </a:lnTo>
                        <a:lnTo>
                          <a:pt x="2408" y="1075"/>
                        </a:lnTo>
                        <a:lnTo>
                          <a:pt x="2381" y="952"/>
                        </a:lnTo>
                        <a:lnTo>
                          <a:pt x="2354" y="843"/>
                        </a:lnTo>
                        <a:lnTo>
                          <a:pt x="2313" y="735"/>
                        </a:lnTo>
                        <a:lnTo>
                          <a:pt x="2272" y="626"/>
                        </a:lnTo>
                        <a:lnTo>
                          <a:pt x="2204" y="531"/>
                        </a:lnTo>
                        <a:lnTo>
                          <a:pt x="2136" y="435"/>
                        </a:lnTo>
                        <a:lnTo>
                          <a:pt x="2055" y="354"/>
                        </a:lnTo>
                        <a:lnTo>
                          <a:pt x="1973" y="272"/>
                        </a:lnTo>
                        <a:lnTo>
                          <a:pt x="1878" y="204"/>
                        </a:lnTo>
                        <a:lnTo>
                          <a:pt x="1783" y="150"/>
                        </a:lnTo>
                        <a:lnTo>
                          <a:pt x="1674" y="95"/>
                        </a:lnTo>
                        <a:lnTo>
                          <a:pt x="1565" y="54"/>
                        </a:lnTo>
                        <a:lnTo>
                          <a:pt x="1456" y="27"/>
                        </a:lnTo>
                        <a:lnTo>
                          <a:pt x="1334"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30"/>
                  <p:cNvSpPr/>
                  <p:nvPr/>
                </p:nvSpPr>
                <p:spPr>
                  <a:xfrm>
                    <a:off x="6661186" y="1602908"/>
                    <a:ext cx="32412" cy="33664"/>
                  </a:xfrm>
                  <a:custGeom>
                    <a:avLst/>
                    <a:gdLst/>
                    <a:ahLst/>
                    <a:cxnLst/>
                    <a:rect l="l" t="t" r="r" b="b"/>
                    <a:pathLst>
                      <a:path w="1062" h="1103" extrusionOk="0">
                        <a:moveTo>
                          <a:pt x="1062" y="0"/>
                        </a:moveTo>
                        <a:lnTo>
                          <a:pt x="749" y="55"/>
                        </a:lnTo>
                        <a:lnTo>
                          <a:pt x="395" y="136"/>
                        </a:lnTo>
                        <a:lnTo>
                          <a:pt x="1" y="245"/>
                        </a:lnTo>
                        <a:lnTo>
                          <a:pt x="1" y="1102"/>
                        </a:lnTo>
                        <a:lnTo>
                          <a:pt x="1062" y="776"/>
                        </a:lnTo>
                        <a:lnTo>
                          <a:pt x="1062"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30"/>
                  <p:cNvSpPr/>
                  <p:nvPr/>
                </p:nvSpPr>
                <p:spPr>
                  <a:xfrm>
                    <a:off x="6564039" y="1694653"/>
                    <a:ext cx="73523" cy="73523"/>
                  </a:xfrm>
                  <a:custGeom>
                    <a:avLst/>
                    <a:gdLst/>
                    <a:ahLst/>
                    <a:cxnLst/>
                    <a:rect l="l" t="t" r="r" b="b"/>
                    <a:pathLst>
                      <a:path w="2409" h="2409" extrusionOk="0">
                        <a:moveTo>
                          <a:pt x="1198" y="1"/>
                        </a:moveTo>
                        <a:lnTo>
                          <a:pt x="1089" y="14"/>
                        </a:lnTo>
                        <a:lnTo>
                          <a:pt x="967" y="28"/>
                        </a:lnTo>
                        <a:lnTo>
                          <a:pt x="872" y="55"/>
                        </a:lnTo>
                        <a:lnTo>
                          <a:pt x="763" y="82"/>
                        </a:lnTo>
                        <a:lnTo>
                          <a:pt x="667" y="123"/>
                        </a:lnTo>
                        <a:lnTo>
                          <a:pt x="586" y="177"/>
                        </a:lnTo>
                        <a:lnTo>
                          <a:pt x="504" y="232"/>
                        </a:lnTo>
                        <a:lnTo>
                          <a:pt x="423" y="300"/>
                        </a:lnTo>
                        <a:lnTo>
                          <a:pt x="341" y="368"/>
                        </a:lnTo>
                        <a:lnTo>
                          <a:pt x="273" y="436"/>
                        </a:lnTo>
                        <a:lnTo>
                          <a:pt x="219" y="517"/>
                        </a:lnTo>
                        <a:lnTo>
                          <a:pt x="164" y="613"/>
                        </a:lnTo>
                        <a:lnTo>
                          <a:pt x="110" y="694"/>
                        </a:lnTo>
                        <a:lnTo>
                          <a:pt x="69" y="790"/>
                        </a:lnTo>
                        <a:lnTo>
                          <a:pt x="42" y="898"/>
                        </a:lnTo>
                        <a:lnTo>
                          <a:pt x="15" y="994"/>
                        </a:lnTo>
                        <a:lnTo>
                          <a:pt x="1" y="1102"/>
                        </a:lnTo>
                        <a:lnTo>
                          <a:pt x="1" y="1211"/>
                        </a:lnTo>
                        <a:lnTo>
                          <a:pt x="1" y="1320"/>
                        </a:lnTo>
                        <a:lnTo>
                          <a:pt x="15" y="1429"/>
                        </a:lnTo>
                        <a:lnTo>
                          <a:pt x="42" y="1524"/>
                        </a:lnTo>
                        <a:lnTo>
                          <a:pt x="69" y="1633"/>
                        </a:lnTo>
                        <a:lnTo>
                          <a:pt x="110" y="1728"/>
                        </a:lnTo>
                        <a:lnTo>
                          <a:pt x="164" y="1810"/>
                        </a:lnTo>
                        <a:lnTo>
                          <a:pt x="219" y="1905"/>
                        </a:lnTo>
                        <a:lnTo>
                          <a:pt x="287" y="1987"/>
                        </a:lnTo>
                        <a:lnTo>
                          <a:pt x="355" y="2055"/>
                        </a:lnTo>
                        <a:lnTo>
                          <a:pt x="423" y="2123"/>
                        </a:lnTo>
                        <a:lnTo>
                          <a:pt x="504" y="2191"/>
                        </a:lnTo>
                        <a:lnTo>
                          <a:pt x="599" y="2245"/>
                        </a:lnTo>
                        <a:lnTo>
                          <a:pt x="681" y="2299"/>
                        </a:lnTo>
                        <a:lnTo>
                          <a:pt x="776" y="2340"/>
                        </a:lnTo>
                        <a:lnTo>
                          <a:pt x="885" y="2367"/>
                        </a:lnTo>
                        <a:lnTo>
                          <a:pt x="980" y="2395"/>
                        </a:lnTo>
                        <a:lnTo>
                          <a:pt x="1089" y="2408"/>
                        </a:lnTo>
                        <a:lnTo>
                          <a:pt x="1348" y="2408"/>
                        </a:lnTo>
                        <a:lnTo>
                          <a:pt x="1484" y="2381"/>
                        </a:lnTo>
                        <a:lnTo>
                          <a:pt x="1579" y="2354"/>
                        </a:lnTo>
                        <a:lnTo>
                          <a:pt x="1674" y="2313"/>
                        </a:lnTo>
                        <a:lnTo>
                          <a:pt x="1769" y="2272"/>
                        </a:lnTo>
                        <a:lnTo>
                          <a:pt x="1851" y="2218"/>
                        </a:lnTo>
                        <a:lnTo>
                          <a:pt x="2014" y="2109"/>
                        </a:lnTo>
                        <a:lnTo>
                          <a:pt x="2137" y="1959"/>
                        </a:lnTo>
                        <a:lnTo>
                          <a:pt x="2259" y="1796"/>
                        </a:lnTo>
                        <a:lnTo>
                          <a:pt x="2300" y="1701"/>
                        </a:lnTo>
                        <a:lnTo>
                          <a:pt x="2341" y="1619"/>
                        </a:lnTo>
                        <a:lnTo>
                          <a:pt x="2368" y="1524"/>
                        </a:lnTo>
                        <a:lnTo>
                          <a:pt x="2381" y="1415"/>
                        </a:lnTo>
                        <a:lnTo>
                          <a:pt x="2395" y="1320"/>
                        </a:lnTo>
                        <a:lnTo>
                          <a:pt x="2409" y="1211"/>
                        </a:lnTo>
                        <a:lnTo>
                          <a:pt x="2395" y="1102"/>
                        </a:lnTo>
                        <a:lnTo>
                          <a:pt x="2381" y="1007"/>
                        </a:lnTo>
                        <a:lnTo>
                          <a:pt x="2368" y="898"/>
                        </a:lnTo>
                        <a:lnTo>
                          <a:pt x="2341" y="803"/>
                        </a:lnTo>
                        <a:lnTo>
                          <a:pt x="2300" y="708"/>
                        </a:lnTo>
                        <a:lnTo>
                          <a:pt x="2259" y="626"/>
                        </a:lnTo>
                        <a:lnTo>
                          <a:pt x="2205" y="545"/>
                        </a:lnTo>
                        <a:lnTo>
                          <a:pt x="2137" y="463"/>
                        </a:lnTo>
                        <a:lnTo>
                          <a:pt x="2014" y="313"/>
                        </a:lnTo>
                        <a:lnTo>
                          <a:pt x="1851" y="191"/>
                        </a:lnTo>
                        <a:lnTo>
                          <a:pt x="1769" y="150"/>
                        </a:lnTo>
                        <a:lnTo>
                          <a:pt x="1674" y="109"/>
                        </a:lnTo>
                        <a:lnTo>
                          <a:pt x="1579" y="69"/>
                        </a:lnTo>
                        <a:lnTo>
                          <a:pt x="1484" y="41"/>
                        </a:lnTo>
                        <a:lnTo>
                          <a:pt x="1348" y="14"/>
                        </a:lnTo>
                        <a:lnTo>
                          <a:pt x="1198"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30"/>
                  <p:cNvSpPr/>
                  <p:nvPr/>
                </p:nvSpPr>
                <p:spPr>
                  <a:xfrm>
                    <a:off x="6594346" y="1624486"/>
                    <a:ext cx="305169" cy="214250"/>
                  </a:xfrm>
                  <a:custGeom>
                    <a:avLst/>
                    <a:gdLst/>
                    <a:ahLst/>
                    <a:cxnLst/>
                    <a:rect l="l" t="t" r="r" b="b"/>
                    <a:pathLst>
                      <a:path w="9999" h="7020" extrusionOk="0">
                        <a:moveTo>
                          <a:pt x="3320" y="1"/>
                        </a:moveTo>
                        <a:lnTo>
                          <a:pt x="3143" y="14"/>
                        </a:lnTo>
                        <a:lnTo>
                          <a:pt x="2966" y="42"/>
                        </a:lnTo>
                        <a:lnTo>
                          <a:pt x="2789" y="69"/>
                        </a:lnTo>
                        <a:lnTo>
                          <a:pt x="2545" y="137"/>
                        </a:lnTo>
                        <a:lnTo>
                          <a:pt x="2300" y="218"/>
                        </a:lnTo>
                        <a:lnTo>
                          <a:pt x="2055" y="314"/>
                        </a:lnTo>
                        <a:lnTo>
                          <a:pt x="1837" y="422"/>
                        </a:lnTo>
                        <a:lnTo>
                          <a:pt x="1620" y="558"/>
                        </a:lnTo>
                        <a:lnTo>
                          <a:pt x="1416" y="695"/>
                        </a:lnTo>
                        <a:lnTo>
                          <a:pt x="1212" y="858"/>
                        </a:lnTo>
                        <a:lnTo>
                          <a:pt x="1035" y="1035"/>
                        </a:lnTo>
                        <a:lnTo>
                          <a:pt x="803" y="1279"/>
                        </a:lnTo>
                        <a:lnTo>
                          <a:pt x="599" y="1551"/>
                        </a:lnTo>
                        <a:lnTo>
                          <a:pt x="504" y="1687"/>
                        </a:lnTo>
                        <a:lnTo>
                          <a:pt x="423" y="1837"/>
                        </a:lnTo>
                        <a:lnTo>
                          <a:pt x="341" y="1987"/>
                        </a:lnTo>
                        <a:lnTo>
                          <a:pt x="273" y="2150"/>
                        </a:lnTo>
                        <a:lnTo>
                          <a:pt x="219" y="2300"/>
                        </a:lnTo>
                        <a:lnTo>
                          <a:pt x="164" y="2463"/>
                        </a:lnTo>
                        <a:lnTo>
                          <a:pt x="110" y="2640"/>
                        </a:lnTo>
                        <a:lnTo>
                          <a:pt x="69" y="2803"/>
                        </a:lnTo>
                        <a:lnTo>
                          <a:pt x="42" y="2980"/>
                        </a:lnTo>
                        <a:lnTo>
                          <a:pt x="15" y="3157"/>
                        </a:lnTo>
                        <a:lnTo>
                          <a:pt x="1" y="3333"/>
                        </a:lnTo>
                        <a:lnTo>
                          <a:pt x="1" y="3510"/>
                        </a:lnTo>
                        <a:lnTo>
                          <a:pt x="15" y="3823"/>
                        </a:lnTo>
                        <a:lnTo>
                          <a:pt x="55" y="4136"/>
                        </a:lnTo>
                        <a:lnTo>
                          <a:pt x="123" y="4449"/>
                        </a:lnTo>
                        <a:lnTo>
                          <a:pt x="219" y="4734"/>
                        </a:lnTo>
                        <a:lnTo>
                          <a:pt x="341" y="5020"/>
                        </a:lnTo>
                        <a:lnTo>
                          <a:pt x="491" y="5279"/>
                        </a:lnTo>
                        <a:lnTo>
                          <a:pt x="654" y="5537"/>
                        </a:lnTo>
                        <a:lnTo>
                          <a:pt x="831" y="5768"/>
                        </a:lnTo>
                        <a:lnTo>
                          <a:pt x="1035" y="5999"/>
                        </a:lnTo>
                        <a:lnTo>
                          <a:pt x="1266" y="6204"/>
                        </a:lnTo>
                        <a:lnTo>
                          <a:pt x="1497" y="6380"/>
                        </a:lnTo>
                        <a:lnTo>
                          <a:pt x="1756" y="6544"/>
                        </a:lnTo>
                        <a:lnTo>
                          <a:pt x="2028" y="6680"/>
                        </a:lnTo>
                        <a:lnTo>
                          <a:pt x="2300" y="6802"/>
                        </a:lnTo>
                        <a:lnTo>
                          <a:pt x="2599" y="6897"/>
                        </a:lnTo>
                        <a:lnTo>
                          <a:pt x="2898" y="6965"/>
                        </a:lnTo>
                        <a:lnTo>
                          <a:pt x="3198" y="7006"/>
                        </a:lnTo>
                        <a:lnTo>
                          <a:pt x="3510" y="7020"/>
                        </a:lnTo>
                        <a:lnTo>
                          <a:pt x="6666" y="7020"/>
                        </a:lnTo>
                        <a:lnTo>
                          <a:pt x="6843" y="7006"/>
                        </a:lnTo>
                        <a:lnTo>
                          <a:pt x="7020" y="6979"/>
                        </a:lnTo>
                        <a:lnTo>
                          <a:pt x="7197" y="6952"/>
                        </a:lnTo>
                        <a:lnTo>
                          <a:pt x="7360" y="6911"/>
                        </a:lnTo>
                        <a:lnTo>
                          <a:pt x="7537" y="6856"/>
                        </a:lnTo>
                        <a:lnTo>
                          <a:pt x="7700" y="6802"/>
                        </a:lnTo>
                        <a:lnTo>
                          <a:pt x="7850" y="6748"/>
                        </a:lnTo>
                        <a:lnTo>
                          <a:pt x="8013" y="6666"/>
                        </a:lnTo>
                        <a:lnTo>
                          <a:pt x="8163" y="6598"/>
                        </a:lnTo>
                        <a:lnTo>
                          <a:pt x="8312" y="6503"/>
                        </a:lnTo>
                        <a:lnTo>
                          <a:pt x="8448" y="6421"/>
                        </a:lnTo>
                        <a:lnTo>
                          <a:pt x="8720" y="6217"/>
                        </a:lnTo>
                        <a:lnTo>
                          <a:pt x="8965" y="5986"/>
                        </a:lnTo>
                        <a:lnTo>
                          <a:pt x="9196" y="5741"/>
                        </a:lnTo>
                        <a:lnTo>
                          <a:pt x="9400" y="5469"/>
                        </a:lnTo>
                        <a:lnTo>
                          <a:pt x="9496" y="5319"/>
                        </a:lnTo>
                        <a:lnTo>
                          <a:pt x="9577" y="5183"/>
                        </a:lnTo>
                        <a:lnTo>
                          <a:pt x="9659" y="5034"/>
                        </a:lnTo>
                        <a:lnTo>
                          <a:pt x="9727" y="4870"/>
                        </a:lnTo>
                        <a:lnTo>
                          <a:pt x="9781" y="4707"/>
                        </a:lnTo>
                        <a:lnTo>
                          <a:pt x="9849" y="4544"/>
                        </a:lnTo>
                        <a:lnTo>
                          <a:pt x="9890" y="4381"/>
                        </a:lnTo>
                        <a:lnTo>
                          <a:pt x="9931" y="4218"/>
                        </a:lnTo>
                        <a:lnTo>
                          <a:pt x="9958" y="4041"/>
                        </a:lnTo>
                        <a:lnTo>
                          <a:pt x="9985" y="3864"/>
                        </a:lnTo>
                        <a:lnTo>
                          <a:pt x="9999" y="3687"/>
                        </a:lnTo>
                        <a:lnTo>
                          <a:pt x="9999" y="3510"/>
                        </a:lnTo>
                        <a:lnTo>
                          <a:pt x="9999" y="3333"/>
                        </a:lnTo>
                        <a:lnTo>
                          <a:pt x="9985" y="3157"/>
                        </a:lnTo>
                        <a:lnTo>
                          <a:pt x="9958" y="2980"/>
                        </a:lnTo>
                        <a:lnTo>
                          <a:pt x="9931" y="2803"/>
                        </a:lnTo>
                        <a:lnTo>
                          <a:pt x="9890" y="2640"/>
                        </a:lnTo>
                        <a:lnTo>
                          <a:pt x="9849" y="2463"/>
                        </a:lnTo>
                        <a:lnTo>
                          <a:pt x="9781" y="2300"/>
                        </a:lnTo>
                        <a:lnTo>
                          <a:pt x="9727" y="2150"/>
                        </a:lnTo>
                        <a:lnTo>
                          <a:pt x="9659" y="1987"/>
                        </a:lnTo>
                        <a:lnTo>
                          <a:pt x="9577" y="1837"/>
                        </a:lnTo>
                        <a:lnTo>
                          <a:pt x="9496" y="1687"/>
                        </a:lnTo>
                        <a:lnTo>
                          <a:pt x="9400" y="1551"/>
                        </a:lnTo>
                        <a:lnTo>
                          <a:pt x="9196" y="1279"/>
                        </a:lnTo>
                        <a:lnTo>
                          <a:pt x="8965" y="1035"/>
                        </a:lnTo>
                        <a:lnTo>
                          <a:pt x="8720" y="803"/>
                        </a:lnTo>
                        <a:lnTo>
                          <a:pt x="8448" y="599"/>
                        </a:lnTo>
                        <a:lnTo>
                          <a:pt x="8312" y="504"/>
                        </a:lnTo>
                        <a:lnTo>
                          <a:pt x="8163" y="422"/>
                        </a:lnTo>
                        <a:lnTo>
                          <a:pt x="8013" y="341"/>
                        </a:lnTo>
                        <a:lnTo>
                          <a:pt x="7850" y="273"/>
                        </a:lnTo>
                        <a:lnTo>
                          <a:pt x="7700" y="218"/>
                        </a:lnTo>
                        <a:lnTo>
                          <a:pt x="7537" y="164"/>
                        </a:lnTo>
                        <a:lnTo>
                          <a:pt x="7360" y="110"/>
                        </a:lnTo>
                        <a:lnTo>
                          <a:pt x="7197" y="69"/>
                        </a:lnTo>
                        <a:lnTo>
                          <a:pt x="7020" y="42"/>
                        </a:lnTo>
                        <a:lnTo>
                          <a:pt x="6843" y="14"/>
                        </a:lnTo>
                        <a:lnTo>
                          <a:pt x="6666"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30"/>
                  <p:cNvSpPr/>
                  <p:nvPr/>
                </p:nvSpPr>
                <p:spPr>
                  <a:xfrm>
                    <a:off x="6646262" y="1624486"/>
                    <a:ext cx="98000" cy="214250"/>
                  </a:xfrm>
                  <a:custGeom>
                    <a:avLst/>
                    <a:gdLst/>
                    <a:ahLst/>
                    <a:cxnLst/>
                    <a:rect l="l" t="t" r="r" b="b"/>
                    <a:pathLst>
                      <a:path w="3211" h="7020" extrusionOk="0">
                        <a:moveTo>
                          <a:pt x="1619" y="1"/>
                        </a:moveTo>
                        <a:lnTo>
                          <a:pt x="1442" y="14"/>
                        </a:lnTo>
                        <a:lnTo>
                          <a:pt x="1265" y="42"/>
                        </a:lnTo>
                        <a:lnTo>
                          <a:pt x="1088" y="69"/>
                        </a:lnTo>
                        <a:lnTo>
                          <a:pt x="912" y="286"/>
                        </a:lnTo>
                        <a:lnTo>
                          <a:pt x="721" y="558"/>
                        </a:lnTo>
                        <a:lnTo>
                          <a:pt x="612" y="722"/>
                        </a:lnTo>
                        <a:lnTo>
                          <a:pt x="517" y="899"/>
                        </a:lnTo>
                        <a:lnTo>
                          <a:pt x="422" y="1089"/>
                        </a:lnTo>
                        <a:lnTo>
                          <a:pt x="340" y="1293"/>
                        </a:lnTo>
                        <a:lnTo>
                          <a:pt x="245" y="1524"/>
                        </a:lnTo>
                        <a:lnTo>
                          <a:pt x="177" y="1756"/>
                        </a:lnTo>
                        <a:lnTo>
                          <a:pt x="109" y="2014"/>
                        </a:lnTo>
                        <a:lnTo>
                          <a:pt x="68" y="2286"/>
                        </a:lnTo>
                        <a:lnTo>
                          <a:pt x="27" y="2572"/>
                        </a:lnTo>
                        <a:lnTo>
                          <a:pt x="14" y="2871"/>
                        </a:lnTo>
                        <a:lnTo>
                          <a:pt x="0" y="3184"/>
                        </a:lnTo>
                        <a:lnTo>
                          <a:pt x="27" y="3510"/>
                        </a:lnTo>
                        <a:lnTo>
                          <a:pt x="55" y="3796"/>
                        </a:lnTo>
                        <a:lnTo>
                          <a:pt x="95" y="4068"/>
                        </a:lnTo>
                        <a:lnTo>
                          <a:pt x="136" y="4326"/>
                        </a:lnTo>
                        <a:lnTo>
                          <a:pt x="191" y="4585"/>
                        </a:lnTo>
                        <a:lnTo>
                          <a:pt x="259" y="4843"/>
                        </a:lnTo>
                        <a:lnTo>
                          <a:pt x="327" y="5088"/>
                        </a:lnTo>
                        <a:lnTo>
                          <a:pt x="476" y="5537"/>
                        </a:lnTo>
                        <a:lnTo>
                          <a:pt x="653" y="5959"/>
                        </a:lnTo>
                        <a:lnTo>
                          <a:pt x="830" y="6340"/>
                        </a:lnTo>
                        <a:lnTo>
                          <a:pt x="1020" y="6680"/>
                        </a:lnTo>
                        <a:lnTo>
                          <a:pt x="1197" y="6965"/>
                        </a:lnTo>
                        <a:lnTo>
                          <a:pt x="1497" y="7006"/>
                        </a:lnTo>
                        <a:lnTo>
                          <a:pt x="1809" y="7020"/>
                        </a:lnTo>
                        <a:lnTo>
                          <a:pt x="2979" y="7020"/>
                        </a:lnTo>
                        <a:lnTo>
                          <a:pt x="3006" y="6843"/>
                        </a:lnTo>
                        <a:lnTo>
                          <a:pt x="3047" y="6258"/>
                        </a:lnTo>
                        <a:lnTo>
                          <a:pt x="3115" y="5469"/>
                        </a:lnTo>
                        <a:lnTo>
                          <a:pt x="3170" y="4517"/>
                        </a:lnTo>
                        <a:lnTo>
                          <a:pt x="3197" y="4014"/>
                        </a:lnTo>
                        <a:lnTo>
                          <a:pt x="3210" y="3497"/>
                        </a:lnTo>
                        <a:lnTo>
                          <a:pt x="3210" y="2980"/>
                        </a:lnTo>
                        <a:lnTo>
                          <a:pt x="3210" y="2476"/>
                        </a:lnTo>
                        <a:lnTo>
                          <a:pt x="3183" y="1973"/>
                        </a:lnTo>
                        <a:lnTo>
                          <a:pt x="3142" y="1497"/>
                        </a:lnTo>
                        <a:lnTo>
                          <a:pt x="3074" y="1062"/>
                        </a:lnTo>
                        <a:lnTo>
                          <a:pt x="2993" y="654"/>
                        </a:lnTo>
                        <a:lnTo>
                          <a:pt x="2952" y="463"/>
                        </a:lnTo>
                        <a:lnTo>
                          <a:pt x="2884" y="300"/>
                        </a:lnTo>
                        <a:lnTo>
                          <a:pt x="2830" y="137"/>
                        </a:lnTo>
                        <a:lnTo>
                          <a:pt x="2762"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30"/>
                  <p:cNvSpPr/>
                  <p:nvPr/>
                </p:nvSpPr>
                <p:spPr>
                  <a:xfrm>
                    <a:off x="7352841" y="1439348"/>
                    <a:ext cx="32412" cy="227099"/>
                  </a:xfrm>
                  <a:custGeom>
                    <a:avLst/>
                    <a:gdLst/>
                    <a:ahLst/>
                    <a:cxnLst/>
                    <a:rect l="l" t="t" r="r" b="b"/>
                    <a:pathLst>
                      <a:path w="1062" h="7441" extrusionOk="0">
                        <a:moveTo>
                          <a:pt x="1" y="0"/>
                        </a:moveTo>
                        <a:lnTo>
                          <a:pt x="1" y="7441"/>
                        </a:lnTo>
                        <a:lnTo>
                          <a:pt x="1062" y="7441"/>
                        </a:lnTo>
                        <a:lnTo>
                          <a:pt x="106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30"/>
                  <p:cNvSpPr/>
                  <p:nvPr/>
                </p:nvSpPr>
                <p:spPr>
                  <a:xfrm>
                    <a:off x="7332515" y="1402815"/>
                    <a:ext cx="73523" cy="73492"/>
                  </a:xfrm>
                  <a:custGeom>
                    <a:avLst/>
                    <a:gdLst/>
                    <a:ahLst/>
                    <a:cxnLst/>
                    <a:rect l="l" t="t" r="r" b="b"/>
                    <a:pathLst>
                      <a:path w="2409" h="2408" extrusionOk="0">
                        <a:moveTo>
                          <a:pt x="1075" y="0"/>
                        </a:moveTo>
                        <a:lnTo>
                          <a:pt x="953" y="27"/>
                        </a:lnTo>
                        <a:lnTo>
                          <a:pt x="844" y="54"/>
                        </a:lnTo>
                        <a:lnTo>
                          <a:pt x="735" y="95"/>
                        </a:lnTo>
                        <a:lnTo>
                          <a:pt x="626" y="150"/>
                        </a:lnTo>
                        <a:lnTo>
                          <a:pt x="531" y="204"/>
                        </a:lnTo>
                        <a:lnTo>
                          <a:pt x="436" y="272"/>
                        </a:lnTo>
                        <a:lnTo>
                          <a:pt x="354" y="354"/>
                        </a:lnTo>
                        <a:lnTo>
                          <a:pt x="272" y="435"/>
                        </a:lnTo>
                        <a:lnTo>
                          <a:pt x="204" y="531"/>
                        </a:lnTo>
                        <a:lnTo>
                          <a:pt x="150" y="626"/>
                        </a:lnTo>
                        <a:lnTo>
                          <a:pt x="96" y="735"/>
                        </a:lnTo>
                        <a:lnTo>
                          <a:pt x="55" y="843"/>
                        </a:lnTo>
                        <a:lnTo>
                          <a:pt x="28" y="952"/>
                        </a:lnTo>
                        <a:lnTo>
                          <a:pt x="0" y="1075"/>
                        </a:lnTo>
                        <a:lnTo>
                          <a:pt x="0" y="1197"/>
                        </a:lnTo>
                        <a:lnTo>
                          <a:pt x="0" y="1319"/>
                        </a:lnTo>
                        <a:lnTo>
                          <a:pt x="28" y="1442"/>
                        </a:lnTo>
                        <a:lnTo>
                          <a:pt x="55" y="1564"/>
                        </a:lnTo>
                        <a:lnTo>
                          <a:pt x="96" y="1673"/>
                        </a:lnTo>
                        <a:lnTo>
                          <a:pt x="150" y="1768"/>
                        </a:lnTo>
                        <a:lnTo>
                          <a:pt x="204" y="1877"/>
                        </a:lnTo>
                        <a:lnTo>
                          <a:pt x="272" y="1972"/>
                        </a:lnTo>
                        <a:lnTo>
                          <a:pt x="354" y="2054"/>
                        </a:lnTo>
                        <a:lnTo>
                          <a:pt x="436" y="2136"/>
                        </a:lnTo>
                        <a:lnTo>
                          <a:pt x="531" y="2204"/>
                        </a:lnTo>
                        <a:lnTo>
                          <a:pt x="626" y="2258"/>
                        </a:lnTo>
                        <a:lnTo>
                          <a:pt x="735" y="2312"/>
                        </a:lnTo>
                        <a:lnTo>
                          <a:pt x="844" y="2353"/>
                        </a:lnTo>
                        <a:lnTo>
                          <a:pt x="953" y="2380"/>
                        </a:lnTo>
                        <a:lnTo>
                          <a:pt x="1075" y="2394"/>
                        </a:lnTo>
                        <a:lnTo>
                          <a:pt x="1197" y="2408"/>
                        </a:lnTo>
                        <a:lnTo>
                          <a:pt x="1320" y="2394"/>
                        </a:lnTo>
                        <a:lnTo>
                          <a:pt x="1442" y="2380"/>
                        </a:lnTo>
                        <a:lnTo>
                          <a:pt x="1565" y="2353"/>
                        </a:lnTo>
                        <a:lnTo>
                          <a:pt x="1674" y="2312"/>
                        </a:lnTo>
                        <a:lnTo>
                          <a:pt x="1769" y="2258"/>
                        </a:lnTo>
                        <a:lnTo>
                          <a:pt x="1878" y="2204"/>
                        </a:lnTo>
                        <a:lnTo>
                          <a:pt x="1973" y="2136"/>
                        </a:lnTo>
                        <a:lnTo>
                          <a:pt x="2054" y="2054"/>
                        </a:lnTo>
                        <a:lnTo>
                          <a:pt x="2136" y="1972"/>
                        </a:lnTo>
                        <a:lnTo>
                          <a:pt x="2204" y="1877"/>
                        </a:lnTo>
                        <a:lnTo>
                          <a:pt x="2258" y="1768"/>
                        </a:lnTo>
                        <a:lnTo>
                          <a:pt x="2313" y="1673"/>
                        </a:lnTo>
                        <a:lnTo>
                          <a:pt x="2354" y="1564"/>
                        </a:lnTo>
                        <a:lnTo>
                          <a:pt x="2381" y="1442"/>
                        </a:lnTo>
                        <a:lnTo>
                          <a:pt x="2394" y="1319"/>
                        </a:lnTo>
                        <a:lnTo>
                          <a:pt x="2408" y="1197"/>
                        </a:lnTo>
                        <a:lnTo>
                          <a:pt x="2394" y="1075"/>
                        </a:lnTo>
                        <a:lnTo>
                          <a:pt x="2381" y="952"/>
                        </a:lnTo>
                        <a:lnTo>
                          <a:pt x="2354" y="843"/>
                        </a:lnTo>
                        <a:lnTo>
                          <a:pt x="2313" y="735"/>
                        </a:lnTo>
                        <a:lnTo>
                          <a:pt x="2258" y="626"/>
                        </a:lnTo>
                        <a:lnTo>
                          <a:pt x="2204" y="531"/>
                        </a:lnTo>
                        <a:lnTo>
                          <a:pt x="2136" y="435"/>
                        </a:lnTo>
                        <a:lnTo>
                          <a:pt x="2054" y="354"/>
                        </a:lnTo>
                        <a:lnTo>
                          <a:pt x="1973" y="272"/>
                        </a:lnTo>
                        <a:lnTo>
                          <a:pt x="1878" y="204"/>
                        </a:lnTo>
                        <a:lnTo>
                          <a:pt x="1769" y="150"/>
                        </a:lnTo>
                        <a:lnTo>
                          <a:pt x="1674" y="95"/>
                        </a:lnTo>
                        <a:lnTo>
                          <a:pt x="1565" y="54"/>
                        </a:lnTo>
                        <a:lnTo>
                          <a:pt x="1442" y="27"/>
                        </a:lnTo>
                        <a:lnTo>
                          <a:pt x="1320"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30"/>
                  <p:cNvSpPr/>
                  <p:nvPr/>
                </p:nvSpPr>
                <p:spPr>
                  <a:xfrm>
                    <a:off x="7352841" y="1602908"/>
                    <a:ext cx="32412" cy="33664"/>
                  </a:xfrm>
                  <a:custGeom>
                    <a:avLst/>
                    <a:gdLst/>
                    <a:ahLst/>
                    <a:cxnLst/>
                    <a:rect l="l" t="t" r="r" b="b"/>
                    <a:pathLst>
                      <a:path w="1062" h="1103" extrusionOk="0">
                        <a:moveTo>
                          <a:pt x="1" y="0"/>
                        </a:moveTo>
                        <a:lnTo>
                          <a:pt x="1" y="776"/>
                        </a:lnTo>
                        <a:lnTo>
                          <a:pt x="1062" y="1102"/>
                        </a:lnTo>
                        <a:lnTo>
                          <a:pt x="1062" y="245"/>
                        </a:lnTo>
                        <a:lnTo>
                          <a:pt x="667" y="136"/>
                        </a:lnTo>
                        <a:lnTo>
                          <a:pt x="314" y="55"/>
                        </a:lnTo>
                        <a:lnTo>
                          <a:pt x="1"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30"/>
                  <p:cNvSpPr/>
                  <p:nvPr/>
                </p:nvSpPr>
                <p:spPr>
                  <a:xfrm>
                    <a:off x="7408908" y="1694653"/>
                    <a:ext cx="73492" cy="73523"/>
                  </a:xfrm>
                  <a:custGeom>
                    <a:avLst/>
                    <a:gdLst/>
                    <a:ahLst/>
                    <a:cxnLst/>
                    <a:rect l="l" t="t" r="r" b="b"/>
                    <a:pathLst>
                      <a:path w="2408" h="2409" extrusionOk="0">
                        <a:moveTo>
                          <a:pt x="1211" y="1"/>
                        </a:moveTo>
                        <a:lnTo>
                          <a:pt x="1088" y="14"/>
                        </a:lnTo>
                        <a:lnTo>
                          <a:pt x="966" y="28"/>
                        </a:lnTo>
                        <a:lnTo>
                          <a:pt x="844" y="55"/>
                        </a:lnTo>
                        <a:lnTo>
                          <a:pt x="735" y="96"/>
                        </a:lnTo>
                        <a:lnTo>
                          <a:pt x="640" y="150"/>
                        </a:lnTo>
                        <a:lnTo>
                          <a:pt x="531" y="218"/>
                        </a:lnTo>
                        <a:lnTo>
                          <a:pt x="436" y="286"/>
                        </a:lnTo>
                        <a:lnTo>
                          <a:pt x="354" y="354"/>
                        </a:lnTo>
                        <a:lnTo>
                          <a:pt x="272" y="449"/>
                        </a:lnTo>
                        <a:lnTo>
                          <a:pt x="204" y="531"/>
                        </a:lnTo>
                        <a:lnTo>
                          <a:pt x="150" y="640"/>
                        </a:lnTo>
                        <a:lnTo>
                          <a:pt x="95" y="735"/>
                        </a:lnTo>
                        <a:lnTo>
                          <a:pt x="55" y="858"/>
                        </a:lnTo>
                        <a:lnTo>
                          <a:pt x="27" y="966"/>
                        </a:lnTo>
                        <a:lnTo>
                          <a:pt x="14" y="1089"/>
                        </a:lnTo>
                        <a:lnTo>
                          <a:pt x="0" y="1211"/>
                        </a:lnTo>
                        <a:lnTo>
                          <a:pt x="14" y="1334"/>
                        </a:lnTo>
                        <a:lnTo>
                          <a:pt x="27" y="1456"/>
                        </a:lnTo>
                        <a:lnTo>
                          <a:pt x="55" y="1565"/>
                        </a:lnTo>
                        <a:lnTo>
                          <a:pt x="95" y="1674"/>
                        </a:lnTo>
                        <a:lnTo>
                          <a:pt x="150" y="1783"/>
                        </a:lnTo>
                        <a:lnTo>
                          <a:pt x="204" y="1878"/>
                        </a:lnTo>
                        <a:lnTo>
                          <a:pt x="272" y="1973"/>
                        </a:lnTo>
                        <a:lnTo>
                          <a:pt x="354" y="2055"/>
                        </a:lnTo>
                        <a:lnTo>
                          <a:pt x="436" y="2136"/>
                        </a:lnTo>
                        <a:lnTo>
                          <a:pt x="531" y="2204"/>
                        </a:lnTo>
                        <a:lnTo>
                          <a:pt x="640" y="2272"/>
                        </a:lnTo>
                        <a:lnTo>
                          <a:pt x="735" y="2313"/>
                        </a:lnTo>
                        <a:lnTo>
                          <a:pt x="844" y="2354"/>
                        </a:lnTo>
                        <a:lnTo>
                          <a:pt x="966" y="2395"/>
                        </a:lnTo>
                        <a:lnTo>
                          <a:pt x="1088" y="2408"/>
                        </a:lnTo>
                        <a:lnTo>
                          <a:pt x="1333" y="2408"/>
                        </a:lnTo>
                        <a:lnTo>
                          <a:pt x="1456" y="2395"/>
                        </a:lnTo>
                        <a:lnTo>
                          <a:pt x="1565" y="2354"/>
                        </a:lnTo>
                        <a:lnTo>
                          <a:pt x="1673" y="2313"/>
                        </a:lnTo>
                        <a:lnTo>
                          <a:pt x="1782" y="2272"/>
                        </a:lnTo>
                        <a:lnTo>
                          <a:pt x="1877" y="2204"/>
                        </a:lnTo>
                        <a:lnTo>
                          <a:pt x="1973" y="2136"/>
                        </a:lnTo>
                        <a:lnTo>
                          <a:pt x="2054" y="2055"/>
                        </a:lnTo>
                        <a:lnTo>
                          <a:pt x="2136" y="1973"/>
                        </a:lnTo>
                        <a:lnTo>
                          <a:pt x="2204" y="1878"/>
                        </a:lnTo>
                        <a:lnTo>
                          <a:pt x="2272" y="1783"/>
                        </a:lnTo>
                        <a:lnTo>
                          <a:pt x="2313" y="1674"/>
                        </a:lnTo>
                        <a:lnTo>
                          <a:pt x="2354" y="1565"/>
                        </a:lnTo>
                        <a:lnTo>
                          <a:pt x="2381" y="1456"/>
                        </a:lnTo>
                        <a:lnTo>
                          <a:pt x="2408" y="1334"/>
                        </a:lnTo>
                        <a:lnTo>
                          <a:pt x="2408" y="1211"/>
                        </a:lnTo>
                        <a:lnTo>
                          <a:pt x="2408" y="1089"/>
                        </a:lnTo>
                        <a:lnTo>
                          <a:pt x="2381" y="966"/>
                        </a:lnTo>
                        <a:lnTo>
                          <a:pt x="2354" y="858"/>
                        </a:lnTo>
                        <a:lnTo>
                          <a:pt x="2313" y="735"/>
                        </a:lnTo>
                        <a:lnTo>
                          <a:pt x="2272" y="640"/>
                        </a:lnTo>
                        <a:lnTo>
                          <a:pt x="2204" y="531"/>
                        </a:lnTo>
                        <a:lnTo>
                          <a:pt x="2136" y="449"/>
                        </a:lnTo>
                        <a:lnTo>
                          <a:pt x="2054" y="354"/>
                        </a:lnTo>
                        <a:lnTo>
                          <a:pt x="1973" y="286"/>
                        </a:lnTo>
                        <a:lnTo>
                          <a:pt x="1877" y="218"/>
                        </a:lnTo>
                        <a:lnTo>
                          <a:pt x="1782" y="150"/>
                        </a:lnTo>
                        <a:lnTo>
                          <a:pt x="1673" y="96"/>
                        </a:lnTo>
                        <a:lnTo>
                          <a:pt x="1565" y="55"/>
                        </a:lnTo>
                        <a:lnTo>
                          <a:pt x="1456" y="28"/>
                        </a:lnTo>
                        <a:lnTo>
                          <a:pt x="1333" y="14"/>
                        </a:lnTo>
                        <a:lnTo>
                          <a:pt x="1211"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30"/>
                  <p:cNvSpPr/>
                  <p:nvPr/>
                </p:nvSpPr>
                <p:spPr>
                  <a:xfrm>
                    <a:off x="7146950" y="1624486"/>
                    <a:ext cx="305139" cy="214250"/>
                  </a:xfrm>
                  <a:custGeom>
                    <a:avLst/>
                    <a:gdLst/>
                    <a:ahLst/>
                    <a:cxnLst/>
                    <a:rect l="l" t="t" r="r" b="b"/>
                    <a:pathLst>
                      <a:path w="9998" h="7020" extrusionOk="0">
                        <a:moveTo>
                          <a:pt x="3333" y="1"/>
                        </a:moveTo>
                        <a:lnTo>
                          <a:pt x="3156" y="14"/>
                        </a:lnTo>
                        <a:lnTo>
                          <a:pt x="2979" y="42"/>
                        </a:lnTo>
                        <a:lnTo>
                          <a:pt x="2802" y="69"/>
                        </a:lnTo>
                        <a:lnTo>
                          <a:pt x="2639" y="110"/>
                        </a:lnTo>
                        <a:lnTo>
                          <a:pt x="2462" y="164"/>
                        </a:lnTo>
                        <a:lnTo>
                          <a:pt x="2299" y="218"/>
                        </a:lnTo>
                        <a:lnTo>
                          <a:pt x="2149" y="273"/>
                        </a:lnTo>
                        <a:lnTo>
                          <a:pt x="1986" y="341"/>
                        </a:lnTo>
                        <a:lnTo>
                          <a:pt x="1836" y="422"/>
                        </a:lnTo>
                        <a:lnTo>
                          <a:pt x="1687" y="504"/>
                        </a:lnTo>
                        <a:lnTo>
                          <a:pt x="1551" y="599"/>
                        </a:lnTo>
                        <a:lnTo>
                          <a:pt x="1279" y="803"/>
                        </a:lnTo>
                        <a:lnTo>
                          <a:pt x="1034" y="1035"/>
                        </a:lnTo>
                        <a:lnTo>
                          <a:pt x="803" y="1279"/>
                        </a:lnTo>
                        <a:lnTo>
                          <a:pt x="599" y="1551"/>
                        </a:lnTo>
                        <a:lnTo>
                          <a:pt x="503" y="1687"/>
                        </a:lnTo>
                        <a:lnTo>
                          <a:pt x="422" y="1837"/>
                        </a:lnTo>
                        <a:lnTo>
                          <a:pt x="340" y="1987"/>
                        </a:lnTo>
                        <a:lnTo>
                          <a:pt x="272" y="2150"/>
                        </a:lnTo>
                        <a:lnTo>
                          <a:pt x="218" y="2300"/>
                        </a:lnTo>
                        <a:lnTo>
                          <a:pt x="163" y="2463"/>
                        </a:lnTo>
                        <a:lnTo>
                          <a:pt x="109" y="2640"/>
                        </a:lnTo>
                        <a:lnTo>
                          <a:pt x="68" y="2803"/>
                        </a:lnTo>
                        <a:lnTo>
                          <a:pt x="41" y="2980"/>
                        </a:lnTo>
                        <a:lnTo>
                          <a:pt x="14" y="3157"/>
                        </a:lnTo>
                        <a:lnTo>
                          <a:pt x="0" y="3333"/>
                        </a:lnTo>
                        <a:lnTo>
                          <a:pt x="0" y="3510"/>
                        </a:lnTo>
                        <a:lnTo>
                          <a:pt x="0" y="3687"/>
                        </a:lnTo>
                        <a:lnTo>
                          <a:pt x="14" y="3864"/>
                        </a:lnTo>
                        <a:lnTo>
                          <a:pt x="41" y="4041"/>
                        </a:lnTo>
                        <a:lnTo>
                          <a:pt x="68" y="4218"/>
                        </a:lnTo>
                        <a:lnTo>
                          <a:pt x="109" y="4381"/>
                        </a:lnTo>
                        <a:lnTo>
                          <a:pt x="163" y="4544"/>
                        </a:lnTo>
                        <a:lnTo>
                          <a:pt x="218" y="4707"/>
                        </a:lnTo>
                        <a:lnTo>
                          <a:pt x="272" y="4870"/>
                        </a:lnTo>
                        <a:lnTo>
                          <a:pt x="340" y="5034"/>
                        </a:lnTo>
                        <a:lnTo>
                          <a:pt x="422" y="5183"/>
                        </a:lnTo>
                        <a:lnTo>
                          <a:pt x="503" y="5319"/>
                        </a:lnTo>
                        <a:lnTo>
                          <a:pt x="599" y="5469"/>
                        </a:lnTo>
                        <a:lnTo>
                          <a:pt x="803" y="5741"/>
                        </a:lnTo>
                        <a:lnTo>
                          <a:pt x="1034" y="5986"/>
                        </a:lnTo>
                        <a:lnTo>
                          <a:pt x="1279" y="6217"/>
                        </a:lnTo>
                        <a:lnTo>
                          <a:pt x="1551" y="6421"/>
                        </a:lnTo>
                        <a:lnTo>
                          <a:pt x="1687" y="6503"/>
                        </a:lnTo>
                        <a:lnTo>
                          <a:pt x="1836" y="6598"/>
                        </a:lnTo>
                        <a:lnTo>
                          <a:pt x="1986" y="6666"/>
                        </a:lnTo>
                        <a:lnTo>
                          <a:pt x="2149" y="6748"/>
                        </a:lnTo>
                        <a:lnTo>
                          <a:pt x="2299" y="6802"/>
                        </a:lnTo>
                        <a:lnTo>
                          <a:pt x="2462" y="6856"/>
                        </a:lnTo>
                        <a:lnTo>
                          <a:pt x="2639" y="6911"/>
                        </a:lnTo>
                        <a:lnTo>
                          <a:pt x="2802" y="6952"/>
                        </a:lnTo>
                        <a:lnTo>
                          <a:pt x="2979" y="6979"/>
                        </a:lnTo>
                        <a:lnTo>
                          <a:pt x="3156" y="7006"/>
                        </a:lnTo>
                        <a:lnTo>
                          <a:pt x="3333" y="7020"/>
                        </a:lnTo>
                        <a:lnTo>
                          <a:pt x="6488" y="7020"/>
                        </a:lnTo>
                        <a:lnTo>
                          <a:pt x="6801" y="7006"/>
                        </a:lnTo>
                        <a:lnTo>
                          <a:pt x="7101" y="6965"/>
                        </a:lnTo>
                        <a:lnTo>
                          <a:pt x="7400" y="6897"/>
                        </a:lnTo>
                        <a:lnTo>
                          <a:pt x="7699" y="6802"/>
                        </a:lnTo>
                        <a:lnTo>
                          <a:pt x="7971" y="6680"/>
                        </a:lnTo>
                        <a:lnTo>
                          <a:pt x="8243" y="6544"/>
                        </a:lnTo>
                        <a:lnTo>
                          <a:pt x="8502" y="6380"/>
                        </a:lnTo>
                        <a:lnTo>
                          <a:pt x="8733" y="6204"/>
                        </a:lnTo>
                        <a:lnTo>
                          <a:pt x="8964" y="5999"/>
                        </a:lnTo>
                        <a:lnTo>
                          <a:pt x="9168" y="5768"/>
                        </a:lnTo>
                        <a:lnTo>
                          <a:pt x="9345" y="5537"/>
                        </a:lnTo>
                        <a:lnTo>
                          <a:pt x="9522" y="5279"/>
                        </a:lnTo>
                        <a:lnTo>
                          <a:pt x="9658" y="5020"/>
                        </a:lnTo>
                        <a:lnTo>
                          <a:pt x="9780" y="4734"/>
                        </a:lnTo>
                        <a:lnTo>
                          <a:pt x="9876" y="4449"/>
                        </a:lnTo>
                        <a:lnTo>
                          <a:pt x="9944" y="4136"/>
                        </a:lnTo>
                        <a:lnTo>
                          <a:pt x="9984" y="3823"/>
                        </a:lnTo>
                        <a:lnTo>
                          <a:pt x="9998" y="3510"/>
                        </a:lnTo>
                        <a:lnTo>
                          <a:pt x="9998" y="3333"/>
                        </a:lnTo>
                        <a:lnTo>
                          <a:pt x="9984" y="3157"/>
                        </a:lnTo>
                        <a:lnTo>
                          <a:pt x="9957" y="2980"/>
                        </a:lnTo>
                        <a:lnTo>
                          <a:pt x="9930" y="2803"/>
                        </a:lnTo>
                        <a:lnTo>
                          <a:pt x="9889" y="2640"/>
                        </a:lnTo>
                        <a:lnTo>
                          <a:pt x="9848" y="2463"/>
                        </a:lnTo>
                        <a:lnTo>
                          <a:pt x="9780" y="2300"/>
                        </a:lnTo>
                        <a:lnTo>
                          <a:pt x="9726" y="2150"/>
                        </a:lnTo>
                        <a:lnTo>
                          <a:pt x="9658" y="1987"/>
                        </a:lnTo>
                        <a:lnTo>
                          <a:pt x="9576" y="1837"/>
                        </a:lnTo>
                        <a:lnTo>
                          <a:pt x="9495" y="1687"/>
                        </a:lnTo>
                        <a:lnTo>
                          <a:pt x="9399" y="1551"/>
                        </a:lnTo>
                        <a:lnTo>
                          <a:pt x="9195" y="1279"/>
                        </a:lnTo>
                        <a:lnTo>
                          <a:pt x="8964" y="1035"/>
                        </a:lnTo>
                        <a:lnTo>
                          <a:pt x="8787" y="858"/>
                        </a:lnTo>
                        <a:lnTo>
                          <a:pt x="8583" y="695"/>
                        </a:lnTo>
                        <a:lnTo>
                          <a:pt x="8379" y="558"/>
                        </a:lnTo>
                        <a:lnTo>
                          <a:pt x="8162" y="422"/>
                        </a:lnTo>
                        <a:lnTo>
                          <a:pt x="7944" y="314"/>
                        </a:lnTo>
                        <a:lnTo>
                          <a:pt x="7699" y="218"/>
                        </a:lnTo>
                        <a:lnTo>
                          <a:pt x="7454" y="137"/>
                        </a:lnTo>
                        <a:lnTo>
                          <a:pt x="7209" y="69"/>
                        </a:lnTo>
                        <a:lnTo>
                          <a:pt x="7033" y="42"/>
                        </a:lnTo>
                        <a:lnTo>
                          <a:pt x="6856" y="14"/>
                        </a:lnTo>
                        <a:lnTo>
                          <a:pt x="667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6" name="Google Shape;1316;p30"/>
                  <p:cNvSpPr/>
                  <p:nvPr/>
                </p:nvSpPr>
                <p:spPr>
                  <a:xfrm>
                    <a:off x="7302208" y="1624486"/>
                    <a:ext cx="98000" cy="214250"/>
                  </a:xfrm>
                  <a:custGeom>
                    <a:avLst/>
                    <a:gdLst/>
                    <a:ahLst/>
                    <a:cxnLst/>
                    <a:rect l="l" t="t" r="r" b="b"/>
                    <a:pathLst>
                      <a:path w="3211" h="7020" extrusionOk="0">
                        <a:moveTo>
                          <a:pt x="449" y="1"/>
                        </a:moveTo>
                        <a:lnTo>
                          <a:pt x="381" y="137"/>
                        </a:lnTo>
                        <a:lnTo>
                          <a:pt x="327" y="300"/>
                        </a:lnTo>
                        <a:lnTo>
                          <a:pt x="259" y="463"/>
                        </a:lnTo>
                        <a:lnTo>
                          <a:pt x="218" y="654"/>
                        </a:lnTo>
                        <a:lnTo>
                          <a:pt x="136" y="1062"/>
                        </a:lnTo>
                        <a:lnTo>
                          <a:pt x="68" y="1497"/>
                        </a:lnTo>
                        <a:lnTo>
                          <a:pt x="28" y="1973"/>
                        </a:lnTo>
                        <a:lnTo>
                          <a:pt x="14" y="2476"/>
                        </a:lnTo>
                        <a:lnTo>
                          <a:pt x="0" y="2980"/>
                        </a:lnTo>
                        <a:lnTo>
                          <a:pt x="0" y="3497"/>
                        </a:lnTo>
                        <a:lnTo>
                          <a:pt x="14" y="4014"/>
                        </a:lnTo>
                        <a:lnTo>
                          <a:pt x="41" y="4517"/>
                        </a:lnTo>
                        <a:lnTo>
                          <a:pt x="96" y="5469"/>
                        </a:lnTo>
                        <a:lnTo>
                          <a:pt x="164" y="6258"/>
                        </a:lnTo>
                        <a:lnTo>
                          <a:pt x="204" y="6843"/>
                        </a:lnTo>
                        <a:lnTo>
                          <a:pt x="232" y="7020"/>
                        </a:lnTo>
                        <a:lnTo>
                          <a:pt x="1401" y="7020"/>
                        </a:lnTo>
                        <a:lnTo>
                          <a:pt x="1714" y="7006"/>
                        </a:lnTo>
                        <a:lnTo>
                          <a:pt x="2014" y="6965"/>
                        </a:lnTo>
                        <a:lnTo>
                          <a:pt x="2190" y="6680"/>
                        </a:lnTo>
                        <a:lnTo>
                          <a:pt x="2381" y="6340"/>
                        </a:lnTo>
                        <a:lnTo>
                          <a:pt x="2558" y="5959"/>
                        </a:lnTo>
                        <a:lnTo>
                          <a:pt x="2735" y="5537"/>
                        </a:lnTo>
                        <a:lnTo>
                          <a:pt x="2884" y="5088"/>
                        </a:lnTo>
                        <a:lnTo>
                          <a:pt x="2952" y="4843"/>
                        </a:lnTo>
                        <a:lnTo>
                          <a:pt x="3020" y="4585"/>
                        </a:lnTo>
                        <a:lnTo>
                          <a:pt x="3075" y="4326"/>
                        </a:lnTo>
                        <a:lnTo>
                          <a:pt x="3115" y="4068"/>
                        </a:lnTo>
                        <a:lnTo>
                          <a:pt x="3156" y="3796"/>
                        </a:lnTo>
                        <a:lnTo>
                          <a:pt x="3183" y="3510"/>
                        </a:lnTo>
                        <a:lnTo>
                          <a:pt x="3211" y="3184"/>
                        </a:lnTo>
                        <a:lnTo>
                          <a:pt x="3197" y="2871"/>
                        </a:lnTo>
                        <a:lnTo>
                          <a:pt x="3183" y="2572"/>
                        </a:lnTo>
                        <a:lnTo>
                          <a:pt x="3143" y="2286"/>
                        </a:lnTo>
                        <a:lnTo>
                          <a:pt x="3102" y="2014"/>
                        </a:lnTo>
                        <a:lnTo>
                          <a:pt x="3034" y="1756"/>
                        </a:lnTo>
                        <a:lnTo>
                          <a:pt x="2966" y="1524"/>
                        </a:lnTo>
                        <a:lnTo>
                          <a:pt x="2884" y="1293"/>
                        </a:lnTo>
                        <a:lnTo>
                          <a:pt x="2789" y="1089"/>
                        </a:lnTo>
                        <a:lnTo>
                          <a:pt x="2694" y="899"/>
                        </a:lnTo>
                        <a:lnTo>
                          <a:pt x="2598" y="722"/>
                        </a:lnTo>
                        <a:lnTo>
                          <a:pt x="2503" y="558"/>
                        </a:lnTo>
                        <a:lnTo>
                          <a:pt x="2299" y="286"/>
                        </a:lnTo>
                        <a:lnTo>
                          <a:pt x="2122" y="69"/>
                        </a:lnTo>
                        <a:lnTo>
                          <a:pt x="1946" y="42"/>
                        </a:lnTo>
                        <a:lnTo>
                          <a:pt x="1769" y="14"/>
                        </a:lnTo>
                        <a:lnTo>
                          <a:pt x="1592"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7" name="Google Shape;1317;p30"/>
                  <p:cNvSpPr/>
                  <p:nvPr/>
                </p:nvSpPr>
                <p:spPr>
                  <a:xfrm>
                    <a:off x="6677392" y="1513238"/>
                    <a:ext cx="689172" cy="420169"/>
                  </a:xfrm>
                  <a:custGeom>
                    <a:avLst/>
                    <a:gdLst/>
                    <a:ahLst/>
                    <a:cxnLst/>
                    <a:rect l="l" t="t" r="r" b="b"/>
                    <a:pathLst>
                      <a:path w="22581" h="13767" extrusionOk="0">
                        <a:moveTo>
                          <a:pt x="6530" y="0"/>
                        </a:moveTo>
                        <a:lnTo>
                          <a:pt x="6176" y="28"/>
                        </a:lnTo>
                        <a:lnTo>
                          <a:pt x="5836" y="82"/>
                        </a:lnTo>
                        <a:lnTo>
                          <a:pt x="5496" y="136"/>
                        </a:lnTo>
                        <a:lnTo>
                          <a:pt x="5169" y="218"/>
                        </a:lnTo>
                        <a:lnTo>
                          <a:pt x="4843" y="313"/>
                        </a:lnTo>
                        <a:lnTo>
                          <a:pt x="4517" y="422"/>
                        </a:lnTo>
                        <a:lnTo>
                          <a:pt x="4204" y="544"/>
                        </a:lnTo>
                        <a:lnTo>
                          <a:pt x="3904" y="680"/>
                        </a:lnTo>
                        <a:lnTo>
                          <a:pt x="3605" y="830"/>
                        </a:lnTo>
                        <a:lnTo>
                          <a:pt x="3320" y="993"/>
                        </a:lnTo>
                        <a:lnTo>
                          <a:pt x="3034" y="1170"/>
                        </a:lnTo>
                        <a:lnTo>
                          <a:pt x="2775" y="1374"/>
                        </a:lnTo>
                        <a:lnTo>
                          <a:pt x="2503" y="1578"/>
                        </a:lnTo>
                        <a:lnTo>
                          <a:pt x="2258" y="1796"/>
                        </a:lnTo>
                        <a:lnTo>
                          <a:pt x="2014" y="2013"/>
                        </a:lnTo>
                        <a:lnTo>
                          <a:pt x="1850" y="2190"/>
                        </a:lnTo>
                        <a:lnTo>
                          <a:pt x="1687" y="2381"/>
                        </a:lnTo>
                        <a:lnTo>
                          <a:pt x="1524" y="2558"/>
                        </a:lnTo>
                        <a:lnTo>
                          <a:pt x="1374" y="2748"/>
                        </a:lnTo>
                        <a:lnTo>
                          <a:pt x="1238" y="2952"/>
                        </a:lnTo>
                        <a:lnTo>
                          <a:pt x="1102" y="3156"/>
                        </a:lnTo>
                        <a:lnTo>
                          <a:pt x="966" y="3360"/>
                        </a:lnTo>
                        <a:lnTo>
                          <a:pt x="844" y="3578"/>
                        </a:lnTo>
                        <a:lnTo>
                          <a:pt x="653" y="3945"/>
                        </a:lnTo>
                        <a:lnTo>
                          <a:pt x="490" y="4340"/>
                        </a:lnTo>
                        <a:lnTo>
                          <a:pt x="341" y="4734"/>
                        </a:lnTo>
                        <a:lnTo>
                          <a:pt x="218" y="5142"/>
                        </a:lnTo>
                        <a:lnTo>
                          <a:pt x="123" y="5564"/>
                        </a:lnTo>
                        <a:lnTo>
                          <a:pt x="55" y="5999"/>
                        </a:lnTo>
                        <a:lnTo>
                          <a:pt x="14" y="6434"/>
                        </a:lnTo>
                        <a:lnTo>
                          <a:pt x="0" y="6883"/>
                        </a:lnTo>
                        <a:lnTo>
                          <a:pt x="0" y="7250"/>
                        </a:lnTo>
                        <a:lnTo>
                          <a:pt x="41" y="7631"/>
                        </a:lnTo>
                        <a:lnTo>
                          <a:pt x="82" y="7999"/>
                        </a:lnTo>
                        <a:lnTo>
                          <a:pt x="164" y="8352"/>
                        </a:lnTo>
                        <a:lnTo>
                          <a:pt x="232" y="8638"/>
                        </a:lnTo>
                        <a:lnTo>
                          <a:pt x="313" y="8924"/>
                        </a:lnTo>
                        <a:lnTo>
                          <a:pt x="409" y="9209"/>
                        </a:lnTo>
                        <a:lnTo>
                          <a:pt x="504" y="9481"/>
                        </a:lnTo>
                        <a:lnTo>
                          <a:pt x="626" y="9740"/>
                        </a:lnTo>
                        <a:lnTo>
                          <a:pt x="749" y="9998"/>
                        </a:lnTo>
                        <a:lnTo>
                          <a:pt x="885" y="10257"/>
                        </a:lnTo>
                        <a:lnTo>
                          <a:pt x="1034" y="10501"/>
                        </a:lnTo>
                        <a:lnTo>
                          <a:pt x="1197" y="10746"/>
                        </a:lnTo>
                        <a:lnTo>
                          <a:pt x="1361" y="10978"/>
                        </a:lnTo>
                        <a:lnTo>
                          <a:pt x="1538" y="11209"/>
                        </a:lnTo>
                        <a:lnTo>
                          <a:pt x="1714" y="11426"/>
                        </a:lnTo>
                        <a:lnTo>
                          <a:pt x="1918" y="11630"/>
                        </a:lnTo>
                        <a:lnTo>
                          <a:pt x="2122" y="11834"/>
                        </a:lnTo>
                        <a:lnTo>
                          <a:pt x="2327" y="12025"/>
                        </a:lnTo>
                        <a:lnTo>
                          <a:pt x="2544" y="12215"/>
                        </a:lnTo>
                        <a:lnTo>
                          <a:pt x="2775" y="12392"/>
                        </a:lnTo>
                        <a:lnTo>
                          <a:pt x="3007" y="12555"/>
                        </a:lnTo>
                        <a:lnTo>
                          <a:pt x="3251" y="12719"/>
                        </a:lnTo>
                        <a:lnTo>
                          <a:pt x="3496" y="12868"/>
                        </a:lnTo>
                        <a:lnTo>
                          <a:pt x="3741" y="13004"/>
                        </a:lnTo>
                        <a:lnTo>
                          <a:pt x="4000" y="13127"/>
                        </a:lnTo>
                        <a:lnTo>
                          <a:pt x="4272" y="13249"/>
                        </a:lnTo>
                        <a:lnTo>
                          <a:pt x="4544" y="13358"/>
                        </a:lnTo>
                        <a:lnTo>
                          <a:pt x="4816" y="13440"/>
                        </a:lnTo>
                        <a:lnTo>
                          <a:pt x="5101" y="13535"/>
                        </a:lnTo>
                        <a:lnTo>
                          <a:pt x="5387" y="13603"/>
                        </a:lnTo>
                        <a:lnTo>
                          <a:pt x="5673" y="13657"/>
                        </a:lnTo>
                        <a:lnTo>
                          <a:pt x="5972" y="13698"/>
                        </a:lnTo>
                        <a:lnTo>
                          <a:pt x="6271" y="13739"/>
                        </a:lnTo>
                        <a:lnTo>
                          <a:pt x="6571" y="13752"/>
                        </a:lnTo>
                        <a:lnTo>
                          <a:pt x="6883" y="13766"/>
                        </a:lnTo>
                        <a:lnTo>
                          <a:pt x="15698" y="13766"/>
                        </a:lnTo>
                        <a:lnTo>
                          <a:pt x="16052" y="13752"/>
                        </a:lnTo>
                        <a:lnTo>
                          <a:pt x="16405" y="13725"/>
                        </a:lnTo>
                        <a:lnTo>
                          <a:pt x="16745" y="13684"/>
                        </a:lnTo>
                        <a:lnTo>
                          <a:pt x="17085" y="13616"/>
                        </a:lnTo>
                        <a:lnTo>
                          <a:pt x="17412" y="13548"/>
                        </a:lnTo>
                        <a:lnTo>
                          <a:pt x="17738" y="13453"/>
                        </a:lnTo>
                        <a:lnTo>
                          <a:pt x="18065" y="13344"/>
                        </a:lnTo>
                        <a:lnTo>
                          <a:pt x="18378" y="13222"/>
                        </a:lnTo>
                        <a:lnTo>
                          <a:pt x="18677" y="13086"/>
                        </a:lnTo>
                        <a:lnTo>
                          <a:pt x="18976" y="12923"/>
                        </a:lnTo>
                        <a:lnTo>
                          <a:pt x="19262" y="12759"/>
                        </a:lnTo>
                        <a:lnTo>
                          <a:pt x="19547" y="12583"/>
                        </a:lnTo>
                        <a:lnTo>
                          <a:pt x="19819" y="12392"/>
                        </a:lnTo>
                        <a:lnTo>
                          <a:pt x="20078" y="12188"/>
                        </a:lnTo>
                        <a:lnTo>
                          <a:pt x="20323" y="11971"/>
                        </a:lnTo>
                        <a:lnTo>
                          <a:pt x="20568" y="11739"/>
                        </a:lnTo>
                        <a:lnTo>
                          <a:pt x="20731" y="11562"/>
                        </a:lnTo>
                        <a:lnTo>
                          <a:pt x="20894" y="11386"/>
                        </a:lnTo>
                        <a:lnTo>
                          <a:pt x="21044" y="11195"/>
                        </a:lnTo>
                        <a:lnTo>
                          <a:pt x="21193" y="11005"/>
                        </a:lnTo>
                        <a:lnTo>
                          <a:pt x="21343" y="10814"/>
                        </a:lnTo>
                        <a:lnTo>
                          <a:pt x="21479" y="10610"/>
                        </a:lnTo>
                        <a:lnTo>
                          <a:pt x="21601" y="10406"/>
                        </a:lnTo>
                        <a:lnTo>
                          <a:pt x="21724" y="10202"/>
                        </a:lnTo>
                        <a:lnTo>
                          <a:pt x="21846" y="9985"/>
                        </a:lnTo>
                        <a:lnTo>
                          <a:pt x="21955" y="9767"/>
                        </a:lnTo>
                        <a:lnTo>
                          <a:pt x="22050" y="9536"/>
                        </a:lnTo>
                        <a:lnTo>
                          <a:pt x="22146" y="9304"/>
                        </a:lnTo>
                        <a:lnTo>
                          <a:pt x="22227" y="9073"/>
                        </a:lnTo>
                        <a:lnTo>
                          <a:pt x="22295" y="8842"/>
                        </a:lnTo>
                        <a:lnTo>
                          <a:pt x="22363" y="8597"/>
                        </a:lnTo>
                        <a:lnTo>
                          <a:pt x="22418" y="8366"/>
                        </a:lnTo>
                        <a:lnTo>
                          <a:pt x="22431" y="8352"/>
                        </a:lnTo>
                        <a:lnTo>
                          <a:pt x="22499" y="7999"/>
                        </a:lnTo>
                        <a:lnTo>
                          <a:pt x="22540" y="7631"/>
                        </a:lnTo>
                        <a:lnTo>
                          <a:pt x="22581" y="7250"/>
                        </a:lnTo>
                        <a:lnTo>
                          <a:pt x="22581" y="6883"/>
                        </a:lnTo>
                        <a:lnTo>
                          <a:pt x="22567" y="6421"/>
                        </a:lnTo>
                        <a:lnTo>
                          <a:pt x="22526" y="5972"/>
                        </a:lnTo>
                        <a:lnTo>
                          <a:pt x="22458" y="5523"/>
                        </a:lnTo>
                        <a:lnTo>
                          <a:pt x="22350" y="5101"/>
                        </a:lnTo>
                        <a:lnTo>
                          <a:pt x="22227" y="4680"/>
                        </a:lnTo>
                        <a:lnTo>
                          <a:pt x="22064" y="4258"/>
                        </a:lnTo>
                        <a:lnTo>
                          <a:pt x="21887" y="3863"/>
                        </a:lnTo>
                        <a:lnTo>
                          <a:pt x="21683" y="3483"/>
                        </a:lnTo>
                        <a:lnTo>
                          <a:pt x="21452" y="3102"/>
                        </a:lnTo>
                        <a:lnTo>
                          <a:pt x="21193" y="2734"/>
                        </a:lnTo>
                        <a:lnTo>
                          <a:pt x="20908" y="2394"/>
                        </a:lnTo>
                        <a:lnTo>
                          <a:pt x="20608" y="2054"/>
                        </a:lnTo>
                        <a:lnTo>
                          <a:pt x="20282" y="1755"/>
                        </a:lnTo>
                        <a:lnTo>
                          <a:pt x="19942" y="1469"/>
                        </a:lnTo>
                        <a:lnTo>
                          <a:pt x="19588" y="1197"/>
                        </a:lnTo>
                        <a:lnTo>
                          <a:pt x="19207" y="966"/>
                        </a:lnTo>
                        <a:lnTo>
                          <a:pt x="18813" y="748"/>
                        </a:lnTo>
                        <a:lnTo>
                          <a:pt x="18405" y="544"/>
                        </a:lnTo>
                        <a:lnTo>
                          <a:pt x="17983" y="381"/>
                        </a:lnTo>
                        <a:lnTo>
                          <a:pt x="17548" y="245"/>
                        </a:lnTo>
                        <a:lnTo>
                          <a:pt x="17099" y="136"/>
                        </a:lnTo>
                        <a:lnTo>
                          <a:pt x="16650" y="55"/>
                        </a:lnTo>
                        <a:lnTo>
                          <a:pt x="16174" y="14"/>
                        </a:lnTo>
                        <a:lnTo>
                          <a:pt x="1594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8" name="Google Shape;1318;p30"/>
                  <p:cNvSpPr/>
                  <p:nvPr/>
                </p:nvSpPr>
                <p:spPr>
                  <a:xfrm>
                    <a:off x="6788243" y="1645667"/>
                    <a:ext cx="458777" cy="121683"/>
                  </a:xfrm>
                  <a:custGeom>
                    <a:avLst/>
                    <a:gdLst/>
                    <a:ahLst/>
                    <a:cxnLst/>
                    <a:rect l="l" t="t" r="r" b="b"/>
                    <a:pathLst>
                      <a:path w="15032" h="3987" extrusionOk="0">
                        <a:moveTo>
                          <a:pt x="1796" y="1"/>
                        </a:moveTo>
                        <a:lnTo>
                          <a:pt x="1592" y="41"/>
                        </a:lnTo>
                        <a:lnTo>
                          <a:pt x="1401" y="82"/>
                        </a:lnTo>
                        <a:lnTo>
                          <a:pt x="1225" y="150"/>
                        </a:lnTo>
                        <a:lnTo>
                          <a:pt x="1048" y="232"/>
                        </a:lnTo>
                        <a:lnTo>
                          <a:pt x="885" y="341"/>
                        </a:lnTo>
                        <a:lnTo>
                          <a:pt x="721" y="449"/>
                        </a:lnTo>
                        <a:lnTo>
                          <a:pt x="585" y="585"/>
                        </a:lnTo>
                        <a:lnTo>
                          <a:pt x="449" y="721"/>
                        </a:lnTo>
                        <a:lnTo>
                          <a:pt x="340" y="871"/>
                        </a:lnTo>
                        <a:lnTo>
                          <a:pt x="245" y="1034"/>
                        </a:lnTo>
                        <a:lnTo>
                          <a:pt x="150" y="1211"/>
                        </a:lnTo>
                        <a:lnTo>
                          <a:pt x="96" y="1402"/>
                        </a:lnTo>
                        <a:lnTo>
                          <a:pt x="41" y="1592"/>
                        </a:lnTo>
                        <a:lnTo>
                          <a:pt x="14" y="1782"/>
                        </a:lnTo>
                        <a:lnTo>
                          <a:pt x="0" y="1986"/>
                        </a:lnTo>
                        <a:lnTo>
                          <a:pt x="14" y="2191"/>
                        </a:lnTo>
                        <a:lnTo>
                          <a:pt x="41" y="2395"/>
                        </a:lnTo>
                        <a:lnTo>
                          <a:pt x="96" y="2585"/>
                        </a:lnTo>
                        <a:lnTo>
                          <a:pt x="150" y="2762"/>
                        </a:lnTo>
                        <a:lnTo>
                          <a:pt x="245" y="2939"/>
                        </a:lnTo>
                        <a:lnTo>
                          <a:pt x="340" y="3102"/>
                        </a:lnTo>
                        <a:lnTo>
                          <a:pt x="449" y="3252"/>
                        </a:lnTo>
                        <a:lnTo>
                          <a:pt x="585" y="3401"/>
                        </a:lnTo>
                        <a:lnTo>
                          <a:pt x="721" y="3524"/>
                        </a:lnTo>
                        <a:lnTo>
                          <a:pt x="885" y="3646"/>
                        </a:lnTo>
                        <a:lnTo>
                          <a:pt x="1048" y="3741"/>
                        </a:lnTo>
                        <a:lnTo>
                          <a:pt x="1225" y="3823"/>
                        </a:lnTo>
                        <a:lnTo>
                          <a:pt x="1401" y="3891"/>
                        </a:lnTo>
                        <a:lnTo>
                          <a:pt x="1592" y="3945"/>
                        </a:lnTo>
                        <a:lnTo>
                          <a:pt x="1796" y="3972"/>
                        </a:lnTo>
                        <a:lnTo>
                          <a:pt x="2000" y="3986"/>
                        </a:lnTo>
                        <a:lnTo>
                          <a:pt x="13045" y="3986"/>
                        </a:lnTo>
                        <a:lnTo>
                          <a:pt x="13249" y="3972"/>
                        </a:lnTo>
                        <a:lnTo>
                          <a:pt x="13440" y="3945"/>
                        </a:lnTo>
                        <a:lnTo>
                          <a:pt x="13630" y="3891"/>
                        </a:lnTo>
                        <a:lnTo>
                          <a:pt x="13821" y="3823"/>
                        </a:lnTo>
                        <a:lnTo>
                          <a:pt x="13997" y="3741"/>
                        </a:lnTo>
                        <a:lnTo>
                          <a:pt x="14161" y="3646"/>
                        </a:lnTo>
                        <a:lnTo>
                          <a:pt x="14310" y="3524"/>
                        </a:lnTo>
                        <a:lnTo>
                          <a:pt x="14446" y="3401"/>
                        </a:lnTo>
                        <a:lnTo>
                          <a:pt x="14582" y="3252"/>
                        </a:lnTo>
                        <a:lnTo>
                          <a:pt x="14691" y="3102"/>
                        </a:lnTo>
                        <a:lnTo>
                          <a:pt x="14800" y="2939"/>
                        </a:lnTo>
                        <a:lnTo>
                          <a:pt x="14882" y="2762"/>
                        </a:lnTo>
                        <a:lnTo>
                          <a:pt x="14950" y="2585"/>
                        </a:lnTo>
                        <a:lnTo>
                          <a:pt x="15004" y="2395"/>
                        </a:lnTo>
                        <a:lnTo>
                          <a:pt x="15031" y="2191"/>
                        </a:lnTo>
                        <a:lnTo>
                          <a:pt x="15031" y="1986"/>
                        </a:lnTo>
                        <a:lnTo>
                          <a:pt x="15031" y="1782"/>
                        </a:lnTo>
                        <a:lnTo>
                          <a:pt x="15004" y="1592"/>
                        </a:lnTo>
                        <a:lnTo>
                          <a:pt x="14950" y="1402"/>
                        </a:lnTo>
                        <a:lnTo>
                          <a:pt x="14882" y="1211"/>
                        </a:lnTo>
                        <a:lnTo>
                          <a:pt x="14800" y="1034"/>
                        </a:lnTo>
                        <a:lnTo>
                          <a:pt x="14691" y="871"/>
                        </a:lnTo>
                        <a:lnTo>
                          <a:pt x="14582" y="721"/>
                        </a:lnTo>
                        <a:lnTo>
                          <a:pt x="14446" y="585"/>
                        </a:lnTo>
                        <a:lnTo>
                          <a:pt x="14310" y="449"/>
                        </a:lnTo>
                        <a:lnTo>
                          <a:pt x="14161" y="341"/>
                        </a:lnTo>
                        <a:lnTo>
                          <a:pt x="13997" y="232"/>
                        </a:lnTo>
                        <a:lnTo>
                          <a:pt x="13821" y="150"/>
                        </a:lnTo>
                        <a:lnTo>
                          <a:pt x="13630" y="82"/>
                        </a:lnTo>
                        <a:lnTo>
                          <a:pt x="13440" y="41"/>
                        </a:lnTo>
                        <a:lnTo>
                          <a:pt x="1324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9" name="Google Shape;1319;p30"/>
                  <p:cNvSpPr/>
                  <p:nvPr/>
                </p:nvSpPr>
                <p:spPr>
                  <a:xfrm>
                    <a:off x="6836801" y="1669748"/>
                    <a:ext cx="73523" cy="73523"/>
                  </a:xfrm>
                  <a:custGeom>
                    <a:avLst/>
                    <a:gdLst/>
                    <a:ahLst/>
                    <a:cxnLst/>
                    <a:rect l="l" t="t" r="r" b="b"/>
                    <a:pathLst>
                      <a:path w="2409" h="2409" extrusionOk="0">
                        <a:moveTo>
                          <a:pt x="1089" y="0"/>
                        </a:moveTo>
                        <a:lnTo>
                          <a:pt x="967" y="14"/>
                        </a:lnTo>
                        <a:lnTo>
                          <a:pt x="858" y="41"/>
                        </a:lnTo>
                        <a:lnTo>
                          <a:pt x="749" y="82"/>
                        </a:lnTo>
                        <a:lnTo>
                          <a:pt x="640" y="136"/>
                        </a:lnTo>
                        <a:lnTo>
                          <a:pt x="545" y="191"/>
                        </a:lnTo>
                        <a:lnTo>
                          <a:pt x="450" y="273"/>
                        </a:lnTo>
                        <a:lnTo>
                          <a:pt x="355" y="354"/>
                        </a:lnTo>
                        <a:lnTo>
                          <a:pt x="273" y="436"/>
                        </a:lnTo>
                        <a:lnTo>
                          <a:pt x="191" y="545"/>
                        </a:lnTo>
                        <a:lnTo>
                          <a:pt x="137" y="640"/>
                        </a:lnTo>
                        <a:lnTo>
                          <a:pt x="82" y="749"/>
                        </a:lnTo>
                        <a:lnTo>
                          <a:pt x="55" y="857"/>
                        </a:lnTo>
                        <a:lnTo>
                          <a:pt x="14" y="966"/>
                        </a:lnTo>
                        <a:lnTo>
                          <a:pt x="1" y="1089"/>
                        </a:lnTo>
                        <a:lnTo>
                          <a:pt x="1" y="1197"/>
                        </a:lnTo>
                        <a:lnTo>
                          <a:pt x="1" y="1320"/>
                        </a:lnTo>
                        <a:lnTo>
                          <a:pt x="14" y="1429"/>
                        </a:lnTo>
                        <a:lnTo>
                          <a:pt x="55" y="1538"/>
                        </a:lnTo>
                        <a:lnTo>
                          <a:pt x="82" y="1660"/>
                        </a:lnTo>
                        <a:lnTo>
                          <a:pt x="137" y="1755"/>
                        </a:lnTo>
                        <a:lnTo>
                          <a:pt x="191" y="1864"/>
                        </a:lnTo>
                        <a:lnTo>
                          <a:pt x="273" y="1959"/>
                        </a:lnTo>
                        <a:lnTo>
                          <a:pt x="355" y="2054"/>
                        </a:lnTo>
                        <a:lnTo>
                          <a:pt x="450" y="2136"/>
                        </a:lnTo>
                        <a:lnTo>
                          <a:pt x="545" y="2204"/>
                        </a:lnTo>
                        <a:lnTo>
                          <a:pt x="640" y="2272"/>
                        </a:lnTo>
                        <a:lnTo>
                          <a:pt x="749" y="2313"/>
                        </a:lnTo>
                        <a:lnTo>
                          <a:pt x="858" y="2354"/>
                        </a:lnTo>
                        <a:lnTo>
                          <a:pt x="967" y="2381"/>
                        </a:lnTo>
                        <a:lnTo>
                          <a:pt x="1089" y="2394"/>
                        </a:lnTo>
                        <a:lnTo>
                          <a:pt x="1198" y="2408"/>
                        </a:lnTo>
                        <a:lnTo>
                          <a:pt x="1320" y="2394"/>
                        </a:lnTo>
                        <a:lnTo>
                          <a:pt x="1429" y="2381"/>
                        </a:lnTo>
                        <a:lnTo>
                          <a:pt x="1552" y="2354"/>
                        </a:lnTo>
                        <a:lnTo>
                          <a:pt x="1660" y="2313"/>
                        </a:lnTo>
                        <a:lnTo>
                          <a:pt x="1756" y="2272"/>
                        </a:lnTo>
                        <a:lnTo>
                          <a:pt x="1864" y="2204"/>
                        </a:lnTo>
                        <a:lnTo>
                          <a:pt x="1960" y="2136"/>
                        </a:lnTo>
                        <a:lnTo>
                          <a:pt x="2055" y="2054"/>
                        </a:lnTo>
                        <a:lnTo>
                          <a:pt x="2136" y="1959"/>
                        </a:lnTo>
                        <a:lnTo>
                          <a:pt x="2204" y="1864"/>
                        </a:lnTo>
                        <a:lnTo>
                          <a:pt x="2273" y="1755"/>
                        </a:lnTo>
                        <a:lnTo>
                          <a:pt x="2313" y="1660"/>
                        </a:lnTo>
                        <a:lnTo>
                          <a:pt x="2354" y="1538"/>
                        </a:lnTo>
                        <a:lnTo>
                          <a:pt x="2381" y="1429"/>
                        </a:lnTo>
                        <a:lnTo>
                          <a:pt x="2395" y="1320"/>
                        </a:lnTo>
                        <a:lnTo>
                          <a:pt x="2409" y="1197"/>
                        </a:lnTo>
                        <a:lnTo>
                          <a:pt x="2395" y="1089"/>
                        </a:lnTo>
                        <a:lnTo>
                          <a:pt x="2381" y="966"/>
                        </a:lnTo>
                        <a:lnTo>
                          <a:pt x="2354" y="857"/>
                        </a:lnTo>
                        <a:lnTo>
                          <a:pt x="2313" y="749"/>
                        </a:lnTo>
                        <a:lnTo>
                          <a:pt x="2273" y="640"/>
                        </a:lnTo>
                        <a:lnTo>
                          <a:pt x="2204" y="545"/>
                        </a:lnTo>
                        <a:lnTo>
                          <a:pt x="2136" y="436"/>
                        </a:lnTo>
                        <a:lnTo>
                          <a:pt x="2055" y="354"/>
                        </a:lnTo>
                        <a:lnTo>
                          <a:pt x="1960" y="273"/>
                        </a:lnTo>
                        <a:lnTo>
                          <a:pt x="1864" y="191"/>
                        </a:lnTo>
                        <a:lnTo>
                          <a:pt x="1756" y="136"/>
                        </a:lnTo>
                        <a:lnTo>
                          <a:pt x="1660" y="82"/>
                        </a:lnTo>
                        <a:lnTo>
                          <a:pt x="1552" y="41"/>
                        </a:lnTo>
                        <a:lnTo>
                          <a:pt x="1429" y="14"/>
                        </a:lnTo>
                        <a:lnTo>
                          <a:pt x="132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p30"/>
                  <p:cNvSpPr/>
                  <p:nvPr/>
                </p:nvSpPr>
                <p:spPr>
                  <a:xfrm>
                    <a:off x="6847605" y="1680552"/>
                    <a:ext cx="62719" cy="62719"/>
                  </a:xfrm>
                  <a:custGeom>
                    <a:avLst/>
                    <a:gdLst/>
                    <a:ahLst/>
                    <a:cxnLst/>
                    <a:rect l="l" t="t" r="r" b="b"/>
                    <a:pathLst>
                      <a:path w="2055" h="2055" extrusionOk="0">
                        <a:moveTo>
                          <a:pt x="1701" y="0"/>
                        </a:moveTo>
                        <a:lnTo>
                          <a:pt x="1" y="1700"/>
                        </a:lnTo>
                        <a:lnTo>
                          <a:pt x="96" y="1782"/>
                        </a:lnTo>
                        <a:lnTo>
                          <a:pt x="191" y="1850"/>
                        </a:lnTo>
                        <a:lnTo>
                          <a:pt x="286" y="1918"/>
                        </a:lnTo>
                        <a:lnTo>
                          <a:pt x="395" y="1959"/>
                        </a:lnTo>
                        <a:lnTo>
                          <a:pt x="504" y="2000"/>
                        </a:lnTo>
                        <a:lnTo>
                          <a:pt x="613" y="2027"/>
                        </a:lnTo>
                        <a:lnTo>
                          <a:pt x="735" y="2040"/>
                        </a:lnTo>
                        <a:lnTo>
                          <a:pt x="844" y="2054"/>
                        </a:lnTo>
                        <a:lnTo>
                          <a:pt x="966" y="2040"/>
                        </a:lnTo>
                        <a:lnTo>
                          <a:pt x="1075" y="2027"/>
                        </a:lnTo>
                        <a:lnTo>
                          <a:pt x="1198" y="2000"/>
                        </a:lnTo>
                        <a:lnTo>
                          <a:pt x="1306" y="1959"/>
                        </a:lnTo>
                        <a:lnTo>
                          <a:pt x="1402" y="1918"/>
                        </a:lnTo>
                        <a:lnTo>
                          <a:pt x="1510" y="1850"/>
                        </a:lnTo>
                        <a:lnTo>
                          <a:pt x="1606" y="1782"/>
                        </a:lnTo>
                        <a:lnTo>
                          <a:pt x="1701" y="1700"/>
                        </a:lnTo>
                        <a:lnTo>
                          <a:pt x="1782" y="1605"/>
                        </a:lnTo>
                        <a:lnTo>
                          <a:pt x="1850" y="1510"/>
                        </a:lnTo>
                        <a:lnTo>
                          <a:pt x="1919" y="1401"/>
                        </a:lnTo>
                        <a:lnTo>
                          <a:pt x="1959" y="1306"/>
                        </a:lnTo>
                        <a:lnTo>
                          <a:pt x="2000" y="1184"/>
                        </a:lnTo>
                        <a:lnTo>
                          <a:pt x="2027" y="1075"/>
                        </a:lnTo>
                        <a:lnTo>
                          <a:pt x="2041" y="966"/>
                        </a:lnTo>
                        <a:lnTo>
                          <a:pt x="2055" y="843"/>
                        </a:lnTo>
                        <a:lnTo>
                          <a:pt x="2041" y="735"/>
                        </a:lnTo>
                        <a:lnTo>
                          <a:pt x="2027" y="612"/>
                        </a:lnTo>
                        <a:lnTo>
                          <a:pt x="2000" y="503"/>
                        </a:lnTo>
                        <a:lnTo>
                          <a:pt x="1959" y="395"/>
                        </a:lnTo>
                        <a:lnTo>
                          <a:pt x="1919" y="286"/>
                        </a:lnTo>
                        <a:lnTo>
                          <a:pt x="1850" y="191"/>
                        </a:lnTo>
                        <a:lnTo>
                          <a:pt x="1782" y="82"/>
                        </a:lnTo>
                        <a:lnTo>
                          <a:pt x="1701" y="0"/>
                        </a:lnTo>
                        <a:close/>
                      </a:path>
                    </a:pathLst>
                  </a:custGeom>
                  <a:solidFill>
                    <a:srgbClr val="DFDF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30"/>
                  <p:cNvSpPr/>
                  <p:nvPr/>
                </p:nvSpPr>
                <p:spPr>
                  <a:xfrm>
                    <a:off x="7133643" y="1669748"/>
                    <a:ext cx="73523" cy="73523"/>
                  </a:xfrm>
                  <a:custGeom>
                    <a:avLst/>
                    <a:gdLst/>
                    <a:ahLst/>
                    <a:cxnLst/>
                    <a:rect l="l" t="t" r="r" b="b"/>
                    <a:pathLst>
                      <a:path w="2409" h="2409" extrusionOk="0">
                        <a:moveTo>
                          <a:pt x="1089" y="0"/>
                        </a:moveTo>
                        <a:lnTo>
                          <a:pt x="980" y="14"/>
                        </a:lnTo>
                        <a:lnTo>
                          <a:pt x="871" y="41"/>
                        </a:lnTo>
                        <a:lnTo>
                          <a:pt x="762" y="82"/>
                        </a:lnTo>
                        <a:lnTo>
                          <a:pt x="654" y="136"/>
                        </a:lnTo>
                        <a:lnTo>
                          <a:pt x="545" y="191"/>
                        </a:lnTo>
                        <a:lnTo>
                          <a:pt x="450" y="273"/>
                        </a:lnTo>
                        <a:lnTo>
                          <a:pt x="354" y="354"/>
                        </a:lnTo>
                        <a:lnTo>
                          <a:pt x="273" y="436"/>
                        </a:lnTo>
                        <a:lnTo>
                          <a:pt x="205" y="545"/>
                        </a:lnTo>
                        <a:lnTo>
                          <a:pt x="150" y="640"/>
                        </a:lnTo>
                        <a:lnTo>
                          <a:pt x="96" y="749"/>
                        </a:lnTo>
                        <a:lnTo>
                          <a:pt x="55" y="857"/>
                        </a:lnTo>
                        <a:lnTo>
                          <a:pt x="28" y="966"/>
                        </a:lnTo>
                        <a:lnTo>
                          <a:pt x="14" y="1089"/>
                        </a:lnTo>
                        <a:lnTo>
                          <a:pt x="1" y="1197"/>
                        </a:lnTo>
                        <a:lnTo>
                          <a:pt x="14" y="1320"/>
                        </a:lnTo>
                        <a:lnTo>
                          <a:pt x="28" y="1429"/>
                        </a:lnTo>
                        <a:lnTo>
                          <a:pt x="55" y="1538"/>
                        </a:lnTo>
                        <a:lnTo>
                          <a:pt x="96" y="1660"/>
                        </a:lnTo>
                        <a:lnTo>
                          <a:pt x="150" y="1755"/>
                        </a:lnTo>
                        <a:lnTo>
                          <a:pt x="205" y="1864"/>
                        </a:lnTo>
                        <a:lnTo>
                          <a:pt x="273" y="1959"/>
                        </a:lnTo>
                        <a:lnTo>
                          <a:pt x="354" y="2054"/>
                        </a:lnTo>
                        <a:lnTo>
                          <a:pt x="450" y="2136"/>
                        </a:lnTo>
                        <a:lnTo>
                          <a:pt x="545" y="2204"/>
                        </a:lnTo>
                        <a:lnTo>
                          <a:pt x="654" y="2272"/>
                        </a:lnTo>
                        <a:lnTo>
                          <a:pt x="762" y="2313"/>
                        </a:lnTo>
                        <a:lnTo>
                          <a:pt x="871" y="2354"/>
                        </a:lnTo>
                        <a:lnTo>
                          <a:pt x="980" y="2381"/>
                        </a:lnTo>
                        <a:lnTo>
                          <a:pt x="1089" y="2394"/>
                        </a:lnTo>
                        <a:lnTo>
                          <a:pt x="1211" y="2408"/>
                        </a:lnTo>
                        <a:lnTo>
                          <a:pt x="1320" y="2394"/>
                        </a:lnTo>
                        <a:lnTo>
                          <a:pt x="1443" y="2381"/>
                        </a:lnTo>
                        <a:lnTo>
                          <a:pt x="1551" y="2354"/>
                        </a:lnTo>
                        <a:lnTo>
                          <a:pt x="1660" y="2313"/>
                        </a:lnTo>
                        <a:lnTo>
                          <a:pt x="1769" y="2272"/>
                        </a:lnTo>
                        <a:lnTo>
                          <a:pt x="1878" y="2204"/>
                        </a:lnTo>
                        <a:lnTo>
                          <a:pt x="1973" y="2136"/>
                        </a:lnTo>
                        <a:lnTo>
                          <a:pt x="2055" y="2054"/>
                        </a:lnTo>
                        <a:lnTo>
                          <a:pt x="2136" y="1959"/>
                        </a:lnTo>
                        <a:lnTo>
                          <a:pt x="2218" y="1864"/>
                        </a:lnTo>
                        <a:lnTo>
                          <a:pt x="2272" y="1755"/>
                        </a:lnTo>
                        <a:lnTo>
                          <a:pt x="2327" y="1660"/>
                        </a:lnTo>
                        <a:lnTo>
                          <a:pt x="2368" y="1538"/>
                        </a:lnTo>
                        <a:lnTo>
                          <a:pt x="2395" y="1429"/>
                        </a:lnTo>
                        <a:lnTo>
                          <a:pt x="2408" y="1320"/>
                        </a:lnTo>
                        <a:lnTo>
                          <a:pt x="2408" y="1197"/>
                        </a:lnTo>
                        <a:lnTo>
                          <a:pt x="2408" y="1089"/>
                        </a:lnTo>
                        <a:lnTo>
                          <a:pt x="2395" y="966"/>
                        </a:lnTo>
                        <a:lnTo>
                          <a:pt x="2368" y="857"/>
                        </a:lnTo>
                        <a:lnTo>
                          <a:pt x="2327" y="749"/>
                        </a:lnTo>
                        <a:lnTo>
                          <a:pt x="2272" y="640"/>
                        </a:lnTo>
                        <a:lnTo>
                          <a:pt x="2218" y="545"/>
                        </a:lnTo>
                        <a:lnTo>
                          <a:pt x="2136" y="436"/>
                        </a:lnTo>
                        <a:lnTo>
                          <a:pt x="2055" y="354"/>
                        </a:lnTo>
                        <a:lnTo>
                          <a:pt x="1973" y="273"/>
                        </a:lnTo>
                        <a:lnTo>
                          <a:pt x="1878" y="191"/>
                        </a:lnTo>
                        <a:lnTo>
                          <a:pt x="1769" y="136"/>
                        </a:lnTo>
                        <a:lnTo>
                          <a:pt x="1660" y="82"/>
                        </a:lnTo>
                        <a:lnTo>
                          <a:pt x="1551" y="41"/>
                        </a:lnTo>
                        <a:lnTo>
                          <a:pt x="1443" y="14"/>
                        </a:lnTo>
                        <a:lnTo>
                          <a:pt x="132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30"/>
                  <p:cNvSpPr/>
                  <p:nvPr/>
                </p:nvSpPr>
                <p:spPr>
                  <a:xfrm>
                    <a:off x="7144448" y="1680552"/>
                    <a:ext cx="62719" cy="62719"/>
                  </a:xfrm>
                  <a:custGeom>
                    <a:avLst/>
                    <a:gdLst/>
                    <a:ahLst/>
                    <a:cxnLst/>
                    <a:rect l="l" t="t" r="r" b="b"/>
                    <a:pathLst>
                      <a:path w="2055" h="2055" extrusionOk="0">
                        <a:moveTo>
                          <a:pt x="1701" y="0"/>
                        </a:moveTo>
                        <a:lnTo>
                          <a:pt x="0" y="1700"/>
                        </a:lnTo>
                        <a:lnTo>
                          <a:pt x="96" y="1782"/>
                        </a:lnTo>
                        <a:lnTo>
                          <a:pt x="191" y="1850"/>
                        </a:lnTo>
                        <a:lnTo>
                          <a:pt x="300" y="1918"/>
                        </a:lnTo>
                        <a:lnTo>
                          <a:pt x="408" y="1959"/>
                        </a:lnTo>
                        <a:lnTo>
                          <a:pt x="517" y="2000"/>
                        </a:lnTo>
                        <a:lnTo>
                          <a:pt x="626" y="2027"/>
                        </a:lnTo>
                        <a:lnTo>
                          <a:pt x="735" y="2040"/>
                        </a:lnTo>
                        <a:lnTo>
                          <a:pt x="857" y="2054"/>
                        </a:lnTo>
                        <a:lnTo>
                          <a:pt x="966" y="2040"/>
                        </a:lnTo>
                        <a:lnTo>
                          <a:pt x="1089" y="2027"/>
                        </a:lnTo>
                        <a:lnTo>
                          <a:pt x="1197" y="2000"/>
                        </a:lnTo>
                        <a:lnTo>
                          <a:pt x="1306" y="1959"/>
                        </a:lnTo>
                        <a:lnTo>
                          <a:pt x="1415" y="1918"/>
                        </a:lnTo>
                        <a:lnTo>
                          <a:pt x="1524" y="1850"/>
                        </a:lnTo>
                        <a:lnTo>
                          <a:pt x="1619" y="1782"/>
                        </a:lnTo>
                        <a:lnTo>
                          <a:pt x="1701" y="1700"/>
                        </a:lnTo>
                        <a:lnTo>
                          <a:pt x="1782" y="1605"/>
                        </a:lnTo>
                        <a:lnTo>
                          <a:pt x="1864" y="1510"/>
                        </a:lnTo>
                        <a:lnTo>
                          <a:pt x="1918" y="1401"/>
                        </a:lnTo>
                        <a:lnTo>
                          <a:pt x="1973" y="1306"/>
                        </a:lnTo>
                        <a:lnTo>
                          <a:pt x="2014" y="1184"/>
                        </a:lnTo>
                        <a:lnTo>
                          <a:pt x="2041" y="1075"/>
                        </a:lnTo>
                        <a:lnTo>
                          <a:pt x="2054" y="966"/>
                        </a:lnTo>
                        <a:lnTo>
                          <a:pt x="2054" y="843"/>
                        </a:lnTo>
                        <a:lnTo>
                          <a:pt x="2054" y="735"/>
                        </a:lnTo>
                        <a:lnTo>
                          <a:pt x="2041" y="612"/>
                        </a:lnTo>
                        <a:lnTo>
                          <a:pt x="2014" y="503"/>
                        </a:lnTo>
                        <a:lnTo>
                          <a:pt x="1973" y="395"/>
                        </a:lnTo>
                        <a:lnTo>
                          <a:pt x="1918" y="286"/>
                        </a:lnTo>
                        <a:lnTo>
                          <a:pt x="1864" y="191"/>
                        </a:lnTo>
                        <a:lnTo>
                          <a:pt x="1782" y="82"/>
                        </a:lnTo>
                        <a:lnTo>
                          <a:pt x="1701" y="0"/>
                        </a:lnTo>
                        <a:close/>
                      </a:path>
                    </a:pathLst>
                  </a:custGeom>
                  <a:solidFill>
                    <a:srgbClr val="DFDF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3" name="Google Shape;1323;p30"/>
                  <p:cNvSpPr/>
                  <p:nvPr/>
                </p:nvSpPr>
                <p:spPr>
                  <a:xfrm>
                    <a:off x="6869611" y="1812157"/>
                    <a:ext cx="287743" cy="66869"/>
                  </a:xfrm>
                  <a:custGeom>
                    <a:avLst/>
                    <a:gdLst/>
                    <a:ahLst/>
                    <a:cxnLst/>
                    <a:rect l="l" t="t" r="r" b="b"/>
                    <a:pathLst>
                      <a:path w="9428" h="2191" extrusionOk="0">
                        <a:moveTo>
                          <a:pt x="1061" y="0"/>
                        </a:moveTo>
                        <a:lnTo>
                          <a:pt x="953" y="14"/>
                        </a:lnTo>
                        <a:lnTo>
                          <a:pt x="844" y="27"/>
                        </a:lnTo>
                        <a:lnTo>
                          <a:pt x="749" y="55"/>
                        </a:lnTo>
                        <a:lnTo>
                          <a:pt x="653" y="95"/>
                        </a:lnTo>
                        <a:lnTo>
                          <a:pt x="558" y="136"/>
                        </a:lnTo>
                        <a:lnTo>
                          <a:pt x="463" y="191"/>
                        </a:lnTo>
                        <a:lnTo>
                          <a:pt x="381" y="245"/>
                        </a:lnTo>
                        <a:lnTo>
                          <a:pt x="313" y="313"/>
                        </a:lnTo>
                        <a:lnTo>
                          <a:pt x="245" y="395"/>
                        </a:lnTo>
                        <a:lnTo>
                          <a:pt x="177" y="476"/>
                        </a:lnTo>
                        <a:lnTo>
                          <a:pt x="136" y="558"/>
                        </a:lnTo>
                        <a:lnTo>
                          <a:pt x="82" y="653"/>
                        </a:lnTo>
                        <a:lnTo>
                          <a:pt x="55" y="748"/>
                        </a:lnTo>
                        <a:lnTo>
                          <a:pt x="28" y="857"/>
                        </a:lnTo>
                        <a:lnTo>
                          <a:pt x="14" y="952"/>
                        </a:lnTo>
                        <a:lnTo>
                          <a:pt x="0" y="1061"/>
                        </a:lnTo>
                        <a:lnTo>
                          <a:pt x="0" y="1129"/>
                        </a:lnTo>
                        <a:lnTo>
                          <a:pt x="14" y="1238"/>
                        </a:lnTo>
                        <a:lnTo>
                          <a:pt x="28" y="1347"/>
                        </a:lnTo>
                        <a:lnTo>
                          <a:pt x="55" y="1456"/>
                        </a:lnTo>
                        <a:lnTo>
                          <a:pt x="82" y="1551"/>
                        </a:lnTo>
                        <a:lnTo>
                          <a:pt x="136" y="1632"/>
                        </a:lnTo>
                        <a:lnTo>
                          <a:pt x="177" y="1728"/>
                        </a:lnTo>
                        <a:lnTo>
                          <a:pt x="245" y="1809"/>
                        </a:lnTo>
                        <a:lnTo>
                          <a:pt x="313" y="1877"/>
                        </a:lnTo>
                        <a:lnTo>
                          <a:pt x="381" y="1945"/>
                        </a:lnTo>
                        <a:lnTo>
                          <a:pt x="463" y="2013"/>
                        </a:lnTo>
                        <a:lnTo>
                          <a:pt x="558" y="2068"/>
                        </a:lnTo>
                        <a:lnTo>
                          <a:pt x="653" y="2109"/>
                        </a:lnTo>
                        <a:lnTo>
                          <a:pt x="749" y="2149"/>
                        </a:lnTo>
                        <a:lnTo>
                          <a:pt x="844" y="2177"/>
                        </a:lnTo>
                        <a:lnTo>
                          <a:pt x="953" y="2190"/>
                        </a:lnTo>
                        <a:lnTo>
                          <a:pt x="8475" y="2190"/>
                        </a:lnTo>
                        <a:lnTo>
                          <a:pt x="8584" y="2177"/>
                        </a:lnTo>
                        <a:lnTo>
                          <a:pt x="8679" y="2149"/>
                        </a:lnTo>
                        <a:lnTo>
                          <a:pt x="8774" y="2109"/>
                        </a:lnTo>
                        <a:lnTo>
                          <a:pt x="8869" y="2068"/>
                        </a:lnTo>
                        <a:lnTo>
                          <a:pt x="8951" y="2013"/>
                        </a:lnTo>
                        <a:lnTo>
                          <a:pt x="9033" y="1945"/>
                        </a:lnTo>
                        <a:lnTo>
                          <a:pt x="9114" y="1877"/>
                        </a:lnTo>
                        <a:lnTo>
                          <a:pt x="9182" y="1809"/>
                        </a:lnTo>
                        <a:lnTo>
                          <a:pt x="9237" y="1728"/>
                        </a:lnTo>
                        <a:lnTo>
                          <a:pt x="9291" y="1632"/>
                        </a:lnTo>
                        <a:lnTo>
                          <a:pt x="9345" y="1551"/>
                        </a:lnTo>
                        <a:lnTo>
                          <a:pt x="9373" y="1456"/>
                        </a:lnTo>
                        <a:lnTo>
                          <a:pt x="9400" y="1347"/>
                        </a:lnTo>
                        <a:lnTo>
                          <a:pt x="9413" y="1238"/>
                        </a:lnTo>
                        <a:lnTo>
                          <a:pt x="9427" y="1129"/>
                        </a:lnTo>
                        <a:lnTo>
                          <a:pt x="9427" y="1061"/>
                        </a:lnTo>
                        <a:lnTo>
                          <a:pt x="9413" y="952"/>
                        </a:lnTo>
                        <a:lnTo>
                          <a:pt x="9400" y="857"/>
                        </a:lnTo>
                        <a:lnTo>
                          <a:pt x="9373" y="748"/>
                        </a:lnTo>
                        <a:lnTo>
                          <a:pt x="9345" y="653"/>
                        </a:lnTo>
                        <a:lnTo>
                          <a:pt x="9291" y="558"/>
                        </a:lnTo>
                        <a:lnTo>
                          <a:pt x="9237" y="476"/>
                        </a:lnTo>
                        <a:lnTo>
                          <a:pt x="9182" y="395"/>
                        </a:lnTo>
                        <a:lnTo>
                          <a:pt x="9114" y="313"/>
                        </a:lnTo>
                        <a:lnTo>
                          <a:pt x="9033" y="245"/>
                        </a:lnTo>
                        <a:lnTo>
                          <a:pt x="8951" y="191"/>
                        </a:lnTo>
                        <a:lnTo>
                          <a:pt x="8869" y="136"/>
                        </a:lnTo>
                        <a:lnTo>
                          <a:pt x="8774" y="95"/>
                        </a:lnTo>
                        <a:lnTo>
                          <a:pt x="8679" y="55"/>
                        </a:lnTo>
                        <a:lnTo>
                          <a:pt x="8584" y="27"/>
                        </a:lnTo>
                        <a:lnTo>
                          <a:pt x="8475" y="14"/>
                        </a:lnTo>
                        <a:lnTo>
                          <a:pt x="8366" y="0"/>
                        </a:lnTo>
                        <a:close/>
                      </a:path>
                    </a:pathLst>
                  </a:custGeom>
                  <a:solidFill>
                    <a:srgbClr val="D5DB1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4" name="Google Shape;1324;p30"/>
                  <p:cNvSpPr/>
                  <p:nvPr/>
                </p:nvSpPr>
                <p:spPr>
                  <a:xfrm>
                    <a:off x="6892867" y="1828333"/>
                    <a:ext cx="240803" cy="34915"/>
                  </a:xfrm>
                  <a:custGeom>
                    <a:avLst/>
                    <a:gdLst/>
                    <a:ahLst/>
                    <a:cxnLst/>
                    <a:rect l="l" t="t" r="r" b="b"/>
                    <a:pathLst>
                      <a:path w="7890" h="1144" extrusionOk="0">
                        <a:moveTo>
                          <a:pt x="463" y="1"/>
                        </a:moveTo>
                        <a:lnTo>
                          <a:pt x="354" y="41"/>
                        </a:lnTo>
                        <a:lnTo>
                          <a:pt x="259" y="96"/>
                        </a:lnTo>
                        <a:lnTo>
                          <a:pt x="177" y="164"/>
                        </a:lnTo>
                        <a:lnTo>
                          <a:pt x="109" y="245"/>
                        </a:lnTo>
                        <a:lnTo>
                          <a:pt x="55" y="341"/>
                        </a:lnTo>
                        <a:lnTo>
                          <a:pt x="14" y="449"/>
                        </a:lnTo>
                        <a:lnTo>
                          <a:pt x="0" y="572"/>
                        </a:lnTo>
                        <a:lnTo>
                          <a:pt x="14" y="667"/>
                        </a:lnTo>
                        <a:lnTo>
                          <a:pt x="41" y="762"/>
                        </a:lnTo>
                        <a:lnTo>
                          <a:pt x="82" y="858"/>
                        </a:lnTo>
                        <a:lnTo>
                          <a:pt x="136" y="939"/>
                        </a:lnTo>
                        <a:lnTo>
                          <a:pt x="204" y="1007"/>
                        </a:lnTo>
                        <a:lnTo>
                          <a:pt x="286" y="1062"/>
                        </a:lnTo>
                        <a:lnTo>
                          <a:pt x="381" y="1102"/>
                        </a:lnTo>
                        <a:lnTo>
                          <a:pt x="476" y="1130"/>
                        </a:lnTo>
                        <a:lnTo>
                          <a:pt x="585" y="1143"/>
                        </a:lnTo>
                        <a:lnTo>
                          <a:pt x="7318" y="1143"/>
                        </a:lnTo>
                        <a:lnTo>
                          <a:pt x="7441" y="1130"/>
                        </a:lnTo>
                        <a:lnTo>
                          <a:pt x="7550" y="1102"/>
                        </a:lnTo>
                        <a:lnTo>
                          <a:pt x="7645" y="1048"/>
                        </a:lnTo>
                        <a:lnTo>
                          <a:pt x="7727" y="980"/>
                        </a:lnTo>
                        <a:lnTo>
                          <a:pt x="7781" y="912"/>
                        </a:lnTo>
                        <a:lnTo>
                          <a:pt x="7835" y="830"/>
                        </a:lnTo>
                        <a:lnTo>
                          <a:pt x="7863" y="762"/>
                        </a:lnTo>
                        <a:lnTo>
                          <a:pt x="7890" y="667"/>
                        </a:lnTo>
                        <a:lnTo>
                          <a:pt x="7890" y="572"/>
                        </a:lnTo>
                        <a:lnTo>
                          <a:pt x="7890" y="449"/>
                        </a:lnTo>
                        <a:lnTo>
                          <a:pt x="7849" y="341"/>
                        </a:lnTo>
                        <a:lnTo>
                          <a:pt x="7795" y="245"/>
                        </a:lnTo>
                        <a:lnTo>
                          <a:pt x="7727" y="164"/>
                        </a:lnTo>
                        <a:lnTo>
                          <a:pt x="7645" y="96"/>
                        </a:lnTo>
                        <a:lnTo>
                          <a:pt x="7550" y="41"/>
                        </a:lnTo>
                        <a:lnTo>
                          <a:pt x="7441"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5" name="Google Shape;1325;p30"/>
                  <p:cNvSpPr/>
                  <p:nvPr/>
                </p:nvSpPr>
                <p:spPr>
                  <a:xfrm>
                    <a:off x="6963430" y="1933384"/>
                    <a:ext cx="117105" cy="92598"/>
                  </a:xfrm>
                  <a:custGeom>
                    <a:avLst/>
                    <a:gdLst/>
                    <a:ahLst/>
                    <a:cxnLst/>
                    <a:rect l="l" t="t" r="r" b="b"/>
                    <a:pathLst>
                      <a:path w="3837" h="3034" extrusionOk="0">
                        <a:moveTo>
                          <a:pt x="1" y="0"/>
                        </a:moveTo>
                        <a:lnTo>
                          <a:pt x="1" y="1183"/>
                        </a:lnTo>
                        <a:lnTo>
                          <a:pt x="14" y="1374"/>
                        </a:lnTo>
                        <a:lnTo>
                          <a:pt x="41" y="1551"/>
                        </a:lnTo>
                        <a:lnTo>
                          <a:pt x="82" y="1728"/>
                        </a:lnTo>
                        <a:lnTo>
                          <a:pt x="150" y="1904"/>
                        </a:lnTo>
                        <a:lnTo>
                          <a:pt x="218" y="2068"/>
                        </a:lnTo>
                        <a:lnTo>
                          <a:pt x="314" y="2217"/>
                        </a:lnTo>
                        <a:lnTo>
                          <a:pt x="422" y="2367"/>
                        </a:lnTo>
                        <a:lnTo>
                          <a:pt x="545" y="2489"/>
                        </a:lnTo>
                        <a:lnTo>
                          <a:pt x="681" y="2612"/>
                        </a:lnTo>
                        <a:lnTo>
                          <a:pt x="817" y="2721"/>
                        </a:lnTo>
                        <a:lnTo>
                          <a:pt x="966" y="2816"/>
                        </a:lnTo>
                        <a:lnTo>
                          <a:pt x="1130" y="2897"/>
                        </a:lnTo>
                        <a:lnTo>
                          <a:pt x="1307" y="2952"/>
                        </a:lnTo>
                        <a:lnTo>
                          <a:pt x="1483" y="3006"/>
                        </a:lnTo>
                        <a:lnTo>
                          <a:pt x="1660" y="3033"/>
                        </a:lnTo>
                        <a:lnTo>
                          <a:pt x="2177" y="3033"/>
                        </a:lnTo>
                        <a:lnTo>
                          <a:pt x="2354" y="3006"/>
                        </a:lnTo>
                        <a:lnTo>
                          <a:pt x="2531" y="2952"/>
                        </a:lnTo>
                        <a:lnTo>
                          <a:pt x="2708" y="2897"/>
                        </a:lnTo>
                        <a:lnTo>
                          <a:pt x="2871" y="2816"/>
                        </a:lnTo>
                        <a:lnTo>
                          <a:pt x="3020" y="2721"/>
                        </a:lnTo>
                        <a:lnTo>
                          <a:pt x="3156" y="2612"/>
                        </a:lnTo>
                        <a:lnTo>
                          <a:pt x="3292" y="2489"/>
                        </a:lnTo>
                        <a:lnTo>
                          <a:pt x="3415" y="2367"/>
                        </a:lnTo>
                        <a:lnTo>
                          <a:pt x="3524" y="2217"/>
                        </a:lnTo>
                        <a:lnTo>
                          <a:pt x="3619" y="2068"/>
                        </a:lnTo>
                        <a:lnTo>
                          <a:pt x="3687" y="1904"/>
                        </a:lnTo>
                        <a:lnTo>
                          <a:pt x="3755" y="1728"/>
                        </a:lnTo>
                        <a:lnTo>
                          <a:pt x="3796" y="1551"/>
                        </a:lnTo>
                        <a:lnTo>
                          <a:pt x="3823" y="1374"/>
                        </a:lnTo>
                        <a:lnTo>
                          <a:pt x="3837" y="1183"/>
                        </a:lnTo>
                        <a:lnTo>
                          <a:pt x="3837"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26" name="Google Shape;1326;p30"/>
                <p:cNvSpPr/>
                <p:nvPr/>
              </p:nvSpPr>
              <p:spPr>
                <a:xfrm>
                  <a:off x="7354917" y="1780995"/>
                  <a:ext cx="769318" cy="541394"/>
                </a:xfrm>
                <a:custGeom>
                  <a:avLst/>
                  <a:gdLst/>
                  <a:ahLst/>
                  <a:cxnLst/>
                  <a:rect l="l" t="t" r="r" b="b"/>
                  <a:pathLst>
                    <a:path w="25207" h="17739" extrusionOk="0">
                      <a:moveTo>
                        <a:pt x="21479" y="1"/>
                      </a:moveTo>
                      <a:lnTo>
                        <a:pt x="21303" y="15"/>
                      </a:lnTo>
                      <a:lnTo>
                        <a:pt x="21126" y="28"/>
                      </a:lnTo>
                      <a:lnTo>
                        <a:pt x="20949" y="42"/>
                      </a:lnTo>
                      <a:lnTo>
                        <a:pt x="20772" y="83"/>
                      </a:lnTo>
                      <a:lnTo>
                        <a:pt x="20595" y="110"/>
                      </a:lnTo>
                      <a:lnTo>
                        <a:pt x="20418" y="164"/>
                      </a:lnTo>
                      <a:lnTo>
                        <a:pt x="20255" y="219"/>
                      </a:lnTo>
                      <a:lnTo>
                        <a:pt x="20092" y="287"/>
                      </a:lnTo>
                      <a:lnTo>
                        <a:pt x="19915" y="355"/>
                      </a:lnTo>
                      <a:lnTo>
                        <a:pt x="19766" y="436"/>
                      </a:lnTo>
                      <a:lnTo>
                        <a:pt x="19602" y="518"/>
                      </a:lnTo>
                      <a:lnTo>
                        <a:pt x="19453" y="613"/>
                      </a:lnTo>
                      <a:lnTo>
                        <a:pt x="19303" y="722"/>
                      </a:lnTo>
                      <a:lnTo>
                        <a:pt x="19153" y="831"/>
                      </a:lnTo>
                      <a:lnTo>
                        <a:pt x="19017" y="953"/>
                      </a:lnTo>
                      <a:lnTo>
                        <a:pt x="18881" y="1076"/>
                      </a:lnTo>
                      <a:lnTo>
                        <a:pt x="18745" y="1212"/>
                      </a:lnTo>
                      <a:lnTo>
                        <a:pt x="18623" y="1361"/>
                      </a:lnTo>
                      <a:lnTo>
                        <a:pt x="18500" y="1511"/>
                      </a:lnTo>
                      <a:lnTo>
                        <a:pt x="18378" y="1701"/>
                      </a:lnTo>
                      <a:lnTo>
                        <a:pt x="18256" y="1905"/>
                      </a:lnTo>
                      <a:lnTo>
                        <a:pt x="12651" y="11890"/>
                      </a:lnTo>
                      <a:lnTo>
                        <a:pt x="12148" y="11849"/>
                      </a:lnTo>
                      <a:lnTo>
                        <a:pt x="11658" y="11794"/>
                      </a:lnTo>
                      <a:lnTo>
                        <a:pt x="11155" y="11740"/>
                      </a:lnTo>
                      <a:lnTo>
                        <a:pt x="10665" y="11672"/>
                      </a:lnTo>
                      <a:lnTo>
                        <a:pt x="10176" y="11590"/>
                      </a:lnTo>
                      <a:lnTo>
                        <a:pt x="9672" y="11509"/>
                      </a:lnTo>
                      <a:lnTo>
                        <a:pt x="9183" y="11413"/>
                      </a:lnTo>
                      <a:lnTo>
                        <a:pt x="8693" y="11305"/>
                      </a:lnTo>
                      <a:lnTo>
                        <a:pt x="7972" y="11128"/>
                      </a:lnTo>
                      <a:lnTo>
                        <a:pt x="7251" y="10937"/>
                      </a:lnTo>
                      <a:lnTo>
                        <a:pt x="6530" y="10720"/>
                      </a:lnTo>
                      <a:lnTo>
                        <a:pt x="5823" y="10488"/>
                      </a:lnTo>
                      <a:lnTo>
                        <a:pt x="5116" y="10230"/>
                      </a:lnTo>
                      <a:lnTo>
                        <a:pt x="4408" y="9972"/>
                      </a:lnTo>
                      <a:lnTo>
                        <a:pt x="3701" y="9686"/>
                      </a:lnTo>
                      <a:lnTo>
                        <a:pt x="3007" y="9387"/>
                      </a:lnTo>
                      <a:lnTo>
                        <a:pt x="2993" y="9373"/>
                      </a:lnTo>
                      <a:lnTo>
                        <a:pt x="2789" y="9291"/>
                      </a:lnTo>
                      <a:lnTo>
                        <a:pt x="2585" y="9237"/>
                      </a:lnTo>
                      <a:lnTo>
                        <a:pt x="2368" y="9210"/>
                      </a:lnTo>
                      <a:lnTo>
                        <a:pt x="2164" y="9196"/>
                      </a:lnTo>
                      <a:lnTo>
                        <a:pt x="1960" y="9196"/>
                      </a:lnTo>
                      <a:lnTo>
                        <a:pt x="1756" y="9223"/>
                      </a:lnTo>
                      <a:lnTo>
                        <a:pt x="1552" y="9278"/>
                      </a:lnTo>
                      <a:lnTo>
                        <a:pt x="1361" y="9332"/>
                      </a:lnTo>
                      <a:lnTo>
                        <a:pt x="1171" y="9414"/>
                      </a:lnTo>
                      <a:lnTo>
                        <a:pt x="994" y="9523"/>
                      </a:lnTo>
                      <a:lnTo>
                        <a:pt x="831" y="9632"/>
                      </a:lnTo>
                      <a:lnTo>
                        <a:pt x="667" y="9768"/>
                      </a:lnTo>
                      <a:lnTo>
                        <a:pt x="518" y="9917"/>
                      </a:lnTo>
                      <a:lnTo>
                        <a:pt x="395" y="10080"/>
                      </a:lnTo>
                      <a:lnTo>
                        <a:pt x="273" y="10271"/>
                      </a:lnTo>
                      <a:lnTo>
                        <a:pt x="178" y="10461"/>
                      </a:lnTo>
                      <a:lnTo>
                        <a:pt x="110" y="10652"/>
                      </a:lnTo>
                      <a:lnTo>
                        <a:pt x="55" y="10842"/>
                      </a:lnTo>
                      <a:lnTo>
                        <a:pt x="15" y="11033"/>
                      </a:lnTo>
                      <a:lnTo>
                        <a:pt x="1" y="11223"/>
                      </a:lnTo>
                      <a:lnTo>
                        <a:pt x="1" y="11427"/>
                      </a:lnTo>
                      <a:lnTo>
                        <a:pt x="15" y="11617"/>
                      </a:lnTo>
                      <a:lnTo>
                        <a:pt x="55" y="11794"/>
                      </a:lnTo>
                      <a:lnTo>
                        <a:pt x="96" y="11985"/>
                      </a:lnTo>
                      <a:lnTo>
                        <a:pt x="164" y="12162"/>
                      </a:lnTo>
                      <a:lnTo>
                        <a:pt x="246" y="12338"/>
                      </a:lnTo>
                      <a:lnTo>
                        <a:pt x="341" y="12502"/>
                      </a:lnTo>
                      <a:lnTo>
                        <a:pt x="463" y="12651"/>
                      </a:lnTo>
                      <a:lnTo>
                        <a:pt x="586" y="12801"/>
                      </a:lnTo>
                      <a:lnTo>
                        <a:pt x="722" y="12923"/>
                      </a:lnTo>
                      <a:lnTo>
                        <a:pt x="871" y="13046"/>
                      </a:lnTo>
                      <a:lnTo>
                        <a:pt x="1048" y="13155"/>
                      </a:lnTo>
                      <a:lnTo>
                        <a:pt x="1783" y="13590"/>
                      </a:lnTo>
                      <a:lnTo>
                        <a:pt x="2531" y="13998"/>
                      </a:lnTo>
                      <a:lnTo>
                        <a:pt x="3293" y="14392"/>
                      </a:lnTo>
                      <a:lnTo>
                        <a:pt x="4055" y="14773"/>
                      </a:lnTo>
                      <a:lnTo>
                        <a:pt x="4843" y="15127"/>
                      </a:lnTo>
                      <a:lnTo>
                        <a:pt x="5632" y="15481"/>
                      </a:lnTo>
                      <a:lnTo>
                        <a:pt x="6449" y="15807"/>
                      </a:lnTo>
                      <a:lnTo>
                        <a:pt x="7265" y="16106"/>
                      </a:lnTo>
                      <a:lnTo>
                        <a:pt x="8094" y="16392"/>
                      </a:lnTo>
                      <a:lnTo>
                        <a:pt x="8924" y="16650"/>
                      </a:lnTo>
                      <a:lnTo>
                        <a:pt x="9781" y="16882"/>
                      </a:lnTo>
                      <a:lnTo>
                        <a:pt x="10625" y="17099"/>
                      </a:lnTo>
                      <a:lnTo>
                        <a:pt x="11495" y="17290"/>
                      </a:lnTo>
                      <a:lnTo>
                        <a:pt x="12366" y="17453"/>
                      </a:lnTo>
                      <a:lnTo>
                        <a:pt x="13236" y="17603"/>
                      </a:lnTo>
                      <a:lnTo>
                        <a:pt x="14107" y="17711"/>
                      </a:lnTo>
                      <a:lnTo>
                        <a:pt x="14284" y="17725"/>
                      </a:lnTo>
                      <a:lnTo>
                        <a:pt x="14474" y="17739"/>
                      </a:lnTo>
                      <a:lnTo>
                        <a:pt x="14637" y="17725"/>
                      </a:lnTo>
                      <a:lnTo>
                        <a:pt x="14814" y="17698"/>
                      </a:lnTo>
                      <a:lnTo>
                        <a:pt x="14991" y="17671"/>
                      </a:lnTo>
                      <a:lnTo>
                        <a:pt x="15154" y="17630"/>
                      </a:lnTo>
                      <a:lnTo>
                        <a:pt x="15317" y="17575"/>
                      </a:lnTo>
                      <a:lnTo>
                        <a:pt x="15467" y="17507"/>
                      </a:lnTo>
                      <a:lnTo>
                        <a:pt x="15630" y="17439"/>
                      </a:lnTo>
                      <a:lnTo>
                        <a:pt x="15766" y="17358"/>
                      </a:lnTo>
                      <a:lnTo>
                        <a:pt x="15916" y="17263"/>
                      </a:lnTo>
                      <a:lnTo>
                        <a:pt x="16052" y="17167"/>
                      </a:lnTo>
                      <a:lnTo>
                        <a:pt x="16174" y="17058"/>
                      </a:lnTo>
                      <a:lnTo>
                        <a:pt x="16297" y="16936"/>
                      </a:lnTo>
                      <a:lnTo>
                        <a:pt x="16406" y="16814"/>
                      </a:lnTo>
                      <a:lnTo>
                        <a:pt x="16514" y="16678"/>
                      </a:lnTo>
                      <a:lnTo>
                        <a:pt x="16719" y="16406"/>
                      </a:lnTo>
                      <a:lnTo>
                        <a:pt x="24486" y="5932"/>
                      </a:lnTo>
                      <a:lnTo>
                        <a:pt x="24594" y="5782"/>
                      </a:lnTo>
                      <a:lnTo>
                        <a:pt x="24690" y="5619"/>
                      </a:lnTo>
                      <a:lnTo>
                        <a:pt x="24785" y="5456"/>
                      </a:lnTo>
                      <a:lnTo>
                        <a:pt x="24866" y="5292"/>
                      </a:lnTo>
                      <a:lnTo>
                        <a:pt x="24935" y="5115"/>
                      </a:lnTo>
                      <a:lnTo>
                        <a:pt x="25003" y="4952"/>
                      </a:lnTo>
                      <a:lnTo>
                        <a:pt x="25057" y="4775"/>
                      </a:lnTo>
                      <a:lnTo>
                        <a:pt x="25111" y="4599"/>
                      </a:lnTo>
                      <a:lnTo>
                        <a:pt x="25139" y="4422"/>
                      </a:lnTo>
                      <a:lnTo>
                        <a:pt x="25179" y="4245"/>
                      </a:lnTo>
                      <a:lnTo>
                        <a:pt x="25193" y="4068"/>
                      </a:lnTo>
                      <a:lnTo>
                        <a:pt x="25207" y="3891"/>
                      </a:lnTo>
                      <a:lnTo>
                        <a:pt x="25207" y="3714"/>
                      </a:lnTo>
                      <a:lnTo>
                        <a:pt x="25207" y="3538"/>
                      </a:lnTo>
                      <a:lnTo>
                        <a:pt x="25193" y="3361"/>
                      </a:lnTo>
                      <a:lnTo>
                        <a:pt x="25166" y="3184"/>
                      </a:lnTo>
                      <a:lnTo>
                        <a:pt x="25139" y="3007"/>
                      </a:lnTo>
                      <a:lnTo>
                        <a:pt x="25098" y="2830"/>
                      </a:lnTo>
                      <a:lnTo>
                        <a:pt x="25057" y="2653"/>
                      </a:lnTo>
                      <a:lnTo>
                        <a:pt x="25003" y="2490"/>
                      </a:lnTo>
                      <a:lnTo>
                        <a:pt x="24935" y="2313"/>
                      </a:lnTo>
                      <a:lnTo>
                        <a:pt x="24866" y="2150"/>
                      </a:lnTo>
                      <a:lnTo>
                        <a:pt x="24785" y="1987"/>
                      </a:lnTo>
                      <a:lnTo>
                        <a:pt x="24690" y="1837"/>
                      </a:lnTo>
                      <a:lnTo>
                        <a:pt x="24594" y="1674"/>
                      </a:lnTo>
                      <a:lnTo>
                        <a:pt x="24499" y="1524"/>
                      </a:lnTo>
                      <a:lnTo>
                        <a:pt x="24377" y="1388"/>
                      </a:lnTo>
                      <a:lnTo>
                        <a:pt x="24268" y="1239"/>
                      </a:lnTo>
                      <a:lnTo>
                        <a:pt x="24132" y="1103"/>
                      </a:lnTo>
                      <a:lnTo>
                        <a:pt x="23996" y="980"/>
                      </a:lnTo>
                      <a:lnTo>
                        <a:pt x="23860" y="858"/>
                      </a:lnTo>
                      <a:lnTo>
                        <a:pt x="23710" y="735"/>
                      </a:lnTo>
                      <a:lnTo>
                        <a:pt x="23547" y="627"/>
                      </a:lnTo>
                      <a:lnTo>
                        <a:pt x="23384" y="531"/>
                      </a:lnTo>
                      <a:lnTo>
                        <a:pt x="23221" y="436"/>
                      </a:lnTo>
                      <a:lnTo>
                        <a:pt x="23057" y="355"/>
                      </a:lnTo>
                      <a:lnTo>
                        <a:pt x="22894" y="273"/>
                      </a:lnTo>
                      <a:lnTo>
                        <a:pt x="22717" y="219"/>
                      </a:lnTo>
                      <a:lnTo>
                        <a:pt x="22540" y="164"/>
                      </a:lnTo>
                      <a:lnTo>
                        <a:pt x="22364" y="110"/>
                      </a:lnTo>
                      <a:lnTo>
                        <a:pt x="22187" y="69"/>
                      </a:lnTo>
                      <a:lnTo>
                        <a:pt x="22010" y="42"/>
                      </a:lnTo>
                      <a:lnTo>
                        <a:pt x="21833" y="28"/>
                      </a:lnTo>
                      <a:lnTo>
                        <a:pt x="21656" y="15"/>
                      </a:lnTo>
                      <a:lnTo>
                        <a:pt x="21479"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7" name="Google Shape;1327;p30"/>
                <p:cNvSpPr/>
                <p:nvPr/>
              </p:nvSpPr>
              <p:spPr>
                <a:xfrm>
                  <a:off x="7235765" y="1962837"/>
                  <a:ext cx="215105" cy="210924"/>
                </a:xfrm>
                <a:custGeom>
                  <a:avLst/>
                  <a:gdLst/>
                  <a:ahLst/>
                  <a:cxnLst/>
                  <a:rect l="l" t="t" r="r" b="b"/>
                  <a:pathLst>
                    <a:path w="7048" h="6911" extrusionOk="0">
                      <a:moveTo>
                        <a:pt x="55" y="1"/>
                      </a:moveTo>
                      <a:lnTo>
                        <a:pt x="15" y="28"/>
                      </a:lnTo>
                      <a:lnTo>
                        <a:pt x="1" y="55"/>
                      </a:lnTo>
                      <a:lnTo>
                        <a:pt x="1" y="96"/>
                      </a:lnTo>
                      <a:lnTo>
                        <a:pt x="15" y="150"/>
                      </a:lnTo>
                      <a:lnTo>
                        <a:pt x="42" y="218"/>
                      </a:lnTo>
                      <a:lnTo>
                        <a:pt x="96" y="286"/>
                      </a:lnTo>
                      <a:lnTo>
                        <a:pt x="219" y="450"/>
                      </a:lnTo>
                      <a:lnTo>
                        <a:pt x="395" y="627"/>
                      </a:lnTo>
                      <a:lnTo>
                        <a:pt x="599" y="831"/>
                      </a:lnTo>
                      <a:lnTo>
                        <a:pt x="1089" y="1266"/>
                      </a:lnTo>
                      <a:lnTo>
                        <a:pt x="1592" y="1688"/>
                      </a:lnTo>
                      <a:lnTo>
                        <a:pt x="2055" y="2041"/>
                      </a:lnTo>
                      <a:lnTo>
                        <a:pt x="2504" y="2395"/>
                      </a:lnTo>
                      <a:lnTo>
                        <a:pt x="2490" y="2408"/>
                      </a:lnTo>
                      <a:lnTo>
                        <a:pt x="2422" y="2422"/>
                      </a:lnTo>
                      <a:lnTo>
                        <a:pt x="2327" y="2476"/>
                      </a:lnTo>
                      <a:lnTo>
                        <a:pt x="2205" y="2572"/>
                      </a:lnTo>
                      <a:lnTo>
                        <a:pt x="2069" y="2721"/>
                      </a:lnTo>
                      <a:lnTo>
                        <a:pt x="1987" y="2830"/>
                      </a:lnTo>
                      <a:lnTo>
                        <a:pt x="1905" y="2953"/>
                      </a:lnTo>
                      <a:lnTo>
                        <a:pt x="1810" y="3089"/>
                      </a:lnTo>
                      <a:lnTo>
                        <a:pt x="1729" y="3252"/>
                      </a:lnTo>
                      <a:lnTo>
                        <a:pt x="1633" y="3442"/>
                      </a:lnTo>
                      <a:lnTo>
                        <a:pt x="1538" y="3646"/>
                      </a:lnTo>
                      <a:lnTo>
                        <a:pt x="1456" y="3878"/>
                      </a:lnTo>
                      <a:lnTo>
                        <a:pt x="1388" y="4095"/>
                      </a:lnTo>
                      <a:lnTo>
                        <a:pt x="1334" y="4326"/>
                      </a:lnTo>
                      <a:lnTo>
                        <a:pt x="1307" y="4558"/>
                      </a:lnTo>
                      <a:lnTo>
                        <a:pt x="1293" y="4775"/>
                      </a:lnTo>
                      <a:lnTo>
                        <a:pt x="1307" y="4979"/>
                      </a:lnTo>
                      <a:lnTo>
                        <a:pt x="1348" y="5183"/>
                      </a:lnTo>
                      <a:lnTo>
                        <a:pt x="1388" y="5374"/>
                      </a:lnTo>
                      <a:lnTo>
                        <a:pt x="1470" y="5537"/>
                      </a:lnTo>
                      <a:lnTo>
                        <a:pt x="1565" y="5700"/>
                      </a:lnTo>
                      <a:lnTo>
                        <a:pt x="1633" y="5768"/>
                      </a:lnTo>
                      <a:lnTo>
                        <a:pt x="1701" y="5823"/>
                      </a:lnTo>
                      <a:lnTo>
                        <a:pt x="1769" y="5877"/>
                      </a:lnTo>
                      <a:lnTo>
                        <a:pt x="1851" y="5932"/>
                      </a:lnTo>
                      <a:lnTo>
                        <a:pt x="1933" y="5972"/>
                      </a:lnTo>
                      <a:lnTo>
                        <a:pt x="2028" y="6013"/>
                      </a:lnTo>
                      <a:lnTo>
                        <a:pt x="2123" y="6040"/>
                      </a:lnTo>
                      <a:lnTo>
                        <a:pt x="2218" y="6054"/>
                      </a:lnTo>
                      <a:lnTo>
                        <a:pt x="2341" y="6068"/>
                      </a:lnTo>
                      <a:lnTo>
                        <a:pt x="2449" y="6081"/>
                      </a:lnTo>
                      <a:lnTo>
                        <a:pt x="2585" y="6068"/>
                      </a:lnTo>
                      <a:lnTo>
                        <a:pt x="2708" y="6054"/>
                      </a:lnTo>
                      <a:lnTo>
                        <a:pt x="2803" y="6040"/>
                      </a:lnTo>
                      <a:lnTo>
                        <a:pt x="2966" y="6163"/>
                      </a:lnTo>
                      <a:lnTo>
                        <a:pt x="3184" y="6312"/>
                      </a:lnTo>
                      <a:lnTo>
                        <a:pt x="3497" y="6489"/>
                      </a:lnTo>
                      <a:lnTo>
                        <a:pt x="3674" y="6584"/>
                      </a:lnTo>
                      <a:lnTo>
                        <a:pt x="3864" y="6666"/>
                      </a:lnTo>
                      <a:lnTo>
                        <a:pt x="4055" y="6748"/>
                      </a:lnTo>
                      <a:lnTo>
                        <a:pt x="4259" y="6816"/>
                      </a:lnTo>
                      <a:lnTo>
                        <a:pt x="4476" y="6870"/>
                      </a:lnTo>
                      <a:lnTo>
                        <a:pt x="4694" y="6911"/>
                      </a:lnTo>
                      <a:lnTo>
                        <a:pt x="4912" y="6911"/>
                      </a:lnTo>
                      <a:lnTo>
                        <a:pt x="5116" y="6897"/>
                      </a:lnTo>
                      <a:lnTo>
                        <a:pt x="5333" y="6857"/>
                      </a:lnTo>
                      <a:lnTo>
                        <a:pt x="5442" y="6829"/>
                      </a:lnTo>
                      <a:lnTo>
                        <a:pt x="5537" y="6788"/>
                      </a:lnTo>
                      <a:lnTo>
                        <a:pt x="5632" y="6734"/>
                      </a:lnTo>
                      <a:lnTo>
                        <a:pt x="5741" y="6680"/>
                      </a:lnTo>
                      <a:lnTo>
                        <a:pt x="5823" y="6612"/>
                      </a:lnTo>
                      <a:lnTo>
                        <a:pt x="5918" y="6530"/>
                      </a:lnTo>
                      <a:lnTo>
                        <a:pt x="6136" y="6299"/>
                      </a:lnTo>
                      <a:lnTo>
                        <a:pt x="6231" y="6176"/>
                      </a:lnTo>
                      <a:lnTo>
                        <a:pt x="6326" y="6054"/>
                      </a:lnTo>
                      <a:lnTo>
                        <a:pt x="6462" y="5850"/>
                      </a:lnTo>
                      <a:lnTo>
                        <a:pt x="6571" y="5646"/>
                      </a:lnTo>
                      <a:lnTo>
                        <a:pt x="6666" y="5455"/>
                      </a:lnTo>
                      <a:lnTo>
                        <a:pt x="6761" y="5265"/>
                      </a:lnTo>
                      <a:lnTo>
                        <a:pt x="6829" y="5061"/>
                      </a:lnTo>
                      <a:lnTo>
                        <a:pt x="6884" y="4884"/>
                      </a:lnTo>
                      <a:lnTo>
                        <a:pt x="6966" y="4530"/>
                      </a:lnTo>
                      <a:lnTo>
                        <a:pt x="7020" y="4245"/>
                      </a:lnTo>
                      <a:lnTo>
                        <a:pt x="7034" y="4014"/>
                      </a:lnTo>
                      <a:lnTo>
                        <a:pt x="7047" y="3810"/>
                      </a:lnTo>
                      <a:lnTo>
                        <a:pt x="7006" y="3701"/>
                      </a:lnTo>
                      <a:lnTo>
                        <a:pt x="6925" y="3415"/>
                      </a:lnTo>
                      <a:lnTo>
                        <a:pt x="6761" y="3021"/>
                      </a:lnTo>
                      <a:lnTo>
                        <a:pt x="6666" y="2789"/>
                      </a:lnTo>
                      <a:lnTo>
                        <a:pt x="6557" y="2558"/>
                      </a:lnTo>
                      <a:lnTo>
                        <a:pt x="6421" y="2327"/>
                      </a:lnTo>
                      <a:lnTo>
                        <a:pt x="6285" y="2096"/>
                      </a:lnTo>
                      <a:lnTo>
                        <a:pt x="6136" y="1864"/>
                      </a:lnTo>
                      <a:lnTo>
                        <a:pt x="5973" y="1660"/>
                      </a:lnTo>
                      <a:lnTo>
                        <a:pt x="5782" y="1484"/>
                      </a:lnTo>
                      <a:lnTo>
                        <a:pt x="5687" y="1415"/>
                      </a:lnTo>
                      <a:lnTo>
                        <a:pt x="5592" y="1347"/>
                      </a:lnTo>
                      <a:lnTo>
                        <a:pt x="5496" y="1293"/>
                      </a:lnTo>
                      <a:lnTo>
                        <a:pt x="5388" y="1239"/>
                      </a:lnTo>
                      <a:lnTo>
                        <a:pt x="5292" y="1211"/>
                      </a:lnTo>
                      <a:lnTo>
                        <a:pt x="5184" y="1184"/>
                      </a:lnTo>
                      <a:lnTo>
                        <a:pt x="4939" y="1157"/>
                      </a:lnTo>
                      <a:lnTo>
                        <a:pt x="4735" y="1171"/>
                      </a:lnTo>
                      <a:lnTo>
                        <a:pt x="4571" y="1198"/>
                      </a:lnTo>
                      <a:lnTo>
                        <a:pt x="4422" y="1239"/>
                      </a:lnTo>
                      <a:lnTo>
                        <a:pt x="4313" y="1293"/>
                      </a:lnTo>
                      <a:lnTo>
                        <a:pt x="4218" y="1361"/>
                      </a:lnTo>
                      <a:lnTo>
                        <a:pt x="4150" y="1429"/>
                      </a:lnTo>
                      <a:lnTo>
                        <a:pt x="4095" y="1511"/>
                      </a:lnTo>
                      <a:lnTo>
                        <a:pt x="4055" y="1620"/>
                      </a:lnTo>
                      <a:lnTo>
                        <a:pt x="4027" y="1715"/>
                      </a:lnTo>
                      <a:lnTo>
                        <a:pt x="4014" y="1796"/>
                      </a:lnTo>
                      <a:lnTo>
                        <a:pt x="3810" y="1674"/>
                      </a:lnTo>
                      <a:lnTo>
                        <a:pt x="2966" y="1225"/>
                      </a:lnTo>
                      <a:lnTo>
                        <a:pt x="2409" y="926"/>
                      </a:lnTo>
                      <a:lnTo>
                        <a:pt x="1810" y="640"/>
                      </a:lnTo>
                      <a:lnTo>
                        <a:pt x="1239" y="368"/>
                      </a:lnTo>
                      <a:lnTo>
                        <a:pt x="967" y="259"/>
                      </a:lnTo>
                      <a:lnTo>
                        <a:pt x="722" y="150"/>
                      </a:lnTo>
                      <a:lnTo>
                        <a:pt x="504" y="82"/>
                      </a:lnTo>
                      <a:lnTo>
                        <a:pt x="314" y="28"/>
                      </a:lnTo>
                      <a:lnTo>
                        <a:pt x="164" y="1"/>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8" name="Google Shape;1328;p30"/>
                <p:cNvSpPr/>
                <p:nvPr/>
              </p:nvSpPr>
              <p:spPr>
                <a:xfrm>
                  <a:off x="7307610" y="2072863"/>
                  <a:ext cx="41110" cy="20387"/>
                </a:xfrm>
                <a:custGeom>
                  <a:avLst/>
                  <a:gdLst/>
                  <a:ahLst/>
                  <a:cxnLst/>
                  <a:rect l="l" t="t" r="r" b="b"/>
                  <a:pathLst>
                    <a:path w="1347" h="668" extrusionOk="0">
                      <a:moveTo>
                        <a:pt x="123" y="1"/>
                      </a:moveTo>
                      <a:lnTo>
                        <a:pt x="68" y="14"/>
                      </a:lnTo>
                      <a:lnTo>
                        <a:pt x="27" y="41"/>
                      </a:lnTo>
                      <a:lnTo>
                        <a:pt x="14" y="96"/>
                      </a:lnTo>
                      <a:lnTo>
                        <a:pt x="0" y="137"/>
                      </a:lnTo>
                      <a:lnTo>
                        <a:pt x="27" y="191"/>
                      </a:lnTo>
                      <a:lnTo>
                        <a:pt x="55" y="232"/>
                      </a:lnTo>
                      <a:lnTo>
                        <a:pt x="191" y="327"/>
                      </a:lnTo>
                      <a:lnTo>
                        <a:pt x="313" y="409"/>
                      </a:lnTo>
                      <a:lnTo>
                        <a:pt x="544" y="531"/>
                      </a:lnTo>
                      <a:lnTo>
                        <a:pt x="735" y="613"/>
                      </a:lnTo>
                      <a:lnTo>
                        <a:pt x="912" y="653"/>
                      </a:lnTo>
                      <a:lnTo>
                        <a:pt x="1048" y="667"/>
                      </a:lnTo>
                      <a:lnTo>
                        <a:pt x="1252" y="667"/>
                      </a:lnTo>
                      <a:lnTo>
                        <a:pt x="1265" y="653"/>
                      </a:lnTo>
                      <a:lnTo>
                        <a:pt x="1306" y="626"/>
                      </a:lnTo>
                      <a:lnTo>
                        <a:pt x="1333" y="599"/>
                      </a:lnTo>
                      <a:lnTo>
                        <a:pt x="1347" y="558"/>
                      </a:lnTo>
                      <a:lnTo>
                        <a:pt x="1347" y="504"/>
                      </a:lnTo>
                      <a:lnTo>
                        <a:pt x="1320" y="463"/>
                      </a:lnTo>
                      <a:lnTo>
                        <a:pt x="1292" y="422"/>
                      </a:lnTo>
                      <a:lnTo>
                        <a:pt x="1238" y="409"/>
                      </a:lnTo>
                      <a:lnTo>
                        <a:pt x="1034" y="409"/>
                      </a:lnTo>
                      <a:lnTo>
                        <a:pt x="925" y="381"/>
                      </a:lnTo>
                      <a:lnTo>
                        <a:pt x="776" y="341"/>
                      </a:lnTo>
                      <a:lnTo>
                        <a:pt x="612" y="273"/>
                      </a:lnTo>
                      <a:lnTo>
                        <a:pt x="422" y="164"/>
                      </a:lnTo>
                      <a:lnTo>
                        <a:pt x="218" y="14"/>
                      </a:lnTo>
                      <a:lnTo>
                        <a:pt x="163" y="1"/>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30"/>
                <p:cNvSpPr/>
                <p:nvPr/>
              </p:nvSpPr>
              <p:spPr>
                <a:xfrm>
                  <a:off x="7296379" y="2103598"/>
                  <a:ext cx="46116" cy="20784"/>
                </a:xfrm>
                <a:custGeom>
                  <a:avLst/>
                  <a:gdLst/>
                  <a:ahLst/>
                  <a:cxnLst/>
                  <a:rect l="l" t="t" r="r" b="b"/>
                  <a:pathLst>
                    <a:path w="1511" h="681" extrusionOk="0">
                      <a:moveTo>
                        <a:pt x="137" y="0"/>
                      </a:moveTo>
                      <a:lnTo>
                        <a:pt x="83" y="14"/>
                      </a:lnTo>
                      <a:lnTo>
                        <a:pt x="42" y="41"/>
                      </a:lnTo>
                      <a:lnTo>
                        <a:pt x="15" y="82"/>
                      </a:lnTo>
                      <a:lnTo>
                        <a:pt x="1" y="136"/>
                      </a:lnTo>
                      <a:lnTo>
                        <a:pt x="15" y="177"/>
                      </a:lnTo>
                      <a:lnTo>
                        <a:pt x="42" y="218"/>
                      </a:lnTo>
                      <a:lnTo>
                        <a:pt x="151" y="313"/>
                      </a:lnTo>
                      <a:lnTo>
                        <a:pt x="259" y="395"/>
                      </a:lnTo>
                      <a:lnTo>
                        <a:pt x="368" y="463"/>
                      </a:lnTo>
                      <a:lnTo>
                        <a:pt x="491" y="517"/>
                      </a:lnTo>
                      <a:lnTo>
                        <a:pt x="599" y="571"/>
                      </a:lnTo>
                      <a:lnTo>
                        <a:pt x="708" y="599"/>
                      </a:lnTo>
                      <a:lnTo>
                        <a:pt x="912" y="653"/>
                      </a:lnTo>
                      <a:lnTo>
                        <a:pt x="1103" y="680"/>
                      </a:lnTo>
                      <a:lnTo>
                        <a:pt x="1252" y="680"/>
                      </a:lnTo>
                      <a:lnTo>
                        <a:pt x="1402" y="667"/>
                      </a:lnTo>
                      <a:lnTo>
                        <a:pt x="1429" y="667"/>
                      </a:lnTo>
                      <a:lnTo>
                        <a:pt x="1470" y="639"/>
                      </a:lnTo>
                      <a:lnTo>
                        <a:pt x="1497" y="612"/>
                      </a:lnTo>
                      <a:lnTo>
                        <a:pt x="1511" y="571"/>
                      </a:lnTo>
                      <a:lnTo>
                        <a:pt x="1511" y="531"/>
                      </a:lnTo>
                      <a:lnTo>
                        <a:pt x="1497" y="476"/>
                      </a:lnTo>
                      <a:lnTo>
                        <a:pt x="1470" y="435"/>
                      </a:lnTo>
                      <a:lnTo>
                        <a:pt x="1416" y="422"/>
                      </a:lnTo>
                      <a:lnTo>
                        <a:pt x="1361" y="408"/>
                      </a:lnTo>
                      <a:lnTo>
                        <a:pt x="1252" y="422"/>
                      </a:lnTo>
                      <a:lnTo>
                        <a:pt x="1130" y="408"/>
                      </a:lnTo>
                      <a:lnTo>
                        <a:pt x="967" y="395"/>
                      </a:lnTo>
                      <a:lnTo>
                        <a:pt x="790" y="354"/>
                      </a:lnTo>
                      <a:lnTo>
                        <a:pt x="599" y="286"/>
                      </a:lnTo>
                      <a:lnTo>
                        <a:pt x="504" y="231"/>
                      </a:lnTo>
                      <a:lnTo>
                        <a:pt x="409" y="177"/>
                      </a:lnTo>
                      <a:lnTo>
                        <a:pt x="314" y="109"/>
                      </a:lnTo>
                      <a:lnTo>
                        <a:pt x="219" y="27"/>
                      </a:lnTo>
                      <a:lnTo>
                        <a:pt x="178" y="0"/>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30"/>
                <p:cNvSpPr/>
                <p:nvPr/>
              </p:nvSpPr>
              <p:spPr>
                <a:xfrm>
                  <a:off x="7347043" y="2008923"/>
                  <a:ext cx="68121" cy="55668"/>
                </a:xfrm>
                <a:custGeom>
                  <a:avLst/>
                  <a:gdLst/>
                  <a:ahLst/>
                  <a:cxnLst/>
                  <a:rect l="l" t="t" r="r" b="b"/>
                  <a:pathLst>
                    <a:path w="2232" h="1824" extrusionOk="0">
                      <a:moveTo>
                        <a:pt x="449" y="1"/>
                      </a:moveTo>
                      <a:lnTo>
                        <a:pt x="409" y="110"/>
                      </a:lnTo>
                      <a:lnTo>
                        <a:pt x="381" y="205"/>
                      </a:lnTo>
                      <a:lnTo>
                        <a:pt x="368" y="286"/>
                      </a:lnTo>
                      <a:lnTo>
                        <a:pt x="164" y="164"/>
                      </a:lnTo>
                      <a:lnTo>
                        <a:pt x="41" y="966"/>
                      </a:lnTo>
                      <a:lnTo>
                        <a:pt x="14" y="1143"/>
                      </a:lnTo>
                      <a:lnTo>
                        <a:pt x="0" y="1252"/>
                      </a:lnTo>
                      <a:lnTo>
                        <a:pt x="14" y="1375"/>
                      </a:lnTo>
                      <a:lnTo>
                        <a:pt x="28" y="1483"/>
                      </a:lnTo>
                      <a:lnTo>
                        <a:pt x="68" y="1606"/>
                      </a:lnTo>
                      <a:lnTo>
                        <a:pt x="96" y="1660"/>
                      </a:lnTo>
                      <a:lnTo>
                        <a:pt x="136" y="1701"/>
                      </a:lnTo>
                      <a:lnTo>
                        <a:pt x="177" y="1742"/>
                      </a:lnTo>
                      <a:lnTo>
                        <a:pt x="232" y="1783"/>
                      </a:lnTo>
                      <a:lnTo>
                        <a:pt x="286" y="1810"/>
                      </a:lnTo>
                      <a:lnTo>
                        <a:pt x="354" y="1823"/>
                      </a:lnTo>
                      <a:lnTo>
                        <a:pt x="490" y="1823"/>
                      </a:lnTo>
                      <a:lnTo>
                        <a:pt x="653" y="1796"/>
                      </a:lnTo>
                      <a:lnTo>
                        <a:pt x="817" y="1728"/>
                      </a:lnTo>
                      <a:lnTo>
                        <a:pt x="1034" y="1633"/>
                      </a:lnTo>
                      <a:lnTo>
                        <a:pt x="1238" y="1511"/>
                      </a:lnTo>
                      <a:lnTo>
                        <a:pt x="1456" y="1361"/>
                      </a:lnTo>
                      <a:lnTo>
                        <a:pt x="1646" y="1225"/>
                      </a:lnTo>
                      <a:lnTo>
                        <a:pt x="1986" y="953"/>
                      </a:lnTo>
                      <a:lnTo>
                        <a:pt x="2190" y="762"/>
                      </a:lnTo>
                      <a:lnTo>
                        <a:pt x="2218" y="722"/>
                      </a:lnTo>
                      <a:lnTo>
                        <a:pt x="2231" y="667"/>
                      </a:lnTo>
                      <a:lnTo>
                        <a:pt x="2231" y="626"/>
                      </a:lnTo>
                      <a:lnTo>
                        <a:pt x="2204" y="586"/>
                      </a:lnTo>
                      <a:lnTo>
                        <a:pt x="2163" y="545"/>
                      </a:lnTo>
                      <a:lnTo>
                        <a:pt x="2109" y="531"/>
                      </a:lnTo>
                      <a:lnTo>
                        <a:pt x="2054" y="545"/>
                      </a:lnTo>
                      <a:lnTo>
                        <a:pt x="2014" y="572"/>
                      </a:lnTo>
                      <a:lnTo>
                        <a:pt x="1810" y="762"/>
                      </a:lnTo>
                      <a:lnTo>
                        <a:pt x="1578" y="939"/>
                      </a:lnTo>
                      <a:lnTo>
                        <a:pt x="1334" y="1130"/>
                      </a:lnTo>
                      <a:lnTo>
                        <a:pt x="1089" y="1293"/>
                      </a:lnTo>
                      <a:lnTo>
                        <a:pt x="857" y="1429"/>
                      </a:lnTo>
                      <a:lnTo>
                        <a:pt x="653" y="1524"/>
                      </a:lnTo>
                      <a:lnTo>
                        <a:pt x="558" y="1551"/>
                      </a:lnTo>
                      <a:lnTo>
                        <a:pt x="477" y="1565"/>
                      </a:lnTo>
                      <a:lnTo>
                        <a:pt x="409" y="1565"/>
                      </a:lnTo>
                      <a:lnTo>
                        <a:pt x="354" y="1551"/>
                      </a:lnTo>
                      <a:lnTo>
                        <a:pt x="327" y="1524"/>
                      </a:lnTo>
                      <a:lnTo>
                        <a:pt x="300" y="1483"/>
                      </a:lnTo>
                      <a:lnTo>
                        <a:pt x="286" y="1429"/>
                      </a:lnTo>
                      <a:lnTo>
                        <a:pt x="273" y="1375"/>
                      </a:lnTo>
                      <a:lnTo>
                        <a:pt x="273" y="1211"/>
                      </a:lnTo>
                      <a:lnTo>
                        <a:pt x="300" y="1007"/>
                      </a:lnTo>
                      <a:lnTo>
                        <a:pt x="449" y="1"/>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30"/>
                <p:cNvSpPr/>
                <p:nvPr/>
              </p:nvSpPr>
              <p:spPr>
                <a:xfrm>
                  <a:off x="7318384" y="2042984"/>
                  <a:ext cx="30764" cy="107949"/>
                </a:xfrm>
                <a:custGeom>
                  <a:avLst/>
                  <a:gdLst/>
                  <a:ahLst/>
                  <a:cxnLst/>
                  <a:rect l="l" t="t" r="r" b="b"/>
                  <a:pathLst>
                    <a:path w="1008" h="3537" extrusionOk="0">
                      <a:moveTo>
                        <a:pt x="436" y="0"/>
                      </a:moveTo>
                      <a:lnTo>
                        <a:pt x="382" y="14"/>
                      </a:lnTo>
                      <a:lnTo>
                        <a:pt x="341" y="41"/>
                      </a:lnTo>
                      <a:lnTo>
                        <a:pt x="300" y="82"/>
                      </a:lnTo>
                      <a:lnTo>
                        <a:pt x="300" y="123"/>
                      </a:lnTo>
                      <a:lnTo>
                        <a:pt x="300" y="177"/>
                      </a:lnTo>
                      <a:lnTo>
                        <a:pt x="327" y="218"/>
                      </a:lnTo>
                      <a:lnTo>
                        <a:pt x="382" y="299"/>
                      </a:lnTo>
                      <a:lnTo>
                        <a:pt x="504" y="490"/>
                      </a:lnTo>
                      <a:lnTo>
                        <a:pt x="559" y="626"/>
                      </a:lnTo>
                      <a:lnTo>
                        <a:pt x="627" y="775"/>
                      </a:lnTo>
                      <a:lnTo>
                        <a:pt x="681" y="952"/>
                      </a:lnTo>
                      <a:lnTo>
                        <a:pt x="722" y="1156"/>
                      </a:lnTo>
                      <a:lnTo>
                        <a:pt x="749" y="1374"/>
                      </a:lnTo>
                      <a:lnTo>
                        <a:pt x="763" y="1619"/>
                      </a:lnTo>
                      <a:lnTo>
                        <a:pt x="735" y="1877"/>
                      </a:lnTo>
                      <a:lnTo>
                        <a:pt x="681" y="2163"/>
                      </a:lnTo>
                      <a:lnTo>
                        <a:pt x="627" y="2299"/>
                      </a:lnTo>
                      <a:lnTo>
                        <a:pt x="572" y="2462"/>
                      </a:lnTo>
                      <a:lnTo>
                        <a:pt x="518" y="2612"/>
                      </a:lnTo>
                      <a:lnTo>
                        <a:pt x="436" y="2761"/>
                      </a:lnTo>
                      <a:lnTo>
                        <a:pt x="355" y="2925"/>
                      </a:lnTo>
                      <a:lnTo>
                        <a:pt x="246" y="3088"/>
                      </a:lnTo>
                      <a:lnTo>
                        <a:pt x="137" y="3265"/>
                      </a:lnTo>
                      <a:lnTo>
                        <a:pt x="1" y="3428"/>
                      </a:lnTo>
                      <a:lnTo>
                        <a:pt x="1" y="3428"/>
                      </a:lnTo>
                      <a:lnTo>
                        <a:pt x="96" y="3414"/>
                      </a:lnTo>
                      <a:lnTo>
                        <a:pt x="259" y="3537"/>
                      </a:lnTo>
                      <a:lnTo>
                        <a:pt x="395" y="3346"/>
                      </a:lnTo>
                      <a:lnTo>
                        <a:pt x="504" y="3170"/>
                      </a:lnTo>
                      <a:lnTo>
                        <a:pt x="613" y="2993"/>
                      </a:lnTo>
                      <a:lnTo>
                        <a:pt x="708" y="2816"/>
                      </a:lnTo>
                      <a:lnTo>
                        <a:pt x="776" y="2639"/>
                      </a:lnTo>
                      <a:lnTo>
                        <a:pt x="844" y="2476"/>
                      </a:lnTo>
                      <a:lnTo>
                        <a:pt x="899" y="2313"/>
                      </a:lnTo>
                      <a:lnTo>
                        <a:pt x="939" y="2149"/>
                      </a:lnTo>
                      <a:lnTo>
                        <a:pt x="967" y="2000"/>
                      </a:lnTo>
                      <a:lnTo>
                        <a:pt x="994" y="1850"/>
                      </a:lnTo>
                      <a:lnTo>
                        <a:pt x="1007" y="1564"/>
                      </a:lnTo>
                      <a:lnTo>
                        <a:pt x="994" y="1292"/>
                      </a:lnTo>
                      <a:lnTo>
                        <a:pt x="967" y="1048"/>
                      </a:lnTo>
                      <a:lnTo>
                        <a:pt x="912" y="830"/>
                      </a:lnTo>
                      <a:lnTo>
                        <a:pt x="844" y="639"/>
                      </a:lnTo>
                      <a:lnTo>
                        <a:pt x="776" y="463"/>
                      </a:lnTo>
                      <a:lnTo>
                        <a:pt x="695" y="327"/>
                      </a:lnTo>
                      <a:lnTo>
                        <a:pt x="572" y="123"/>
                      </a:lnTo>
                      <a:lnTo>
                        <a:pt x="518" y="55"/>
                      </a:lnTo>
                      <a:lnTo>
                        <a:pt x="477" y="14"/>
                      </a:lnTo>
                      <a:lnTo>
                        <a:pt x="436" y="0"/>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30"/>
                <p:cNvSpPr/>
                <p:nvPr/>
              </p:nvSpPr>
              <p:spPr>
                <a:xfrm>
                  <a:off x="7901264" y="2839662"/>
                  <a:ext cx="445928" cy="1628242"/>
                </a:xfrm>
                <a:custGeom>
                  <a:avLst/>
                  <a:gdLst/>
                  <a:ahLst/>
                  <a:cxnLst/>
                  <a:rect l="l" t="t" r="r" b="b"/>
                  <a:pathLst>
                    <a:path w="14611" h="53350" extrusionOk="0">
                      <a:moveTo>
                        <a:pt x="1" y="0"/>
                      </a:moveTo>
                      <a:lnTo>
                        <a:pt x="9999" y="53064"/>
                      </a:lnTo>
                      <a:lnTo>
                        <a:pt x="14610" y="53349"/>
                      </a:lnTo>
                      <a:lnTo>
                        <a:pt x="11794" y="10814"/>
                      </a:lnTo>
                      <a:lnTo>
                        <a:pt x="10883" y="381"/>
                      </a:lnTo>
                      <a:lnTo>
                        <a:pt x="1" y="0"/>
                      </a:lnTo>
                      <a:close/>
                    </a:path>
                  </a:pathLst>
                </a:custGeom>
                <a:solidFill>
                  <a:srgbClr val="6E1CC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30"/>
                <p:cNvSpPr/>
                <p:nvPr/>
              </p:nvSpPr>
              <p:spPr>
                <a:xfrm>
                  <a:off x="8219288" y="4449225"/>
                  <a:ext cx="127909" cy="149060"/>
                </a:xfrm>
                <a:custGeom>
                  <a:avLst/>
                  <a:gdLst/>
                  <a:ahLst/>
                  <a:cxnLst/>
                  <a:rect l="l" t="t" r="r" b="b"/>
                  <a:pathLst>
                    <a:path w="4191" h="4884" extrusionOk="0">
                      <a:moveTo>
                        <a:pt x="1" y="0"/>
                      </a:moveTo>
                      <a:lnTo>
                        <a:pt x="667" y="4788"/>
                      </a:lnTo>
                      <a:lnTo>
                        <a:pt x="1062" y="4843"/>
                      </a:lnTo>
                      <a:lnTo>
                        <a:pt x="1429" y="4870"/>
                      </a:lnTo>
                      <a:lnTo>
                        <a:pt x="1783" y="4884"/>
                      </a:lnTo>
                      <a:lnTo>
                        <a:pt x="2123" y="4884"/>
                      </a:lnTo>
                      <a:lnTo>
                        <a:pt x="2435" y="4856"/>
                      </a:lnTo>
                      <a:lnTo>
                        <a:pt x="2721" y="4816"/>
                      </a:lnTo>
                      <a:lnTo>
                        <a:pt x="2993" y="4775"/>
                      </a:lnTo>
                      <a:lnTo>
                        <a:pt x="3224" y="4720"/>
                      </a:lnTo>
                      <a:lnTo>
                        <a:pt x="3456" y="4652"/>
                      </a:lnTo>
                      <a:lnTo>
                        <a:pt x="3646" y="4598"/>
                      </a:lnTo>
                      <a:lnTo>
                        <a:pt x="3945" y="4476"/>
                      </a:lnTo>
                      <a:lnTo>
                        <a:pt x="4136" y="4394"/>
                      </a:lnTo>
                      <a:lnTo>
                        <a:pt x="4190" y="4353"/>
                      </a:lnTo>
                      <a:lnTo>
                        <a:pt x="3877" y="313"/>
                      </a:lnTo>
                      <a:lnTo>
                        <a:pt x="1" y="0"/>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30"/>
                <p:cNvSpPr/>
                <p:nvPr/>
              </p:nvSpPr>
              <p:spPr>
                <a:xfrm>
                  <a:off x="8184006" y="4426396"/>
                  <a:ext cx="182693" cy="82221"/>
                </a:xfrm>
                <a:custGeom>
                  <a:avLst/>
                  <a:gdLst/>
                  <a:ahLst/>
                  <a:cxnLst/>
                  <a:rect l="l" t="t" r="r" b="b"/>
                  <a:pathLst>
                    <a:path w="5986" h="2694" extrusionOk="0">
                      <a:moveTo>
                        <a:pt x="5890" y="0"/>
                      </a:moveTo>
                      <a:lnTo>
                        <a:pt x="123" y="218"/>
                      </a:lnTo>
                      <a:lnTo>
                        <a:pt x="82" y="367"/>
                      </a:lnTo>
                      <a:lnTo>
                        <a:pt x="55" y="531"/>
                      </a:lnTo>
                      <a:lnTo>
                        <a:pt x="14" y="844"/>
                      </a:lnTo>
                      <a:lnTo>
                        <a:pt x="0" y="1156"/>
                      </a:lnTo>
                      <a:lnTo>
                        <a:pt x="14" y="1469"/>
                      </a:lnTo>
                      <a:lnTo>
                        <a:pt x="68" y="1782"/>
                      </a:lnTo>
                      <a:lnTo>
                        <a:pt x="123" y="2081"/>
                      </a:lnTo>
                      <a:lnTo>
                        <a:pt x="204" y="2394"/>
                      </a:lnTo>
                      <a:lnTo>
                        <a:pt x="313" y="2694"/>
                      </a:lnTo>
                      <a:lnTo>
                        <a:pt x="5849" y="2435"/>
                      </a:lnTo>
                      <a:lnTo>
                        <a:pt x="5904" y="2122"/>
                      </a:lnTo>
                      <a:lnTo>
                        <a:pt x="5945" y="1823"/>
                      </a:lnTo>
                      <a:lnTo>
                        <a:pt x="5972" y="1524"/>
                      </a:lnTo>
                      <a:lnTo>
                        <a:pt x="5985" y="1211"/>
                      </a:lnTo>
                      <a:lnTo>
                        <a:pt x="5985" y="912"/>
                      </a:lnTo>
                      <a:lnTo>
                        <a:pt x="5972" y="599"/>
                      </a:lnTo>
                      <a:lnTo>
                        <a:pt x="5945" y="299"/>
                      </a:lnTo>
                      <a:lnTo>
                        <a:pt x="5890" y="0"/>
                      </a:lnTo>
                      <a:close/>
                    </a:path>
                  </a:pathLst>
                </a:custGeom>
                <a:solidFill>
                  <a:srgbClr val="5D10B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30"/>
                <p:cNvSpPr/>
                <p:nvPr/>
              </p:nvSpPr>
              <p:spPr>
                <a:xfrm>
                  <a:off x="7938224" y="4528945"/>
                  <a:ext cx="424320" cy="203019"/>
                </a:xfrm>
                <a:custGeom>
                  <a:avLst/>
                  <a:gdLst/>
                  <a:ahLst/>
                  <a:cxnLst/>
                  <a:rect l="l" t="t" r="r" b="b"/>
                  <a:pathLst>
                    <a:path w="13903" h="6652" extrusionOk="0">
                      <a:moveTo>
                        <a:pt x="8638" y="0"/>
                      </a:moveTo>
                      <a:lnTo>
                        <a:pt x="8529" y="27"/>
                      </a:lnTo>
                      <a:lnTo>
                        <a:pt x="8353" y="109"/>
                      </a:lnTo>
                      <a:lnTo>
                        <a:pt x="8149" y="218"/>
                      </a:lnTo>
                      <a:lnTo>
                        <a:pt x="7890" y="367"/>
                      </a:lnTo>
                      <a:lnTo>
                        <a:pt x="7278" y="762"/>
                      </a:lnTo>
                      <a:lnTo>
                        <a:pt x="6543" y="1238"/>
                      </a:lnTo>
                      <a:lnTo>
                        <a:pt x="6013" y="1578"/>
                      </a:lnTo>
                      <a:lnTo>
                        <a:pt x="5646" y="1823"/>
                      </a:lnTo>
                      <a:lnTo>
                        <a:pt x="5020" y="2231"/>
                      </a:lnTo>
                      <a:lnTo>
                        <a:pt x="4775" y="2380"/>
                      </a:lnTo>
                      <a:lnTo>
                        <a:pt x="4204" y="2748"/>
                      </a:lnTo>
                      <a:lnTo>
                        <a:pt x="3360" y="3265"/>
                      </a:lnTo>
                      <a:lnTo>
                        <a:pt x="2952" y="3496"/>
                      </a:lnTo>
                      <a:lnTo>
                        <a:pt x="2571" y="3700"/>
                      </a:lnTo>
                      <a:lnTo>
                        <a:pt x="2204" y="3877"/>
                      </a:lnTo>
                      <a:lnTo>
                        <a:pt x="1878" y="4013"/>
                      </a:lnTo>
                      <a:lnTo>
                        <a:pt x="1578" y="4122"/>
                      </a:lnTo>
                      <a:lnTo>
                        <a:pt x="1442" y="4162"/>
                      </a:lnTo>
                      <a:lnTo>
                        <a:pt x="1320" y="4190"/>
                      </a:lnTo>
                      <a:lnTo>
                        <a:pt x="1021" y="4258"/>
                      </a:lnTo>
                      <a:lnTo>
                        <a:pt x="776" y="4339"/>
                      </a:lnTo>
                      <a:lnTo>
                        <a:pt x="667" y="4394"/>
                      </a:lnTo>
                      <a:lnTo>
                        <a:pt x="572" y="4448"/>
                      </a:lnTo>
                      <a:lnTo>
                        <a:pt x="477" y="4502"/>
                      </a:lnTo>
                      <a:lnTo>
                        <a:pt x="395" y="4570"/>
                      </a:lnTo>
                      <a:lnTo>
                        <a:pt x="327" y="4638"/>
                      </a:lnTo>
                      <a:lnTo>
                        <a:pt x="259" y="4707"/>
                      </a:lnTo>
                      <a:lnTo>
                        <a:pt x="150" y="4843"/>
                      </a:lnTo>
                      <a:lnTo>
                        <a:pt x="82" y="4992"/>
                      </a:lnTo>
                      <a:lnTo>
                        <a:pt x="28" y="5155"/>
                      </a:lnTo>
                      <a:lnTo>
                        <a:pt x="1" y="5319"/>
                      </a:lnTo>
                      <a:lnTo>
                        <a:pt x="1" y="5482"/>
                      </a:lnTo>
                      <a:lnTo>
                        <a:pt x="14" y="5645"/>
                      </a:lnTo>
                      <a:lnTo>
                        <a:pt x="41" y="5808"/>
                      </a:lnTo>
                      <a:lnTo>
                        <a:pt x="82" y="5958"/>
                      </a:lnTo>
                      <a:lnTo>
                        <a:pt x="123" y="6108"/>
                      </a:lnTo>
                      <a:lnTo>
                        <a:pt x="232" y="6380"/>
                      </a:lnTo>
                      <a:lnTo>
                        <a:pt x="259" y="6407"/>
                      </a:lnTo>
                      <a:lnTo>
                        <a:pt x="300" y="6434"/>
                      </a:lnTo>
                      <a:lnTo>
                        <a:pt x="436" y="6488"/>
                      </a:lnTo>
                      <a:lnTo>
                        <a:pt x="640" y="6529"/>
                      </a:lnTo>
                      <a:lnTo>
                        <a:pt x="898" y="6556"/>
                      </a:lnTo>
                      <a:lnTo>
                        <a:pt x="1225" y="6584"/>
                      </a:lnTo>
                      <a:lnTo>
                        <a:pt x="1592" y="6611"/>
                      </a:lnTo>
                      <a:lnTo>
                        <a:pt x="2476" y="6638"/>
                      </a:lnTo>
                      <a:lnTo>
                        <a:pt x="3496" y="6652"/>
                      </a:lnTo>
                      <a:lnTo>
                        <a:pt x="4639" y="6638"/>
                      </a:lnTo>
                      <a:lnTo>
                        <a:pt x="5850" y="6624"/>
                      </a:lnTo>
                      <a:lnTo>
                        <a:pt x="7088" y="6597"/>
                      </a:lnTo>
                      <a:lnTo>
                        <a:pt x="9536" y="6516"/>
                      </a:lnTo>
                      <a:lnTo>
                        <a:pt x="11644" y="6434"/>
                      </a:lnTo>
                      <a:lnTo>
                        <a:pt x="13712" y="6325"/>
                      </a:lnTo>
                      <a:lnTo>
                        <a:pt x="13766" y="5699"/>
                      </a:lnTo>
                      <a:lnTo>
                        <a:pt x="13821" y="5033"/>
                      </a:lnTo>
                      <a:lnTo>
                        <a:pt x="13875" y="4230"/>
                      </a:lnTo>
                      <a:lnTo>
                        <a:pt x="13902" y="3360"/>
                      </a:lnTo>
                      <a:lnTo>
                        <a:pt x="13902" y="2938"/>
                      </a:lnTo>
                      <a:lnTo>
                        <a:pt x="13889" y="2517"/>
                      </a:lnTo>
                      <a:lnTo>
                        <a:pt x="13875" y="2136"/>
                      </a:lnTo>
                      <a:lnTo>
                        <a:pt x="13834" y="1782"/>
                      </a:lnTo>
                      <a:lnTo>
                        <a:pt x="13794" y="1469"/>
                      </a:lnTo>
                      <a:lnTo>
                        <a:pt x="13753" y="1333"/>
                      </a:lnTo>
                      <a:lnTo>
                        <a:pt x="13726" y="1211"/>
                      </a:lnTo>
                      <a:lnTo>
                        <a:pt x="13671" y="1102"/>
                      </a:lnTo>
                      <a:lnTo>
                        <a:pt x="13630" y="1020"/>
                      </a:lnTo>
                      <a:lnTo>
                        <a:pt x="13562" y="939"/>
                      </a:lnTo>
                      <a:lnTo>
                        <a:pt x="13494" y="871"/>
                      </a:lnTo>
                      <a:lnTo>
                        <a:pt x="13426" y="816"/>
                      </a:lnTo>
                      <a:lnTo>
                        <a:pt x="13345" y="775"/>
                      </a:lnTo>
                      <a:lnTo>
                        <a:pt x="13250" y="748"/>
                      </a:lnTo>
                      <a:lnTo>
                        <a:pt x="13154" y="721"/>
                      </a:lnTo>
                      <a:lnTo>
                        <a:pt x="13059" y="707"/>
                      </a:lnTo>
                      <a:lnTo>
                        <a:pt x="12950" y="707"/>
                      </a:lnTo>
                      <a:lnTo>
                        <a:pt x="12733" y="721"/>
                      </a:lnTo>
                      <a:lnTo>
                        <a:pt x="12488" y="748"/>
                      </a:lnTo>
                      <a:lnTo>
                        <a:pt x="12229" y="803"/>
                      </a:lnTo>
                      <a:lnTo>
                        <a:pt x="11699" y="925"/>
                      </a:lnTo>
                      <a:lnTo>
                        <a:pt x="11413" y="993"/>
                      </a:lnTo>
                      <a:lnTo>
                        <a:pt x="11141" y="1047"/>
                      </a:lnTo>
                      <a:lnTo>
                        <a:pt x="10855" y="1088"/>
                      </a:lnTo>
                      <a:lnTo>
                        <a:pt x="10583" y="1102"/>
                      </a:lnTo>
                      <a:lnTo>
                        <a:pt x="10325" y="1102"/>
                      </a:lnTo>
                      <a:lnTo>
                        <a:pt x="10189" y="1088"/>
                      </a:lnTo>
                      <a:lnTo>
                        <a:pt x="10067" y="1061"/>
                      </a:lnTo>
                      <a:lnTo>
                        <a:pt x="9931" y="884"/>
                      </a:lnTo>
                      <a:lnTo>
                        <a:pt x="9781" y="721"/>
                      </a:lnTo>
                      <a:lnTo>
                        <a:pt x="9590" y="517"/>
                      </a:lnTo>
                      <a:lnTo>
                        <a:pt x="9373" y="326"/>
                      </a:lnTo>
                      <a:lnTo>
                        <a:pt x="9250" y="231"/>
                      </a:lnTo>
                      <a:lnTo>
                        <a:pt x="9128" y="150"/>
                      </a:lnTo>
                      <a:lnTo>
                        <a:pt x="9006" y="82"/>
                      </a:lnTo>
                      <a:lnTo>
                        <a:pt x="8883" y="41"/>
                      </a:lnTo>
                      <a:lnTo>
                        <a:pt x="8761" y="14"/>
                      </a:lnTo>
                      <a:lnTo>
                        <a:pt x="8638" y="0"/>
                      </a:lnTo>
                      <a:close/>
                    </a:path>
                  </a:pathLst>
                </a:custGeom>
                <a:solidFill>
                  <a:srgbClr val="D53F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30"/>
                <p:cNvSpPr/>
                <p:nvPr/>
              </p:nvSpPr>
              <p:spPr>
                <a:xfrm>
                  <a:off x="8091407" y="4584554"/>
                  <a:ext cx="66473" cy="54417"/>
                </a:xfrm>
                <a:custGeom>
                  <a:avLst/>
                  <a:gdLst/>
                  <a:ahLst/>
                  <a:cxnLst/>
                  <a:rect l="l" t="t" r="r" b="b"/>
                  <a:pathLst>
                    <a:path w="2178" h="1783" extrusionOk="0">
                      <a:moveTo>
                        <a:pt x="627" y="1"/>
                      </a:moveTo>
                      <a:lnTo>
                        <a:pt x="504" y="14"/>
                      </a:lnTo>
                      <a:lnTo>
                        <a:pt x="382" y="28"/>
                      </a:lnTo>
                      <a:lnTo>
                        <a:pt x="273" y="69"/>
                      </a:lnTo>
                      <a:lnTo>
                        <a:pt x="178" y="110"/>
                      </a:lnTo>
                      <a:lnTo>
                        <a:pt x="96" y="150"/>
                      </a:lnTo>
                      <a:lnTo>
                        <a:pt x="42" y="218"/>
                      </a:lnTo>
                      <a:lnTo>
                        <a:pt x="15" y="300"/>
                      </a:lnTo>
                      <a:lnTo>
                        <a:pt x="1" y="409"/>
                      </a:lnTo>
                      <a:lnTo>
                        <a:pt x="151" y="395"/>
                      </a:lnTo>
                      <a:lnTo>
                        <a:pt x="327" y="422"/>
                      </a:lnTo>
                      <a:lnTo>
                        <a:pt x="518" y="463"/>
                      </a:lnTo>
                      <a:lnTo>
                        <a:pt x="613" y="504"/>
                      </a:lnTo>
                      <a:lnTo>
                        <a:pt x="722" y="545"/>
                      </a:lnTo>
                      <a:lnTo>
                        <a:pt x="831" y="613"/>
                      </a:lnTo>
                      <a:lnTo>
                        <a:pt x="926" y="681"/>
                      </a:lnTo>
                      <a:lnTo>
                        <a:pt x="1116" y="844"/>
                      </a:lnTo>
                      <a:lnTo>
                        <a:pt x="1293" y="1035"/>
                      </a:lnTo>
                      <a:lnTo>
                        <a:pt x="1443" y="1211"/>
                      </a:lnTo>
                      <a:lnTo>
                        <a:pt x="1565" y="1388"/>
                      </a:lnTo>
                      <a:lnTo>
                        <a:pt x="1660" y="1524"/>
                      </a:lnTo>
                      <a:lnTo>
                        <a:pt x="1742" y="1660"/>
                      </a:lnTo>
                      <a:lnTo>
                        <a:pt x="1769" y="1701"/>
                      </a:lnTo>
                      <a:lnTo>
                        <a:pt x="1797" y="1728"/>
                      </a:lnTo>
                      <a:lnTo>
                        <a:pt x="1837" y="1755"/>
                      </a:lnTo>
                      <a:lnTo>
                        <a:pt x="1878" y="1769"/>
                      </a:lnTo>
                      <a:lnTo>
                        <a:pt x="1919" y="1783"/>
                      </a:lnTo>
                      <a:lnTo>
                        <a:pt x="1973" y="1783"/>
                      </a:lnTo>
                      <a:lnTo>
                        <a:pt x="2014" y="1769"/>
                      </a:lnTo>
                      <a:lnTo>
                        <a:pt x="2055" y="1755"/>
                      </a:lnTo>
                      <a:lnTo>
                        <a:pt x="2096" y="1728"/>
                      </a:lnTo>
                      <a:lnTo>
                        <a:pt x="2137" y="1687"/>
                      </a:lnTo>
                      <a:lnTo>
                        <a:pt x="2150" y="1660"/>
                      </a:lnTo>
                      <a:lnTo>
                        <a:pt x="2177" y="1606"/>
                      </a:lnTo>
                      <a:lnTo>
                        <a:pt x="2177" y="1565"/>
                      </a:lnTo>
                      <a:lnTo>
                        <a:pt x="2177" y="1524"/>
                      </a:lnTo>
                      <a:lnTo>
                        <a:pt x="2177" y="1483"/>
                      </a:lnTo>
                      <a:lnTo>
                        <a:pt x="2150" y="1429"/>
                      </a:lnTo>
                      <a:lnTo>
                        <a:pt x="2055" y="1266"/>
                      </a:lnTo>
                      <a:lnTo>
                        <a:pt x="1946" y="1103"/>
                      </a:lnTo>
                      <a:lnTo>
                        <a:pt x="1797" y="899"/>
                      </a:lnTo>
                      <a:lnTo>
                        <a:pt x="1620" y="695"/>
                      </a:lnTo>
                      <a:lnTo>
                        <a:pt x="1416" y="477"/>
                      </a:lnTo>
                      <a:lnTo>
                        <a:pt x="1307" y="382"/>
                      </a:lnTo>
                      <a:lnTo>
                        <a:pt x="1184" y="286"/>
                      </a:lnTo>
                      <a:lnTo>
                        <a:pt x="1062" y="205"/>
                      </a:lnTo>
                      <a:lnTo>
                        <a:pt x="940" y="137"/>
                      </a:lnTo>
                      <a:lnTo>
                        <a:pt x="776" y="55"/>
                      </a:lnTo>
                      <a:lnTo>
                        <a:pt x="62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30"/>
                <p:cNvSpPr/>
                <p:nvPr/>
              </p:nvSpPr>
              <p:spPr>
                <a:xfrm>
                  <a:off x="8121714" y="4566699"/>
                  <a:ext cx="58171" cy="52342"/>
                </a:xfrm>
                <a:custGeom>
                  <a:avLst/>
                  <a:gdLst/>
                  <a:ahLst/>
                  <a:cxnLst/>
                  <a:rect l="l" t="t" r="r" b="b"/>
                  <a:pathLst>
                    <a:path w="1906" h="1715" extrusionOk="0">
                      <a:moveTo>
                        <a:pt x="531" y="1"/>
                      </a:moveTo>
                      <a:lnTo>
                        <a:pt x="355" y="14"/>
                      </a:lnTo>
                      <a:lnTo>
                        <a:pt x="273" y="28"/>
                      </a:lnTo>
                      <a:lnTo>
                        <a:pt x="205" y="55"/>
                      </a:lnTo>
                      <a:lnTo>
                        <a:pt x="137" y="82"/>
                      </a:lnTo>
                      <a:lnTo>
                        <a:pt x="83" y="150"/>
                      </a:lnTo>
                      <a:lnTo>
                        <a:pt x="42" y="232"/>
                      </a:lnTo>
                      <a:lnTo>
                        <a:pt x="1" y="341"/>
                      </a:lnTo>
                      <a:lnTo>
                        <a:pt x="110" y="355"/>
                      </a:lnTo>
                      <a:lnTo>
                        <a:pt x="219" y="382"/>
                      </a:lnTo>
                      <a:lnTo>
                        <a:pt x="327" y="423"/>
                      </a:lnTo>
                      <a:lnTo>
                        <a:pt x="436" y="477"/>
                      </a:lnTo>
                      <a:lnTo>
                        <a:pt x="545" y="545"/>
                      </a:lnTo>
                      <a:lnTo>
                        <a:pt x="654" y="613"/>
                      </a:lnTo>
                      <a:lnTo>
                        <a:pt x="844" y="776"/>
                      </a:lnTo>
                      <a:lnTo>
                        <a:pt x="1008" y="953"/>
                      </a:lnTo>
                      <a:lnTo>
                        <a:pt x="1157" y="1143"/>
                      </a:lnTo>
                      <a:lnTo>
                        <a:pt x="1280" y="1307"/>
                      </a:lnTo>
                      <a:lnTo>
                        <a:pt x="1375" y="1456"/>
                      </a:lnTo>
                      <a:lnTo>
                        <a:pt x="1456" y="1592"/>
                      </a:lnTo>
                      <a:lnTo>
                        <a:pt x="1484" y="1633"/>
                      </a:lnTo>
                      <a:lnTo>
                        <a:pt x="1524" y="1660"/>
                      </a:lnTo>
                      <a:lnTo>
                        <a:pt x="1552" y="1688"/>
                      </a:lnTo>
                      <a:lnTo>
                        <a:pt x="1592" y="1701"/>
                      </a:lnTo>
                      <a:lnTo>
                        <a:pt x="1647" y="1715"/>
                      </a:lnTo>
                      <a:lnTo>
                        <a:pt x="1688" y="1715"/>
                      </a:lnTo>
                      <a:lnTo>
                        <a:pt x="1742" y="1701"/>
                      </a:lnTo>
                      <a:lnTo>
                        <a:pt x="1783" y="1688"/>
                      </a:lnTo>
                      <a:lnTo>
                        <a:pt x="1824" y="1660"/>
                      </a:lnTo>
                      <a:lnTo>
                        <a:pt x="1851" y="1620"/>
                      </a:lnTo>
                      <a:lnTo>
                        <a:pt x="1878" y="1579"/>
                      </a:lnTo>
                      <a:lnTo>
                        <a:pt x="1892" y="1538"/>
                      </a:lnTo>
                      <a:lnTo>
                        <a:pt x="1905" y="1497"/>
                      </a:lnTo>
                      <a:lnTo>
                        <a:pt x="1905" y="1456"/>
                      </a:lnTo>
                      <a:lnTo>
                        <a:pt x="1892" y="1402"/>
                      </a:lnTo>
                      <a:lnTo>
                        <a:pt x="1878" y="1361"/>
                      </a:lnTo>
                      <a:lnTo>
                        <a:pt x="1769" y="1198"/>
                      </a:lnTo>
                      <a:lnTo>
                        <a:pt x="1660" y="1021"/>
                      </a:lnTo>
                      <a:lnTo>
                        <a:pt x="1524" y="831"/>
                      </a:lnTo>
                      <a:lnTo>
                        <a:pt x="1348" y="613"/>
                      </a:lnTo>
                      <a:lnTo>
                        <a:pt x="1144" y="409"/>
                      </a:lnTo>
                      <a:lnTo>
                        <a:pt x="1021" y="314"/>
                      </a:lnTo>
                      <a:lnTo>
                        <a:pt x="912" y="219"/>
                      </a:lnTo>
                      <a:lnTo>
                        <a:pt x="790" y="137"/>
                      </a:lnTo>
                      <a:lnTo>
                        <a:pt x="667" y="55"/>
                      </a:lnTo>
                      <a:lnTo>
                        <a:pt x="53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30"/>
                <p:cNvSpPr/>
                <p:nvPr/>
              </p:nvSpPr>
              <p:spPr>
                <a:xfrm>
                  <a:off x="8066502" y="4601584"/>
                  <a:ext cx="61895" cy="53593"/>
                </a:xfrm>
                <a:custGeom>
                  <a:avLst/>
                  <a:gdLst/>
                  <a:ahLst/>
                  <a:cxnLst/>
                  <a:rect l="l" t="t" r="r" b="b"/>
                  <a:pathLst>
                    <a:path w="2028" h="1756" extrusionOk="0">
                      <a:moveTo>
                        <a:pt x="327" y="0"/>
                      </a:moveTo>
                      <a:lnTo>
                        <a:pt x="218" y="28"/>
                      </a:lnTo>
                      <a:lnTo>
                        <a:pt x="137" y="55"/>
                      </a:lnTo>
                      <a:lnTo>
                        <a:pt x="69" y="109"/>
                      </a:lnTo>
                      <a:lnTo>
                        <a:pt x="28" y="177"/>
                      </a:lnTo>
                      <a:lnTo>
                        <a:pt x="1" y="259"/>
                      </a:lnTo>
                      <a:lnTo>
                        <a:pt x="1" y="368"/>
                      </a:lnTo>
                      <a:lnTo>
                        <a:pt x="137" y="381"/>
                      </a:lnTo>
                      <a:lnTo>
                        <a:pt x="273" y="409"/>
                      </a:lnTo>
                      <a:lnTo>
                        <a:pt x="422" y="449"/>
                      </a:lnTo>
                      <a:lnTo>
                        <a:pt x="572" y="517"/>
                      </a:lnTo>
                      <a:lnTo>
                        <a:pt x="681" y="585"/>
                      </a:lnTo>
                      <a:lnTo>
                        <a:pt x="776" y="653"/>
                      </a:lnTo>
                      <a:lnTo>
                        <a:pt x="967" y="817"/>
                      </a:lnTo>
                      <a:lnTo>
                        <a:pt x="1143" y="993"/>
                      </a:lnTo>
                      <a:lnTo>
                        <a:pt x="1293" y="1184"/>
                      </a:lnTo>
                      <a:lnTo>
                        <a:pt x="1415" y="1347"/>
                      </a:lnTo>
                      <a:lnTo>
                        <a:pt x="1511" y="1497"/>
                      </a:lnTo>
                      <a:lnTo>
                        <a:pt x="1592" y="1633"/>
                      </a:lnTo>
                      <a:lnTo>
                        <a:pt x="1620" y="1674"/>
                      </a:lnTo>
                      <a:lnTo>
                        <a:pt x="1647" y="1701"/>
                      </a:lnTo>
                      <a:lnTo>
                        <a:pt x="1688" y="1728"/>
                      </a:lnTo>
                      <a:lnTo>
                        <a:pt x="1728" y="1742"/>
                      </a:lnTo>
                      <a:lnTo>
                        <a:pt x="1769" y="1755"/>
                      </a:lnTo>
                      <a:lnTo>
                        <a:pt x="1824" y="1755"/>
                      </a:lnTo>
                      <a:lnTo>
                        <a:pt x="1864" y="1742"/>
                      </a:lnTo>
                      <a:lnTo>
                        <a:pt x="1919" y="1728"/>
                      </a:lnTo>
                      <a:lnTo>
                        <a:pt x="1946" y="1701"/>
                      </a:lnTo>
                      <a:lnTo>
                        <a:pt x="1987" y="1660"/>
                      </a:lnTo>
                      <a:lnTo>
                        <a:pt x="2014" y="1619"/>
                      </a:lnTo>
                      <a:lnTo>
                        <a:pt x="2028" y="1578"/>
                      </a:lnTo>
                      <a:lnTo>
                        <a:pt x="2028" y="1538"/>
                      </a:lnTo>
                      <a:lnTo>
                        <a:pt x="2028" y="1497"/>
                      </a:lnTo>
                      <a:lnTo>
                        <a:pt x="2028" y="1442"/>
                      </a:lnTo>
                      <a:lnTo>
                        <a:pt x="2000" y="1402"/>
                      </a:lnTo>
                      <a:lnTo>
                        <a:pt x="1905" y="1238"/>
                      </a:lnTo>
                      <a:lnTo>
                        <a:pt x="1796" y="1061"/>
                      </a:lnTo>
                      <a:lnTo>
                        <a:pt x="1647" y="871"/>
                      </a:lnTo>
                      <a:lnTo>
                        <a:pt x="1470" y="653"/>
                      </a:lnTo>
                      <a:lnTo>
                        <a:pt x="1266" y="449"/>
                      </a:lnTo>
                      <a:lnTo>
                        <a:pt x="1157" y="354"/>
                      </a:lnTo>
                      <a:lnTo>
                        <a:pt x="1035" y="259"/>
                      </a:lnTo>
                      <a:lnTo>
                        <a:pt x="926" y="177"/>
                      </a:lnTo>
                      <a:lnTo>
                        <a:pt x="790" y="96"/>
                      </a:lnTo>
                      <a:lnTo>
                        <a:pt x="57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30"/>
                <p:cNvSpPr/>
                <p:nvPr/>
              </p:nvSpPr>
              <p:spPr>
                <a:xfrm>
                  <a:off x="8136272" y="2809752"/>
                  <a:ext cx="508982" cy="1668956"/>
                </a:xfrm>
                <a:custGeom>
                  <a:avLst/>
                  <a:gdLst/>
                  <a:ahLst/>
                  <a:cxnLst/>
                  <a:rect l="l" t="t" r="r" b="b"/>
                  <a:pathLst>
                    <a:path w="16677" h="54684" extrusionOk="0">
                      <a:moveTo>
                        <a:pt x="11725" y="1"/>
                      </a:moveTo>
                      <a:lnTo>
                        <a:pt x="10080" y="327"/>
                      </a:lnTo>
                      <a:lnTo>
                        <a:pt x="10052" y="327"/>
                      </a:lnTo>
                      <a:lnTo>
                        <a:pt x="9563" y="450"/>
                      </a:lnTo>
                      <a:lnTo>
                        <a:pt x="9481" y="477"/>
                      </a:lnTo>
                      <a:lnTo>
                        <a:pt x="0" y="1552"/>
                      </a:lnTo>
                      <a:lnTo>
                        <a:pt x="2013" y="29763"/>
                      </a:lnTo>
                      <a:lnTo>
                        <a:pt x="12569" y="54683"/>
                      </a:lnTo>
                      <a:lnTo>
                        <a:pt x="16677" y="54493"/>
                      </a:lnTo>
                      <a:lnTo>
                        <a:pt x="16323" y="52357"/>
                      </a:lnTo>
                      <a:lnTo>
                        <a:pt x="15929" y="50072"/>
                      </a:lnTo>
                      <a:lnTo>
                        <a:pt x="15425" y="47311"/>
                      </a:lnTo>
                      <a:lnTo>
                        <a:pt x="14868" y="44304"/>
                      </a:lnTo>
                      <a:lnTo>
                        <a:pt x="14568" y="42795"/>
                      </a:lnTo>
                      <a:lnTo>
                        <a:pt x="14283" y="41312"/>
                      </a:lnTo>
                      <a:lnTo>
                        <a:pt x="13984" y="39897"/>
                      </a:lnTo>
                      <a:lnTo>
                        <a:pt x="13684" y="38591"/>
                      </a:lnTo>
                      <a:lnTo>
                        <a:pt x="13399" y="37394"/>
                      </a:lnTo>
                      <a:lnTo>
                        <a:pt x="13127" y="36374"/>
                      </a:lnTo>
                      <a:lnTo>
                        <a:pt x="12855" y="35436"/>
                      </a:lnTo>
                      <a:lnTo>
                        <a:pt x="12582" y="34538"/>
                      </a:lnTo>
                      <a:lnTo>
                        <a:pt x="12310" y="33654"/>
                      </a:lnTo>
                      <a:lnTo>
                        <a:pt x="12038" y="32810"/>
                      </a:lnTo>
                      <a:lnTo>
                        <a:pt x="11494" y="31246"/>
                      </a:lnTo>
                      <a:lnTo>
                        <a:pt x="11005" y="29872"/>
                      </a:lnTo>
                      <a:lnTo>
                        <a:pt x="10583" y="28743"/>
                      </a:lnTo>
                      <a:lnTo>
                        <a:pt x="10243" y="27873"/>
                      </a:lnTo>
                      <a:lnTo>
                        <a:pt x="9944" y="27138"/>
                      </a:lnTo>
                      <a:lnTo>
                        <a:pt x="10134" y="23710"/>
                      </a:lnTo>
                      <a:lnTo>
                        <a:pt x="10324" y="20078"/>
                      </a:lnTo>
                      <a:lnTo>
                        <a:pt x="10569" y="15739"/>
                      </a:lnTo>
                      <a:lnTo>
                        <a:pt x="10855" y="11114"/>
                      </a:lnTo>
                      <a:lnTo>
                        <a:pt x="11005" y="8843"/>
                      </a:lnTo>
                      <a:lnTo>
                        <a:pt x="11154" y="6666"/>
                      </a:lnTo>
                      <a:lnTo>
                        <a:pt x="11304" y="4639"/>
                      </a:lnTo>
                      <a:lnTo>
                        <a:pt x="11440" y="2817"/>
                      </a:lnTo>
                      <a:lnTo>
                        <a:pt x="11589" y="1252"/>
                      </a:lnTo>
                      <a:lnTo>
                        <a:pt x="11725"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30"/>
                <p:cNvSpPr/>
                <p:nvPr/>
              </p:nvSpPr>
              <p:spPr>
                <a:xfrm>
                  <a:off x="8519853" y="4447974"/>
                  <a:ext cx="144085" cy="150311"/>
                </a:xfrm>
                <a:custGeom>
                  <a:avLst/>
                  <a:gdLst/>
                  <a:ahLst/>
                  <a:cxnLst/>
                  <a:rect l="l" t="t" r="r" b="b"/>
                  <a:pathLst>
                    <a:path w="4721" h="4925" extrusionOk="0">
                      <a:moveTo>
                        <a:pt x="1" y="1"/>
                      </a:moveTo>
                      <a:lnTo>
                        <a:pt x="1184" y="4829"/>
                      </a:lnTo>
                      <a:lnTo>
                        <a:pt x="1579" y="4884"/>
                      </a:lnTo>
                      <a:lnTo>
                        <a:pt x="1946" y="4911"/>
                      </a:lnTo>
                      <a:lnTo>
                        <a:pt x="2300" y="4925"/>
                      </a:lnTo>
                      <a:lnTo>
                        <a:pt x="2640" y="4925"/>
                      </a:lnTo>
                      <a:lnTo>
                        <a:pt x="2953" y="4897"/>
                      </a:lnTo>
                      <a:lnTo>
                        <a:pt x="3238" y="4857"/>
                      </a:lnTo>
                      <a:lnTo>
                        <a:pt x="3510" y="4816"/>
                      </a:lnTo>
                      <a:lnTo>
                        <a:pt x="3755" y="4761"/>
                      </a:lnTo>
                      <a:lnTo>
                        <a:pt x="3973" y="4693"/>
                      </a:lnTo>
                      <a:lnTo>
                        <a:pt x="4163" y="4639"/>
                      </a:lnTo>
                      <a:lnTo>
                        <a:pt x="4463" y="4517"/>
                      </a:lnTo>
                      <a:lnTo>
                        <a:pt x="4653" y="4435"/>
                      </a:lnTo>
                      <a:lnTo>
                        <a:pt x="4721" y="4394"/>
                      </a:lnTo>
                      <a:lnTo>
                        <a:pt x="3524" y="286"/>
                      </a:lnTo>
                      <a:lnTo>
                        <a:pt x="1" y="1"/>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30"/>
                <p:cNvSpPr/>
                <p:nvPr/>
              </p:nvSpPr>
              <p:spPr>
                <a:xfrm>
                  <a:off x="8482100" y="4431798"/>
                  <a:ext cx="201371" cy="82221"/>
                </a:xfrm>
                <a:custGeom>
                  <a:avLst/>
                  <a:gdLst/>
                  <a:ahLst/>
                  <a:cxnLst/>
                  <a:rect l="l" t="t" r="r" b="b"/>
                  <a:pathLst>
                    <a:path w="6598" h="2694" extrusionOk="0">
                      <a:moveTo>
                        <a:pt x="6298" y="0"/>
                      </a:moveTo>
                      <a:lnTo>
                        <a:pt x="109" y="367"/>
                      </a:lnTo>
                      <a:lnTo>
                        <a:pt x="41" y="735"/>
                      </a:lnTo>
                      <a:lnTo>
                        <a:pt x="14" y="1061"/>
                      </a:lnTo>
                      <a:lnTo>
                        <a:pt x="0" y="1224"/>
                      </a:lnTo>
                      <a:lnTo>
                        <a:pt x="14" y="1374"/>
                      </a:lnTo>
                      <a:lnTo>
                        <a:pt x="27" y="1524"/>
                      </a:lnTo>
                      <a:lnTo>
                        <a:pt x="54" y="1673"/>
                      </a:lnTo>
                      <a:lnTo>
                        <a:pt x="82" y="1823"/>
                      </a:lnTo>
                      <a:lnTo>
                        <a:pt x="136" y="1959"/>
                      </a:lnTo>
                      <a:lnTo>
                        <a:pt x="204" y="2081"/>
                      </a:lnTo>
                      <a:lnTo>
                        <a:pt x="272" y="2217"/>
                      </a:lnTo>
                      <a:lnTo>
                        <a:pt x="354" y="2340"/>
                      </a:lnTo>
                      <a:lnTo>
                        <a:pt x="463" y="2462"/>
                      </a:lnTo>
                      <a:lnTo>
                        <a:pt x="585" y="2571"/>
                      </a:lnTo>
                      <a:lnTo>
                        <a:pt x="707" y="2693"/>
                      </a:lnTo>
                      <a:lnTo>
                        <a:pt x="6502" y="2353"/>
                      </a:lnTo>
                      <a:lnTo>
                        <a:pt x="6556" y="2054"/>
                      </a:lnTo>
                      <a:lnTo>
                        <a:pt x="6584" y="1755"/>
                      </a:lnTo>
                      <a:lnTo>
                        <a:pt x="6597" y="1456"/>
                      </a:lnTo>
                      <a:lnTo>
                        <a:pt x="6584" y="1156"/>
                      </a:lnTo>
                      <a:lnTo>
                        <a:pt x="6543" y="857"/>
                      </a:lnTo>
                      <a:lnTo>
                        <a:pt x="6488" y="571"/>
                      </a:lnTo>
                      <a:lnTo>
                        <a:pt x="6407" y="286"/>
                      </a:lnTo>
                      <a:lnTo>
                        <a:pt x="6298" y="0"/>
                      </a:lnTo>
                      <a:close/>
                    </a:path>
                  </a:pathLst>
                </a:custGeom>
                <a:solidFill>
                  <a:srgbClr val="5D10B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30"/>
                <p:cNvSpPr/>
                <p:nvPr/>
              </p:nvSpPr>
              <p:spPr>
                <a:xfrm>
                  <a:off x="8262474" y="4528945"/>
                  <a:ext cx="424320" cy="203019"/>
                </a:xfrm>
                <a:custGeom>
                  <a:avLst/>
                  <a:gdLst/>
                  <a:ahLst/>
                  <a:cxnLst/>
                  <a:rect l="l" t="t" r="r" b="b"/>
                  <a:pathLst>
                    <a:path w="13903" h="6652" extrusionOk="0">
                      <a:moveTo>
                        <a:pt x="8638" y="0"/>
                      </a:moveTo>
                      <a:lnTo>
                        <a:pt x="8529" y="27"/>
                      </a:lnTo>
                      <a:lnTo>
                        <a:pt x="8352" y="109"/>
                      </a:lnTo>
                      <a:lnTo>
                        <a:pt x="8148" y="218"/>
                      </a:lnTo>
                      <a:lnTo>
                        <a:pt x="7890" y="367"/>
                      </a:lnTo>
                      <a:lnTo>
                        <a:pt x="7278" y="762"/>
                      </a:lnTo>
                      <a:lnTo>
                        <a:pt x="6543" y="1238"/>
                      </a:lnTo>
                      <a:lnTo>
                        <a:pt x="6013" y="1578"/>
                      </a:lnTo>
                      <a:lnTo>
                        <a:pt x="5645" y="1823"/>
                      </a:lnTo>
                      <a:lnTo>
                        <a:pt x="5020" y="2231"/>
                      </a:lnTo>
                      <a:lnTo>
                        <a:pt x="4775" y="2380"/>
                      </a:lnTo>
                      <a:lnTo>
                        <a:pt x="4203" y="2748"/>
                      </a:lnTo>
                      <a:lnTo>
                        <a:pt x="3360" y="3265"/>
                      </a:lnTo>
                      <a:lnTo>
                        <a:pt x="2952" y="3496"/>
                      </a:lnTo>
                      <a:lnTo>
                        <a:pt x="2571" y="3700"/>
                      </a:lnTo>
                      <a:lnTo>
                        <a:pt x="2204" y="3877"/>
                      </a:lnTo>
                      <a:lnTo>
                        <a:pt x="1877" y="4013"/>
                      </a:lnTo>
                      <a:lnTo>
                        <a:pt x="1578" y="4122"/>
                      </a:lnTo>
                      <a:lnTo>
                        <a:pt x="1442" y="4162"/>
                      </a:lnTo>
                      <a:lnTo>
                        <a:pt x="1320" y="4190"/>
                      </a:lnTo>
                      <a:lnTo>
                        <a:pt x="1020" y="4258"/>
                      </a:lnTo>
                      <a:lnTo>
                        <a:pt x="776" y="4339"/>
                      </a:lnTo>
                      <a:lnTo>
                        <a:pt x="667" y="4394"/>
                      </a:lnTo>
                      <a:lnTo>
                        <a:pt x="572" y="4448"/>
                      </a:lnTo>
                      <a:lnTo>
                        <a:pt x="476" y="4502"/>
                      </a:lnTo>
                      <a:lnTo>
                        <a:pt x="395" y="4570"/>
                      </a:lnTo>
                      <a:lnTo>
                        <a:pt x="327" y="4638"/>
                      </a:lnTo>
                      <a:lnTo>
                        <a:pt x="259" y="4707"/>
                      </a:lnTo>
                      <a:lnTo>
                        <a:pt x="150" y="4843"/>
                      </a:lnTo>
                      <a:lnTo>
                        <a:pt x="82" y="4992"/>
                      </a:lnTo>
                      <a:lnTo>
                        <a:pt x="27" y="5155"/>
                      </a:lnTo>
                      <a:lnTo>
                        <a:pt x="0" y="5319"/>
                      </a:lnTo>
                      <a:lnTo>
                        <a:pt x="0" y="5482"/>
                      </a:lnTo>
                      <a:lnTo>
                        <a:pt x="14" y="5645"/>
                      </a:lnTo>
                      <a:lnTo>
                        <a:pt x="41" y="5808"/>
                      </a:lnTo>
                      <a:lnTo>
                        <a:pt x="82" y="5958"/>
                      </a:lnTo>
                      <a:lnTo>
                        <a:pt x="123" y="6108"/>
                      </a:lnTo>
                      <a:lnTo>
                        <a:pt x="245" y="6380"/>
                      </a:lnTo>
                      <a:lnTo>
                        <a:pt x="259" y="6407"/>
                      </a:lnTo>
                      <a:lnTo>
                        <a:pt x="299" y="6434"/>
                      </a:lnTo>
                      <a:lnTo>
                        <a:pt x="436" y="6488"/>
                      </a:lnTo>
                      <a:lnTo>
                        <a:pt x="640" y="6529"/>
                      </a:lnTo>
                      <a:lnTo>
                        <a:pt x="898" y="6556"/>
                      </a:lnTo>
                      <a:lnTo>
                        <a:pt x="1224" y="6584"/>
                      </a:lnTo>
                      <a:lnTo>
                        <a:pt x="1592" y="6611"/>
                      </a:lnTo>
                      <a:lnTo>
                        <a:pt x="2476" y="6638"/>
                      </a:lnTo>
                      <a:lnTo>
                        <a:pt x="3496" y="6652"/>
                      </a:lnTo>
                      <a:lnTo>
                        <a:pt x="4639" y="6638"/>
                      </a:lnTo>
                      <a:lnTo>
                        <a:pt x="5849" y="6624"/>
                      </a:lnTo>
                      <a:lnTo>
                        <a:pt x="7087" y="6597"/>
                      </a:lnTo>
                      <a:lnTo>
                        <a:pt x="9536" y="6516"/>
                      </a:lnTo>
                      <a:lnTo>
                        <a:pt x="11644" y="6434"/>
                      </a:lnTo>
                      <a:lnTo>
                        <a:pt x="13712" y="6325"/>
                      </a:lnTo>
                      <a:lnTo>
                        <a:pt x="13766" y="5699"/>
                      </a:lnTo>
                      <a:lnTo>
                        <a:pt x="13820" y="5033"/>
                      </a:lnTo>
                      <a:lnTo>
                        <a:pt x="13875" y="4230"/>
                      </a:lnTo>
                      <a:lnTo>
                        <a:pt x="13902" y="3360"/>
                      </a:lnTo>
                      <a:lnTo>
                        <a:pt x="13902" y="2938"/>
                      </a:lnTo>
                      <a:lnTo>
                        <a:pt x="13888" y="2517"/>
                      </a:lnTo>
                      <a:lnTo>
                        <a:pt x="13875" y="2136"/>
                      </a:lnTo>
                      <a:lnTo>
                        <a:pt x="13834" y="1782"/>
                      </a:lnTo>
                      <a:lnTo>
                        <a:pt x="13793" y="1469"/>
                      </a:lnTo>
                      <a:lnTo>
                        <a:pt x="13752" y="1333"/>
                      </a:lnTo>
                      <a:lnTo>
                        <a:pt x="13725" y="1211"/>
                      </a:lnTo>
                      <a:lnTo>
                        <a:pt x="13671" y="1102"/>
                      </a:lnTo>
                      <a:lnTo>
                        <a:pt x="13630" y="1020"/>
                      </a:lnTo>
                      <a:lnTo>
                        <a:pt x="13562" y="939"/>
                      </a:lnTo>
                      <a:lnTo>
                        <a:pt x="13494" y="871"/>
                      </a:lnTo>
                      <a:lnTo>
                        <a:pt x="13426" y="816"/>
                      </a:lnTo>
                      <a:lnTo>
                        <a:pt x="13344" y="775"/>
                      </a:lnTo>
                      <a:lnTo>
                        <a:pt x="13249" y="748"/>
                      </a:lnTo>
                      <a:lnTo>
                        <a:pt x="13154" y="721"/>
                      </a:lnTo>
                      <a:lnTo>
                        <a:pt x="13059" y="707"/>
                      </a:lnTo>
                      <a:lnTo>
                        <a:pt x="12950" y="707"/>
                      </a:lnTo>
                      <a:lnTo>
                        <a:pt x="12732" y="721"/>
                      </a:lnTo>
                      <a:lnTo>
                        <a:pt x="12487" y="748"/>
                      </a:lnTo>
                      <a:lnTo>
                        <a:pt x="12229" y="803"/>
                      </a:lnTo>
                      <a:lnTo>
                        <a:pt x="11698" y="925"/>
                      </a:lnTo>
                      <a:lnTo>
                        <a:pt x="11413" y="993"/>
                      </a:lnTo>
                      <a:lnTo>
                        <a:pt x="11141" y="1047"/>
                      </a:lnTo>
                      <a:lnTo>
                        <a:pt x="10855" y="1088"/>
                      </a:lnTo>
                      <a:lnTo>
                        <a:pt x="10583" y="1102"/>
                      </a:lnTo>
                      <a:lnTo>
                        <a:pt x="10325" y="1102"/>
                      </a:lnTo>
                      <a:lnTo>
                        <a:pt x="10189" y="1088"/>
                      </a:lnTo>
                      <a:lnTo>
                        <a:pt x="10066" y="1061"/>
                      </a:lnTo>
                      <a:lnTo>
                        <a:pt x="9930" y="884"/>
                      </a:lnTo>
                      <a:lnTo>
                        <a:pt x="9781" y="721"/>
                      </a:lnTo>
                      <a:lnTo>
                        <a:pt x="9590" y="517"/>
                      </a:lnTo>
                      <a:lnTo>
                        <a:pt x="9372" y="326"/>
                      </a:lnTo>
                      <a:lnTo>
                        <a:pt x="9250" y="231"/>
                      </a:lnTo>
                      <a:lnTo>
                        <a:pt x="9128" y="150"/>
                      </a:lnTo>
                      <a:lnTo>
                        <a:pt x="9005" y="82"/>
                      </a:lnTo>
                      <a:lnTo>
                        <a:pt x="8883" y="41"/>
                      </a:lnTo>
                      <a:lnTo>
                        <a:pt x="8760" y="14"/>
                      </a:lnTo>
                      <a:lnTo>
                        <a:pt x="863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3" name="Google Shape;1343;p30"/>
                <p:cNvSpPr/>
                <p:nvPr/>
              </p:nvSpPr>
              <p:spPr>
                <a:xfrm>
                  <a:off x="8415657" y="4584554"/>
                  <a:ext cx="66442" cy="54417"/>
                </a:xfrm>
                <a:custGeom>
                  <a:avLst/>
                  <a:gdLst/>
                  <a:ahLst/>
                  <a:cxnLst/>
                  <a:rect l="l" t="t" r="r" b="b"/>
                  <a:pathLst>
                    <a:path w="2177" h="1783" extrusionOk="0">
                      <a:moveTo>
                        <a:pt x="626" y="1"/>
                      </a:moveTo>
                      <a:lnTo>
                        <a:pt x="504" y="14"/>
                      </a:lnTo>
                      <a:lnTo>
                        <a:pt x="381" y="28"/>
                      </a:lnTo>
                      <a:lnTo>
                        <a:pt x="273" y="69"/>
                      </a:lnTo>
                      <a:lnTo>
                        <a:pt x="177" y="110"/>
                      </a:lnTo>
                      <a:lnTo>
                        <a:pt x="96" y="150"/>
                      </a:lnTo>
                      <a:lnTo>
                        <a:pt x="41" y="218"/>
                      </a:lnTo>
                      <a:lnTo>
                        <a:pt x="14" y="300"/>
                      </a:lnTo>
                      <a:lnTo>
                        <a:pt x="1" y="409"/>
                      </a:lnTo>
                      <a:lnTo>
                        <a:pt x="150" y="395"/>
                      </a:lnTo>
                      <a:lnTo>
                        <a:pt x="327" y="422"/>
                      </a:lnTo>
                      <a:lnTo>
                        <a:pt x="517" y="463"/>
                      </a:lnTo>
                      <a:lnTo>
                        <a:pt x="613" y="504"/>
                      </a:lnTo>
                      <a:lnTo>
                        <a:pt x="722" y="545"/>
                      </a:lnTo>
                      <a:lnTo>
                        <a:pt x="830" y="613"/>
                      </a:lnTo>
                      <a:lnTo>
                        <a:pt x="926" y="681"/>
                      </a:lnTo>
                      <a:lnTo>
                        <a:pt x="1116" y="844"/>
                      </a:lnTo>
                      <a:lnTo>
                        <a:pt x="1293" y="1035"/>
                      </a:lnTo>
                      <a:lnTo>
                        <a:pt x="1442" y="1211"/>
                      </a:lnTo>
                      <a:lnTo>
                        <a:pt x="1565" y="1388"/>
                      </a:lnTo>
                      <a:lnTo>
                        <a:pt x="1660" y="1524"/>
                      </a:lnTo>
                      <a:lnTo>
                        <a:pt x="1742" y="1660"/>
                      </a:lnTo>
                      <a:lnTo>
                        <a:pt x="1769" y="1701"/>
                      </a:lnTo>
                      <a:lnTo>
                        <a:pt x="1796" y="1728"/>
                      </a:lnTo>
                      <a:lnTo>
                        <a:pt x="1837" y="1755"/>
                      </a:lnTo>
                      <a:lnTo>
                        <a:pt x="1878" y="1769"/>
                      </a:lnTo>
                      <a:lnTo>
                        <a:pt x="1919" y="1783"/>
                      </a:lnTo>
                      <a:lnTo>
                        <a:pt x="1973" y="1783"/>
                      </a:lnTo>
                      <a:lnTo>
                        <a:pt x="2014" y="1769"/>
                      </a:lnTo>
                      <a:lnTo>
                        <a:pt x="2055" y="1755"/>
                      </a:lnTo>
                      <a:lnTo>
                        <a:pt x="2095" y="1728"/>
                      </a:lnTo>
                      <a:lnTo>
                        <a:pt x="2136" y="1687"/>
                      </a:lnTo>
                      <a:lnTo>
                        <a:pt x="2150" y="1660"/>
                      </a:lnTo>
                      <a:lnTo>
                        <a:pt x="2177" y="1606"/>
                      </a:lnTo>
                      <a:lnTo>
                        <a:pt x="2177" y="1565"/>
                      </a:lnTo>
                      <a:lnTo>
                        <a:pt x="2177" y="1524"/>
                      </a:lnTo>
                      <a:lnTo>
                        <a:pt x="2177" y="1483"/>
                      </a:lnTo>
                      <a:lnTo>
                        <a:pt x="2150" y="1429"/>
                      </a:lnTo>
                      <a:lnTo>
                        <a:pt x="2055" y="1266"/>
                      </a:lnTo>
                      <a:lnTo>
                        <a:pt x="1946" y="1103"/>
                      </a:lnTo>
                      <a:lnTo>
                        <a:pt x="1796" y="899"/>
                      </a:lnTo>
                      <a:lnTo>
                        <a:pt x="1619" y="695"/>
                      </a:lnTo>
                      <a:lnTo>
                        <a:pt x="1415" y="477"/>
                      </a:lnTo>
                      <a:lnTo>
                        <a:pt x="1306" y="382"/>
                      </a:lnTo>
                      <a:lnTo>
                        <a:pt x="1184" y="286"/>
                      </a:lnTo>
                      <a:lnTo>
                        <a:pt x="1062" y="205"/>
                      </a:lnTo>
                      <a:lnTo>
                        <a:pt x="939" y="137"/>
                      </a:lnTo>
                      <a:lnTo>
                        <a:pt x="776" y="55"/>
                      </a:lnTo>
                      <a:lnTo>
                        <a:pt x="626"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4" name="Google Shape;1344;p30"/>
                <p:cNvSpPr/>
                <p:nvPr/>
              </p:nvSpPr>
              <p:spPr>
                <a:xfrm>
                  <a:off x="8445963" y="4566699"/>
                  <a:ext cx="58141" cy="52342"/>
                </a:xfrm>
                <a:custGeom>
                  <a:avLst/>
                  <a:gdLst/>
                  <a:ahLst/>
                  <a:cxnLst/>
                  <a:rect l="l" t="t" r="r" b="b"/>
                  <a:pathLst>
                    <a:path w="1905" h="1715" extrusionOk="0">
                      <a:moveTo>
                        <a:pt x="531" y="1"/>
                      </a:moveTo>
                      <a:lnTo>
                        <a:pt x="354" y="14"/>
                      </a:lnTo>
                      <a:lnTo>
                        <a:pt x="273" y="28"/>
                      </a:lnTo>
                      <a:lnTo>
                        <a:pt x="205" y="55"/>
                      </a:lnTo>
                      <a:lnTo>
                        <a:pt x="137" y="82"/>
                      </a:lnTo>
                      <a:lnTo>
                        <a:pt x="82" y="150"/>
                      </a:lnTo>
                      <a:lnTo>
                        <a:pt x="41" y="232"/>
                      </a:lnTo>
                      <a:lnTo>
                        <a:pt x="1" y="341"/>
                      </a:lnTo>
                      <a:lnTo>
                        <a:pt x="109" y="355"/>
                      </a:lnTo>
                      <a:lnTo>
                        <a:pt x="218" y="382"/>
                      </a:lnTo>
                      <a:lnTo>
                        <a:pt x="327" y="423"/>
                      </a:lnTo>
                      <a:lnTo>
                        <a:pt x="436" y="477"/>
                      </a:lnTo>
                      <a:lnTo>
                        <a:pt x="545" y="545"/>
                      </a:lnTo>
                      <a:lnTo>
                        <a:pt x="654" y="613"/>
                      </a:lnTo>
                      <a:lnTo>
                        <a:pt x="844" y="776"/>
                      </a:lnTo>
                      <a:lnTo>
                        <a:pt x="1007" y="953"/>
                      </a:lnTo>
                      <a:lnTo>
                        <a:pt x="1157" y="1143"/>
                      </a:lnTo>
                      <a:lnTo>
                        <a:pt x="1279" y="1307"/>
                      </a:lnTo>
                      <a:lnTo>
                        <a:pt x="1374" y="1456"/>
                      </a:lnTo>
                      <a:lnTo>
                        <a:pt x="1456" y="1592"/>
                      </a:lnTo>
                      <a:lnTo>
                        <a:pt x="1483" y="1633"/>
                      </a:lnTo>
                      <a:lnTo>
                        <a:pt x="1524" y="1660"/>
                      </a:lnTo>
                      <a:lnTo>
                        <a:pt x="1551" y="1688"/>
                      </a:lnTo>
                      <a:lnTo>
                        <a:pt x="1592" y="1701"/>
                      </a:lnTo>
                      <a:lnTo>
                        <a:pt x="1647" y="1715"/>
                      </a:lnTo>
                      <a:lnTo>
                        <a:pt x="1687" y="1715"/>
                      </a:lnTo>
                      <a:lnTo>
                        <a:pt x="1742" y="1701"/>
                      </a:lnTo>
                      <a:lnTo>
                        <a:pt x="1783" y="1688"/>
                      </a:lnTo>
                      <a:lnTo>
                        <a:pt x="1823" y="1660"/>
                      </a:lnTo>
                      <a:lnTo>
                        <a:pt x="1851" y="1620"/>
                      </a:lnTo>
                      <a:lnTo>
                        <a:pt x="1878" y="1579"/>
                      </a:lnTo>
                      <a:lnTo>
                        <a:pt x="1891" y="1538"/>
                      </a:lnTo>
                      <a:lnTo>
                        <a:pt x="1905" y="1497"/>
                      </a:lnTo>
                      <a:lnTo>
                        <a:pt x="1905" y="1456"/>
                      </a:lnTo>
                      <a:lnTo>
                        <a:pt x="1891" y="1402"/>
                      </a:lnTo>
                      <a:lnTo>
                        <a:pt x="1878" y="1361"/>
                      </a:lnTo>
                      <a:lnTo>
                        <a:pt x="1769" y="1198"/>
                      </a:lnTo>
                      <a:lnTo>
                        <a:pt x="1660" y="1021"/>
                      </a:lnTo>
                      <a:lnTo>
                        <a:pt x="1524" y="831"/>
                      </a:lnTo>
                      <a:lnTo>
                        <a:pt x="1347" y="613"/>
                      </a:lnTo>
                      <a:lnTo>
                        <a:pt x="1143" y="409"/>
                      </a:lnTo>
                      <a:lnTo>
                        <a:pt x="1021" y="314"/>
                      </a:lnTo>
                      <a:lnTo>
                        <a:pt x="912" y="219"/>
                      </a:lnTo>
                      <a:lnTo>
                        <a:pt x="790" y="137"/>
                      </a:lnTo>
                      <a:lnTo>
                        <a:pt x="667" y="55"/>
                      </a:lnTo>
                      <a:lnTo>
                        <a:pt x="53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345;p30"/>
                <p:cNvSpPr/>
                <p:nvPr/>
              </p:nvSpPr>
              <p:spPr>
                <a:xfrm>
                  <a:off x="8390752" y="4601584"/>
                  <a:ext cx="61895" cy="53593"/>
                </a:xfrm>
                <a:custGeom>
                  <a:avLst/>
                  <a:gdLst/>
                  <a:ahLst/>
                  <a:cxnLst/>
                  <a:rect l="l" t="t" r="r" b="b"/>
                  <a:pathLst>
                    <a:path w="2028" h="1756" extrusionOk="0">
                      <a:moveTo>
                        <a:pt x="327" y="0"/>
                      </a:moveTo>
                      <a:lnTo>
                        <a:pt x="218" y="28"/>
                      </a:lnTo>
                      <a:lnTo>
                        <a:pt x="136" y="55"/>
                      </a:lnTo>
                      <a:lnTo>
                        <a:pt x="68" y="109"/>
                      </a:lnTo>
                      <a:lnTo>
                        <a:pt x="28" y="177"/>
                      </a:lnTo>
                      <a:lnTo>
                        <a:pt x="0" y="259"/>
                      </a:lnTo>
                      <a:lnTo>
                        <a:pt x="0" y="368"/>
                      </a:lnTo>
                      <a:lnTo>
                        <a:pt x="136" y="381"/>
                      </a:lnTo>
                      <a:lnTo>
                        <a:pt x="272" y="409"/>
                      </a:lnTo>
                      <a:lnTo>
                        <a:pt x="422" y="449"/>
                      </a:lnTo>
                      <a:lnTo>
                        <a:pt x="572" y="517"/>
                      </a:lnTo>
                      <a:lnTo>
                        <a:pt x="681" y="585"/>
                      </a:lnTo>
                      <a:lnTo>
                        <a:pt x="776" y="653"/>
                      </a:lnTo>
                      <a:lnTo>
                        <a:pt x="966" y="817"/>
                      </a:lnTo>
                      <a:lnTo>
                        <a:pt x="1143" y="993"/>
                      </a:lnTo>
                      <a:lnTo>
                        <a:pt x="1293" y="1184"/>
                      </a:lnTo>
                      <a:lnTo>
                        <a:pt x="1415" y="1347"/>
                      </a:lnTo>
                      <a:lnTo>
                        <a:pt x="1510" y="1497"/>
                      </a:lnTo>
                      <a:lnTo>
                        <a:pt x="1592" y="1633"/>
                      </a:lnTo>
                      <a:lnTo>
                        <a:pt x="1619" y="1674"/>
                      </a:lnTo>
                      <a:lnTo>
                        <a:pt x="1646" y="1701"/>
                      </a:lnTo>
                      <a:lnTo>
                        <a:pt x="1687" y="1728"/>
                      </a:lnTo>
                      <a:lnTo>
                        <a:pt x="1728" y="1742"/>
                      </a:lnTo>
                      <a:lnTo>
                        <a:pt x="1769" y="1755"/>
                      </a:lnTo>
                      <a:lnTo>
                        <a:pt x="1823" y="1755"/>
                      </a:lnTo>
                      <a:lnTo>
                        <a:pt x="1864" y="1742"/>
                      </a:lnTo>
                      <a:lnTo>
                        <a:pt x="1918" y="1728"/>
                      </a:lnTo>
                      <a:lnTo>
                        <a:pt x="1946" y="1701"/>
                      </a:lnTo>
                      <a:lnTo>
                        <a:pt x="1986" y="1660"/>
                      </a:lnTo>
                      <a:lnTo>
                        <a:pt x="2014" y="1619"/>
                      </a:lnTo>
                      <a:lnTo>
                        <a:pt x="2027" y="1578"/>
                      </a:lnTo>
                      <a:lnTo>
                        <a:pt x="2027" y="1538"/>
                      </a:lnTo>
                      <a:lnTo>
                        <a:pt x="2027" y="1497"/>
                      </a:lnTo>
                      <a:lnTo>
                        <a:pt x="2027" y="1442"/>
                      </a:lnTo>
                      <a:lnTo>
                        <a:pt x="2000" y="1402"/>
                      </a:lnTo>
                      <a:lnTo>
                        <a:pt x="1905" y="1238"/>
                      </a:lnTo>
                      <a:lnTo>
                        <a:pt x="1796" y="1061"/>
                      </a:lnTo>
                      <a:lnTo>
                        <a:pt x="1646" y="871"/>
                      </a:lnTo>
                      <a:lnTo>
                        <a:pt x="1470" y="653"/>
                      </a:lnTo>
                      <a:lnTo>
                        <a:pt x="1265" y="449"/>
                      </a:lnTo>
                      <a:lnTo>
                        <a:pt x="1157" y="354"/>
                      </a:lnTo>
                      <a:lnTo>
                        <a:pt x="1034" y="259"/>
                      </a:lnTo>
                      <a:lnTo>
                        <a:pt x="925" y="177"/>
                      </a:lnTo>
                      <a:lnTo>
                        <a:pt x="789" y="96"/>
                      </a:lnTo>
                      <a:lnTo>
                        <a:pt x="57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30"/>
                <p:cNvSpPr/>
                <p:nvPr/>
              </p:nvSpPr>
              <p:spPr>
                <a:xfrm>
                  <a:off x="7909169" y="1477529"/>
                  <a:ext cx="135783" cy="161512"/>
                </a:xfrm>
                <a:custGeom>
                  <a:avLst/>
                  <a:gdLst/>
                  <a:ahLst/>
                  <a:cxnLst/>
                  <a:rect l="l" t="t" r="r" b="b"/>
                  <a:pathLst>
                    <a:path w="4449" h="5292" extrusionOk="0">
                      <a:moveTo>
                        <a:pt x="218" y="0"/>
                      </a:moveTo>
                      <a:lnTo>
                        <a:pt x="109" y="14"/>
                      </a:lnTo>
                      <a:lnTo>
                        <a:pt x="0" y="28"/>
                      </a:lnTo>
                      <a:lnTo>
                        <a:pt x="68" y="164"/>
                      </a:lnTo>
                      <a:lnTo>
                        <a:pt x="218" y="517"/>
                      </a:lnTo>
                      <a:lnTo>
                        <a:pt x="313" y="762"/>
                      </a:lnTo>
                      <a:lnTo>
                        <a:pt x="422" y="1061"/>
                      </a:lnTo>
                      <a:lnTo>
                        <a:pt x="531" y="1388"/>
                      </a:lnTo>
                      <a:lnTo>
                        <a:pt x="640" y="1755"/>
                      </a:lnTo>
                      <a:lnTo>
                        <a:pt x="721" y="2150"/>
                      </a:lnTo>
                      <a:lnTo>
                        <a:pt x="803" y="2558"/>
                      </a:lnTo>
                      <a:lnTo>
                        <a:pt x="857" y="2979"/>
                      </a:lnTo>
                      <a:lnTo>
                        <a:pt x="885" y="3415"/>
                      </a:lnTo>
                      <a:lnTo>
                        <a:pt x="885" y="3646"/>
                      </a:lnTo>
                      <a:lnTo>
                        <a:pt x="885" y="3864"/>
                      </a:lnTo>
                      <a:lnTo>
                        <a:pt x="857" y="4081"/>
                      </a:lnTo>
                      <a:lnTo>
                        <a:pt x="844" y="4312"/>
                      </a:lnTo>
                      <a:lnTo>
                        <a:pt x="803" y="4530"/>
                      </a:lnTo>
                      <a:lnTo>
                        <a:pt x="749" y="4748"/>
                      </a:lnTo>
                      <a:lnTo>
                        <a:pt x="694" y="4965"/>
                      </a:lnTo>
                      <a:lnTo>
                        <a:pt x="613" y="5183"/>
                      </a:lnTo>
                      <a:lnTo>
                        <a:pt x="1089" y="5224"/>
                      </a:lnTo>
                      <a:lnTo>
                        <a:pt x="1578" y="5265"/>
                      </a:lnTo>
                      <a:lnTo>
                        <a:pt x="2054" y="5278"/>
                      </a:lnTo>
                      <a:lnTo>
                        <a:pt x="2530" y="5292"/>
                      </a:lnTo>
                      <a:lnTo>
                        <a:pt x="3020" y="5292"/>
                      </a:lnTo>
                      <a:lnTo>
                        <a:pt x="3496" y="5265"/>
                      </a:lnTo>
                      <a:lnTo>
                        <a:pt x="3972" y="5237"/>
                      </a:lnTo>
                      <a:lnTo>
                        <a:pt x="4448" y="5183"/>
                      </a:lnTo>
                      <a:lnTo>
                        <a:pt x="4394" y="4761"/>
                      </a:lnTo>
                      <a:lnTo>
                        <a:pt x="4326" y="4449"/>
                      </a:lnTo>
                      <a:lnTo>
                        <a:pt x="4258" y="4136"/>
                      </a:lnTo>
                      <a:lnTo>
                        <a:pt x="4163" y="3850"/>
                      </a:lnTo>
                      <a:lnTo>
                        <a:pt x="4068" y="3564"/>
                      </a:lnTo>
                      <a:lnTo>
                        <a:pt x="3972" y="3292"/>
                      </a:lnTo>
                      <a:lnTo>
                        <a:pt x="3850" y="3034"/>
                      </a:lnTo>
                      <a:lnTo>
                        <a:pt x="3728" y="2789"/>
                      </a:lnTo>
                      <a:lnTo>
                        <a:pt x="3592" y="2544"/>
                      </a:lnTo>
                      <a:lnTo>
                        <a:pt x="3455" y="2313"/>
                      </a:lnTo>
                      <a:lnTo>
                        <a:pt x="3319" y="2095"/>
                      </a:lnTo>
                      <a:lnTo>
                        <a:pt x="3170" y="1891"/>
                      </a:lnTo>
                      <a:lnTo>
                        <a:pt x="3020" y="1687"/>
                      </a:lnTo>
                      <a:lnTo>
                        <a:pt x="2857" y="1510"/>
                      </a:lnTo>
                      <a:lnTo>
                        <a:pt x="2694" y="1334"/>
                      </a:lnTo>
                      <a:lnTo>
                        <a:pt x="2530" y="1157"/>
                      </a:lnTo>
                      <a:lnTo>
                        <a:pt x="2367" y="1007"/>
                      </a:lnTo>
                      <a:lnTo>
                        <a:pt x="2190" y="857"/>
                      </a:lnTo>
                      <a:lnTo>
                        <a:pt x="2027" y="735"/>
                      </a:lnTo>
                      <a:lnTo>
                        <a:pt x="1864" y="613"/>
                      </a:lnTo>
                      <a:lnTo>
                        <a:pt x="1687" y="504"/>
                      </a:lnTo>
                      <a:lnTo>
                        <a:pt x="1524" y="395"/>
                      </a:lnTo>
                      <a:lnTo>
                        <a:pt x="1361" y="313"/>
                      </a:lnTo>
                      <a:lnTo>
                        <a:pt x="1197" y="232"/>
                      </a:lnTo>
                      <a:lnTo>
                        <a:pt x="1048" y="164"/>
                      </a:lnTo>
                      <a:lnTo>
                        <a:pt x="898" y="109"/>
                      </a:lnTo>
                      <a:lnTo>
                        <a:pt x="749" y="68"/>
                      </a:lnTo>
                      <a:lnTo>
                        <a:pt x="599" y="28"/>
                      </a:lnTo>
                      <a:lnTo>
                        <a:pt x="463"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30"/>
                <p:cNvSpPr/>
                <p:nvPr/>
              </p:nvSpPr>
              <p:spPr>
                <a:xfrm>
                  <a:off x="7883440" y="1599581"/>
                  <a:ext cx="635213" cy="1326033"/>
                </a:xfrm>
                <a:custGeom>
                  <a:avLst/>
                  <a:gdLst/>
                  <a:ahLst/>
                  <a:cxnLst/>
                  <a:rect l="l" t="t" r="r" b="b"/>
                  <a:pathLst>
                    <a:path w="20813" h="43448" extrusionOk="0">
                      <a:moveTo>
                        <a:pt x="8502" y="1"/>
                      </a:moveTo>
                      <a:lnTo>
                        <a:pt x="8189" y="14"/>
                      </a:lnTo>
                      <a:lnTo>
                        <a:pt x="7862" y="28"/>
                      </a:lnTo>
                      <a:lnTo>
                        <a:pt x="7536" y="55"/>
                      </a:lnTo>
                      <a:lnTo>
                        <a:pt x="7223" y="109"/>
                      </a:lnTo>
                      <a:lnTo>
                        <a:pt x="6992" y="150"/>
                      </a:lnTo>
                      <a:lnTo>
                        <a:pt x="6774" y="218"/>
                      </a:lnTo>
                      <a:lnTo>
                        <a:pt x="6557" y="286"/>
                      </a:lnTo>
                      <a:lnTo>
                        <a:pt x="6325" y="381"/>
                      </a:lnTo>
                      <a:lnTo>
                        <a:pt x="6108" y="490"/>
                      </a:lnTo>
                      <a:lnTo>
                        <a:pt x="5876" y="613"/>
                      </a:lnTo>
                      <a:lnTo>
                        <a:pt x="5659" y="749"/>
                      </a:lnTo>
                      <a:lnTo>
                        <a:pt x="5427" y="898"/>
                      </a:lnTo>
                      <a:lnTo>
                        <a:pt x="5210" y="1062"/>
                      </a:lnTo>
                      <a:lnTo>
                        <a:pt x="4992" y="1225"/>
                      </a:lnTo>
                      <a:lnTo>
                        <a:pt x="4557" y="1579"/>
                      </a:lnTo>
                      <a:lnTo>
                        <a:pt x="4149" y="1959"/>
                      </a:lnTo>
                      <a:lnTo>
                        <a:pt x="3754" y="2367"/>
                      </a:lnTo>
                      <a:lnTo>
                        <a:pt x="3387" y="2789"/>
                      </a:lnTo>
                      <a:lnTo>
                        <a:pt x="3033" y="3197"/>
                      </a:lnTo>
                      <a:lnTo>
                        <a:pt x="2721" y="3619"/>
                      </a:lnTo>
                      <a:lnTo>
                        <a:pt x="2435" y="4027"/>
                      </a:lnTo>
                      <a:lnTo>
                        <a:pt x="2190" y="4408"/>
                      </a:lnTo>
                      <a:lnTo>
                        <a:pt x="1986" y="4762"/>
                      </a:lnTo>
                      <a:lnTo>
                        <a:pt x="1836" y="5074"/>
                      </a:lnTo>
                      <a:lnTo>
                        <a:pt x="1728" y="5360"/>
                      </a:lnTo>
                      <a:lnTo>
                        <a:pt x="1632" y="5700"/>
                      </a:lnTo>
                      <a:lnTo>
                        <a:pt x="1537" y="6054"/>
                      </a:lnTo>
                      <a:lnTo>
                        <a:pt x="1456" y="6421"/>
                      </a:lnTo>
                      <a:lnTo>
                        <a:pt x="1388" y="6843"/>
                      </a:lnTo>
                      <a:lnTo>
                        <a:pt x="1333" y="7319"/>
                      </a:lnTo>
                      <a:lnTo>
                        <a:pt x="1292" y="7876"/>
                      </a:lnTo>
                      <a:lnTo>
                        <a:pt x="1251" y="8543"/>
                      </a:lnTo>
                      <a:lnTo>
                        <a:pt x="1238" y="9332"/>
                      </a:lnTo>
                      <a:lnTo>
                        <a:pt x="1211" y="10447"/>
                      </a:lnTo>
                      <a:lnTo>
                        <a:pt x="1197" y="11522"/>
                      </a:lnTo>
                      <a:lnTo>
                        <a:pt x="1197" y="12597"/>
                      </a:lnTo>
                      <a:lnTo>
                        <a:pt x="1224" y="13671"/>
                      </a:lnTo>
                      <a:lnTo>
                        <a:pt x="1265" y="14746"/>
                      </a:lnTo>
                      <a:lnTo>
                        <a:pt x="1333" y="15820"/>
                      </a:lnTo>
                      <a:lnTo>
                        <a:pt x="1388" y="16378"/>
                      </a:lnTo>
                      <a:lnTo>
                        <a:pt x="1442" y="16936"/>
                      </a:lnTo>
                      <a:lnTo>
                        <a:pt x="1510" y="17507"/>
                      </a:lnTo>
                      <a:lnTo>
                        <a:pt x="1592" y="18078"/>
                      </a:lnTo>
                      <a:lnTo>
                        <a:pt x="1632" y="18364"/>
                      </a:lnTo>
                      <a:lnTo>
                        <a:pt x="1673" y="18663"/>
                      </a:lnTo>
                      <a:lnTo>
                        <a:pt x="1700" y="18963"/>
                      </a:lnTo>
                      <a:lnTo>
                        <a:pt x="1755" y="19629"/>
                      </a:lnTo>
                      <a:lnTo>
                        <a:pt x="1782" y="20364"/>
                      </a:lnTo>
                      <a:lnTo>
                        <a:pt x="1782" y="21139"/>
                      </a:lnTo>
                      <a:lnTo>
                        <a:pt x="1755" y="21982"/>
                      </a:lnTo>
                      <a:lnTo>
                        <a:pt x="1714" y="22853"/>
                      </a:lnTo>
                      <a:lnTo>
                        <a:pt x="1660" y="23778"/>
                      </a:lnTo>
                      <a:lnTo>
                        <a:pt x="1578" y="24716"/>
                      </a:lnTo>
                      <a:lnTo>
                        <a:pt x="1564" y="25016"/>
                      </a:lnTo>
                      <a:lnTo>
                        <a:pt x="1551" y="25165"/>
                      </a:lnTo>
                      <a:lnTo>
                        <a:pt x="1524" y="25465"/>
                      </a:lnTo>
                      <a:lnTo>
                        <a:pt x="1415" y="26621"/>
                      </a:lnTo>
                      <a:lnTo>
                        <a:pt x="1292" y="27818"/>
                      </a:lnTo>
                      <a:lnTo>
                        <a:pt x="1251" y="28199"/>
                      </a:lnTo>
                      <a:lnTo>
                        <a:pt x="1238" y="28294"/>
                      </a:lnTo>
                      <a:lnTo>
                        <a:pt x="1129" y="29232"/>
                      </a:lnTo>
                      <a:lnTo>
                        <a:pt x="1034" y="30049"/>
                      </a:lnTo>
                      <a:lnTo>
                        <a:pt x="979" y="30484"/>
                      </a:lnTo>
                      <a:lnTo>
                        <a:pt x="979" y="30606"/>
                      </a:lnTo>
                      <a:lnTo>
                        <a:pt x="857" y="31640"/>
                      </a:lnTo>
                      <a:lnTo>
                        <a:pt x="694" y="32987"/>
                      </a:lnTo>
                      <a:lnTo>
                        <a:pt x="571" y="34021"/>
                      </a:lnTo>
                      <a:lnTo>
                        <a:pt x="408" y="35462"/>
                      </a:lnTo>
                      <a:lnTo>
                        <a:pt x="259" y="36809"/>
                      </a:lnTo>
                      <a:lnTo>
                        <a:pt x="136" y="38074"/>
                      </a:lnTo>
                      <a:lnTo>
                        <a:pt x="54" y="39217"/>
                      </a:lnTo>
                      <a:lnTo>
                        <a:pt x="27" y="39734"/>
                      </a:lnTo>
                      <a:lnTo>
                        <a:pt x="14" y="40223"/>
                      </a:lnTo>
                      <a:lnTo>
                        <a:pt x="0" y="40672"/>
                      </a:lnTo>
                      <a:lnTo>
                        <a:pt x="14" y="41067"/>
                      </a:lnTo>
                      <a:lnTo>
                        <a:pt x="27" y="41434"/>
                      </a:lnTo>
                      <a:lnTo>
                        <a:pt x="68" y="41747"/>
                      </a:lnTo>
                      <a:lnTo>
                        <a:pt x="109" y="42005"/>
                      </a:lnTo>
                      <a:lnTo>
                        <a:pt x="177" y="42223"/>
                      </a:lnTo>
                      <a:lnTo>
                        <a:pt x="231" y="42345"/>
                      </a:lnTo>
                      <a:lnTo>
                        <a:pt x="299" y="42454"/>
                      </a:lnTo>
                      <a:lnTo>
                        <a:pt x="367" y="42563"/>
                      </a:lnTo>
                      <a:lnTo>
                        <a:pt x="463" y="42672"/>
                      </a:lnTo>
                      <a:lnTo>
                        <a:pt x="558" y="42767"/>
                      </a:lnTo>
                      <a:lnTo>
                        <a:pt x="680" y="42862"/>
                      </a:lnTo>
                      <a:lnTo>
                        <a:pt x="803" y="42944"/>
                      </a:lnTo>
                      <a:lnTo>
                        <a:pt x="925" y="43025"/>
                      </a:lnTo>
                      <a:lnTo>
                        <a:pt x="1075" y="43107"/>
                      </a:lnTo>
                      <a:lnTo>
                        <a:pt x="1238" y="43175"/>
                      </a:lnTo>
                      <a:lnTo>
                        <a:pt x="1401" y="43229"/>
                      </a:lnTo>
                      <a:lnTo>
                        <a:pt x="1578" y="43284"/>
                      </a:lnTo>
                      <a:lnTo>
                        <a:pt x="1768" y="43325"/>
                      </a:lnTo>
                      <a:lnTo>
                        <a:pt x="1972" y="43365"/>
                      </a:lnTo>
                      <a:lnTo>
                        <a:pt x="2190" y="43393"/>
                      </a:lnTo>
                      <a:lnTo>
                        <a:pt x="2408" y="43420"/>
                      </a:lnTo>
                      <a:lnTo>
                        <a:pt x="2639" y="43433"/>
                      </a:lnTo>
                      <a:lnTo>
                        <a:pt x="2884" y="43447"/>
                      </a:lnTo>
                      <a:lnTo>
                        <a:pt x="3142" y="43447"/>
                      </a:lnTo>
                      <a:lnTo>
                        <a:pt x="3414" y="43433"/>
                      </a:lnTo>
                      <a:lnTo>
                        <a:pt x="3972" y="43393"/>
                      </a:lnTo>
                      <a:lnTo>
                        <a:pt x="4584" y="43311"/>
                      </a:lnTo>
                      <a:lnTo>
                        <a:pt x="5223" y="43189"/>
                      </a:lnTo>
                      <a:lnTo>
                        <a:pt x="5917" y="43039"/>
                      </a:lnTo>
                      <a:lnTo>
                        <a:pt x="6652" y="42849"/>
                      </a:lnTo>
                      <a:lnTo>
                        <a:pt x="7413" y="42604"/>
                      </a:lnTo>
                      <a:lnTo>
                        <a:pt x="7822" y="42481"/>
                      </a:lnTo>
                      <a:lnTo>
                        <a:pt x="8243" y="42372"/>
                      </a:lnTo>
                      <a:lnTo>
                        <a:pt x="8665" y="42277"/>
                      </a:lnTo>
                      <a:lnTo>
                        <a:pt x="9114" y="42182"/>
                      </a:lnTo>
                      <a:lnTo>
                        <a:pt x="9563" y="42100"/>
                      </a:lnTo>
                      <a:lnTo>
                        <a:pt x="10012" y="42019"/>
                      </a:lnTo>
                      <a:lnTo>
                        <a:pt x="10950" y="41883"/>
                      </a:lnTo>
                      <a:lnTo>
                        <a:pt x="11902" y="41774"/>
                      </a:lnTo>
                      <a:lnTo>
                        <a:pt x="12855" y="41665"/>
                      </a:lnTo>
                      <a:lnTo>
                        <a:pt x="14718" y="41488"/>
                      </a:lnTo>
                      <a:lnTo>
                        <a:pt x="15616" y="41407"/>
                      </a:lnTo>
                      <a:lnTo>
                        <a:pt x="16459" y="41298"/>
                      </a:lnTo>
                      <a:lnTo>
                        <a:pt x="17248" y="41175"/>
                      </a:lnTo>
                      <a:lnTo>
                        <a:pt x="17629" y="41107"/>
                      </a:lnTo>
                      <a:lnTo>
                        <a:pt x="17969" y="41039"/>
                      </a:lnTo>
                      <a:lnTo>
                        <a:pt x="18309" y="40958"/>
                      </a:lnTo>
                      <a:lnTo>
                        <a:pt x="18622" y="40863"/>
                      </a:lnTo>
                      <a:lnTo>
                        <a:pt x="18908" y="40767"/>
                      </a:lnTo>
                      <a:lnTo>
                        <a:pt x="19166" y="40659"/>
                      </a:lnTo>
                      <a:lnTo>
                        <a:pt x="19411" y="40550"/>
                      </a:lnTo>
                      <a:lnTo>
                        <a:pt x="19615" y="40414"/>
                      </a:lnTo>
                      <a:lnTo>
                        <a:pt x="19805" y="40278"/>
                      </a:lnTo>
                      <a:lnTo>
                        <a:pt x="19955" y="40114"/>
                      </a:lnTo>
                      <a:lnTo>
                        <a:pt x="20037" y="40019"/>
                      </a:lnTo>
                      <a:lnTo>
                        <a:pt x="20105" y="39910"/>
                      </a:lnTo>
                      <a:lnTo>
                        <a:pt x="20254" y="39652"/>
                      </a:lnTo>
                      <a:lnTo>
                        <a:pt x="20390" y="39366"/>
                      </a:lnTo>
                      <a:lnTo>
                        <a:pt x="20499" y="39026"/>
                      </a:lnTo>
                      <a:lnTo>
                        <a:pt x="20608" y="38645"/>
                      </a:lnTo>
                      <a:lnTo>
                        <a:pt x="20690" y="38224"/>
                      </a:lnTo>
                      <a:lnTo>
                        <a:pt x="20744" y="37761"/>
                      </a:lnTo>
                      <a:lnTo>
                        <a:pt x="20785" y="37272"/>
                      </a:lnTo>
                      <a:lnTo>
                        <a:pt x="20812" y="36727"/>
                      </a:lnTo>
                      <a:lnTo>
                        <a:pt x="20798" y="36143"/>
                      </a:lnTo>
                      <a:lnTo>
                        <a:pt x="20771" y="35530"/>
                      </a:lnTo>
                      <a:lnTo>
                        <a:pt x="20717" y="34877"/>
                      </a:lnTo>
                      <a:lnTo>
                        <a:pt x="20622" y="34184"/>
                      </a:lnTo>
                      <a:lnTo>
                        <a:pt x="20499" y="33449"/>
                      </a:lnTo>
                      <a:lnTo>
                        <a:pt x="20350" y="32674"/>
                      </a:lnTo>
                      <a:lnTo>
                        <a:pt x="20173" y="31871"/>
                      </a:lnTo>
                      <a:lnTo>
                        <a:pt x="19914" y="30865"/>
                      </a:lnTo>
                      <a:lnTo>
                        <a:pt x="19588" y="29545"/>
                      </a:lnTo>
                      <a:lnTo>
                        <a:pt x="19343" y="28539"/>
                      </a:lnTo>
                      <a:lnTo>
                        <a:pt x="19030" y="27206"/>
                      </a:lnTo>
                      <a:lnTo>
                        <a:pt x="18880" y="26539"/>
                      </a:lnTo>
                      <a:lnTo>
                        <a:pt x="18799" y="26185"/>
                      </a:lnTo>
                      <a:lnTo>
                        <a:pt x="18704" y="25723"/>
                      </a:lnTo>
                      <a:lnTo>
                        <a:pt x="18568" y="25070"/>
                      </a:lnTo>
                      <a:lnTo>
                        <a:pt x="18445" y="24431"/>
                      </a:lnTo>
                      <a:lnTo>
                        <a:pt x="18336" y="23819"/>
                      </a:lnTo>
                      <a:lnTo>
                        <a:pt x="18241" y="23234"/>
                      </a:lnTo>
                      <a:lnTo>
                        <a:pt x="18146" y="22472"/>
                      </a:lnTo>
                      <a:lnTo>
                        <a:pt x="18078" y="21697"/>
                      </a:lnTo>
                      <a:lnTo>
                        <a:pt x="18051" y="20921"/>
                      </a:lnTo>
                      <a:lnTo>
                        <a:pt x="18037" y="20146"/>
                      </a:lnTo>
                      <a:lnTo>
                        <a:pt x="18037" y="19357"/>
                      </a:lnTo>
                      <a:lnTo>
                        <a:pt x="18051" y="18582"/>
                      </a:lnTo>
                      <a:lnTo>
                        <a:pt x="18092" y="17793"/>
                      </a:lnTo>
                      <a:lnTo>
                        <a:pt x="18132" y="17017"/>
                      </a:lnTo>
                      <a:lnTo>
                        <a:pt x="18132" y="17004"/>
                      </a:lnTo>
                      <a:lnTo>
                        <a:pt x="18268" y="15072"/>
                      </a:lnTo>
                      <a:lnTo>
                        <a:pt x="18336" y="14120"/>
                      </a:lnTo>
                      <a:lnTo>
                        <a:pt x="18391" y="13181"/>
                      </a:lnTo>
                      <a:lnTo>
                        <a:pt x="18432" y="12256"/>
                      </a:lnTo>
                      <a:lnTo>
                        <a:pt x="18445" y="11372"/>
                      </a:lnTo>
                      <a:lnTo>
                        <a:pt x="18445" y="10937"/>
                      </a:lnTo>
                      <a:lnTo>
                        <a:pt x="18432" y="10502"/>
                      </a:lnTo>
                      <a:lnTo>
                        <a:pt x="18418" y="10080"/>
                      </a:lnTo>
                      <a:lnTo>
                        <a:pt x="18391" y="9672"/>
                      </a:lnTo>
                      <a:lnTo>
                        <a:pt x="18391" y="9658"/>
                      </a:lnTo>
                      <a:lnTo>
                        <a:pt x="18350" y="9237"/>
                      </a:lnTo>
                      <a:lnTo>
                        <a:pt x="18296" y="8815"/>
                      </a:lnTo>
                      <a:lnTo>
                        <a:pt x="18228" y="8407"/>
                      </a:lnTo>
                      <a:lnTo>
                        <a:pt x="18146" y="7999"/>
                      </a:lnTo>
                      <a:lnTo>
                        <a:pt x="18037" y="7618"/>
                      </a:lnTo>
                      <a:lnTo>
                        <a:pt x="17928" y="7237"/>
                      </a:lnTo>
                      <a:lnTo>
                        <a:pt x="17792" y="6870"/>
                      </a:lnTo>
                      <a:lnTo>
                        <a:pt x="17643" y="6516"/>
                      </a:lnTo>
                      <a:lnTo>
                        <a:pt x="17534" y="6299"/>
                      </a:lnTo>
                      <a:lnTo>
                        <a:pt x="17425" y="6095"/>
                      </a:lnTo>
                      <a:lnTo>
                        <a:pt x="17167" y="5659"/>
                      </a:lnTo>
                      <a:lnTo>
                        <a:pt x="16894" y="5251"/>
                      </a:lnTo>
                      <a:lnTo>
                        <a:pt x="16582" y="4843"/>
                      </a:lnTo>
                      <a:lnTo>
                        <a:pt x="16269" y="4462"/>
                      </a:lnTo>
                      <a:lnTo>
                        <a:pt x="15915" y="4081"/>
                      </a:lnTo>
                      <a:lnTo>
                        <a:pt x="15561" y="3714"/>
                      </a:lnTo>
                      <a:lnTo>
                        <a:pt x="15194" y="3360"/>
                      </a:lnTo>
                      <a:lnTo>
                        <a:pt x="14813" y="3034"/>
                      </a:lnTo>
                      <a:lnTo>
                        <a:pt x="14432" y="2708"/>
                      </a:lnTo>
                      <a:lnTo>
                        <a:pt x="14038" y="2395"/>
                      </a:lnTo>
                      <a:lnTo>
                        <a:pt x="13657" y="2109"/>
                      </a:lnTo>
                      <a:lnTo>
                        <a:pt x="13263" y="1823"/>
                      </a:lnTo>
                      <a:lnTo>
                        <a:pt x="12882" y="1565"/>
                      </a:lnTo>
                      <a:lnTo>
                        <a:pt x="12514" y="1320"/>
                      </a:lnTo>
                      <a:lnTo>
                        <a:pt x="12147" y="1089"/>
                      </a:lnTo>
                      <a:lnTo>
                        <a:pt x="11875" y="912"/>
                      </a:lnTo>
                      <a:lnTo>
                        <a:pt x="11589" y="762"/>
                      </a:lnTo>
                      <a:lnTo>
                        <a:pt x="11304" y="626"/>
                      </a:lnTo>
                      <a:lnTo>
                        <a:pt x="11005" y="504"/>
                      </a:lnTo>
                      <a:lnTo>
                        <a:pt x="10705" y="395"/>
                      </a:lnTo>
                      <a:lnTo>
                        <a:pt x="10392" y="300"/>
                      </a:lnTo>
                      <a:lnTo>
                        <a:pt x="10093" y="205"/>
                      </a:lnTo>
                      <a:lnTo>
                        <a:pt x="9780" y="137"/>
                      </a:lnTo>
                      <a:lnTo>
                        <a:pt x="9467" y="82"/>
                      </a:lnTo>
                      <a:lnTo>
                        <a:pt x="9141" y="41"/>
                      </a:lnTo>
                      <a:lnTo>
                        <a:pt x="8828" y="14"/>
                      </a:lnTo>
                      <a:lnTo>
                        <a:pt x="8502" y="1"/>
                      </a:lnTo>
                      <a:close/>
                    </a:path>
                  </a:pathLst>
                </a:custGeom>
                <a:solidFill>
                  <a:srgbClr val="F3A63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348;p30"/>
                <p:cNvSpPr/>
                <p:nvPr/>
              </p:nvSpPr>
              <p:spPr>
                <a:xfrm>
                  <a:off x="7981808" y="1452624"/>
                  <a:ext cx="226306" cy="261160"/>
                </a:xfrm>
                <a:custGeom>
                  <a:avLst/>
                  <a:gdLst/>
                  <a:ahLst/>
                  <a:cxnLst/>
                  <a:rect l="l" t="t" r="r" b="b"/>
                  <a:pathLst>
                    <a:path w="7415" h="8557" extrusionOk="0">
                      <a:moveTo>
                        <a:pt x="5047" y="0"/>
                      </a:moveTo>
                      <a:lnTo>
                        <a:pt x="1" y="3347"/>
                      </a:lnTo>
                      <a:lnTo>
                        <a:pt x="314" y="3972"/>
                      </a:lnTo>
                      <a:lnTo>
                        <a:pt x="355" y="4040"/>
                      </a:lnTo>
                      <a:lnTo>
                        <a:pt x="355" y="4054"/>
                      </a:lnTo>
                      <a:lnTo>
                        <a:pt x="599" y="4503"/>
                      </a:lnTo>
                      <a:lnTo>
                        <a:pt x="899" y="5033"/>
                      </a:lnTo>
                      <a:lnTo>
                        <a:pt x="1143" y="5455"/>
                      </a:lnTo>
                      <a:lnTo>
                        <a:pt x="1375" y="5849"/>
                      </a:lnTo>
                      <a:lnTo>
                        <a:pt x="1837" y="6570"/>
                      </a:lnTo>
                      <a:lnTo>
                        <a:pt x="2082" y="6924"/>
                      </a:lnTo>
                      <a:lnTo>
                        <a:pt x="2341" y="7278"/>
                      </a:lnTo>
                      <a:lnTo>
                        <a:pt x="2599" y="7631"/>
                      </a:lnTo>
                      <a:lnTo>
                        <a:pt x="2857" y="7958"/>
                      </a:lnTo>
                      <a:lnTo>
                        <a:pt x="3129" y="8271"/>
                      </a:lnTo>
                      <a:lnTo>
                        <a:pt x="3402" y="8556"/>
                      </a:lnTo>
                      <a:lnTo>
                        <a:pt x="3782" y="8407"/>
                      </a:lnTo>
                      <a:lnTo>
                        <a:pt x="4150" y="8257"/>
                      </a:lnTo>
                      <a:lnTo>
                        <a:pt x="4503" y="8094"/>
                      </a:lnTo>
                      <a:lnTo>
                        <a:pt x="4843" y="7917"/>
                      </a:lnTo>
                      <a:lnTo>
                        <a:pt x="5156" y="7740"/>
                      </a:lnTo>
                      <a:lnTo>
                        <a:pt x="5469" y="7563"/>
                      </a:lnTo>
                      <a:lnTo>
                        <a:pt x="5741" y="7373"/>
                      </a:lnTo>
                      <a:lnTo>
                        <a:pt x="6013" y="7182"/>
                      </a:lnTo>
                      <a:lnTo>
                        <a:pt x="6258" y="6978"/>
                      </a:lnTo>
                      <a:lnTo>
                        <a:pt x="6489" y="6774"/>
                      </a:lnTo>
                      <a:lnTo>
                        <a:pt x="6693" y="6557"/>
                      </a:lnTo>
                      <a:lnTo>
                        <a:pt x="6884" y="6326"/>
                      </a:lnTo>
                      <a:lnTo>
                        <a:pt x="7047" y="6094"/>
                      </a:lnTo>
                      <a:lnTo>
                        <a:pt x="7197" y="5849"/>
                      </a:lnTo>
                      <a:lnTo>
                        <a:pt x="7319" y="5605"/>
                      </a:lnTo>
                      <a:lnTo>
                        <a:pt x="7414" y="5346"/>
                      </a:lnTo>
                      <a:lnTo>
                        <a:pt x="7319" y="5224"/>
                      </a:lnTo>
                      <a:lnTo>
                        <a:pt x="7061" y="4884"/>
                      </a:lnTo>
                      <a:lnTo>
                        <a:pt x="6884" y="4639"/>
                      </a:lnTo>
                      <a:lnTo>
                        <a:pt x="6693" y="4353"/>
                      </a:lnTo>
                      <a:lnTo>
                        <a:pt x="6489" y="4013"/>
                      </a:lnTo>
                      <a:lnTo>
                        <a:pt x="6272" y="3659"/>
                      </a:lnTo>
                      <a:lnTo>
                        <a:pt x="6054" y="3265"/>
                      </a:lnTo>
                      <a:lnTo>
                        <a:pt x="5836" y="2843"/>
                      </a:lnTo>
                      <a:lnTo>
                        <a:pt x="5632" y="2394"/>
                      </a:lnTo>
                      <a:lnTo>
                        <a:pt x="5456" y="1945"/>
                      </a:lnTo>
                      <a:lnTo>
                        <a:pt x="5306" y="1469"/>
                      </a:lnTo>
                      <a:lnTo>
                        <a:pt x="5238" y="1225"/>
                      </a:lnTo>
                      <a:lnTo>
                        <a:pt x="5183" y="980"/>
                      </a:lnTo>
                      <a:lnTo>
                        <a:pt x="5129" y="735"/>
                      </a:lnTo>
                      <a:lnTo>
                        <a:pt x="5088" y="490"/>
                      </a:lnTo>
                      <a:lnTo>
                        <a:pt x="5061" y="245"/>
                      </a:lnTo>
                      <a:lnTo>
                        <a:pt x="5047" y="0"/>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349;p30"/>
                <p:cNvSpPr/>
                <p:nvPr/>
              </p:nvSpPr>
              <p:spPr>
                <a:xfrm>
                  <a:off x="7991361" y="1547696"/>
                  <a:ext cx="54020" cy="83472"/>
                </a:xfrm>
                <a:custGeom>
                  <a:avLst/>
                  <a:gdLst/>
                  <a:ahLst/>
                  <a:cxnLst/>
                  <a:rect l="l" t="t" r="r" b="b"/>
                  <a:pathLst>
                    <a:path w="1770" h="2735" extrusionOk="0">
                      <a:moveTo>
                        <a:pt x="1769" y="0"/>
                      </a:moveTo>
                      <a:lnTo>
                        <a:pt x="1" y="857"/>
                      </a:lnTo>
                      <a:lnTo>
                        <a:pt x="42" y="925"/>
                      </a:lnTo>
                      <a:lnTo>
                        <a:pt x="42" y="939"/>
                      </a:lnTo>
                      <a:lnTo>
                        <a:pt x="286" y="1388"/>
                      </a:lnTo>
                      <a:lnTo>
                        <a:pt x="586" y="1918"/>
                      </a:lnTo>
                      <a:lnTo>
                        <a:pt x="830" y="2340"/>
                      </a:lnTo>
                      <a:lnTo>
                        <a:pt x="1062" y="2734"/>
                      </a:lnTo>
                      <a:lnTo>
                        <a:pt x="1157" y="2530"/>
                      </a:lnTo>
                      <a:lnTo>
                        <a:pt x="1252" y="2326"/>
                      </a:lnTo>
                      <a:lnTo>
                        <a:pt x="1334" y="2095"/>
                      </a:lnTo>
                      <a:lnTo>
                        <a:pt x="1402" y="1877"/>
                      </a:lnTo>
                      <a:lnTo>
                        <a:pt x="1524" y="1429"/>
                      </a:lnTo>
                      <a:lnTo>
                        <a:pt x="1619" y="993"/>
                      </a:lnTo>
                      <a:lnTo>
                        <a:pt x="1687" y="612"/>
                      </a:lnTo>
                      <a:lnTo>
                        <a:pt x="1728" y="300"/>
                      </a:lnTo>
                      <a:lnTo>
                        <a:pt x="1769" y="0"/>
                      </a:lnTo>
                      <a:close/>
                    </a:path>
                  </a:pathLst>
                </a:custGeom>
                <a:solidFill>
                  <a:srgbClr val="FD96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30"/>
                <p:cNvSpPr/>
                <p:nvPr/>
              </p:nvSpPr>
              <p:spPr>
                <a:xfrm>
                  <a:off x="7843580" y="1269532"/>
                  <a:ext cx="367858" cy="345425"/>
                </a:xfrm>
                <a:custGeom>
                  <a:avLst/>
                  <a:gdLst/>
                  <a:ahLst/>
                  <a:cxnLst/>
                  <a:rect l="l" t="t" r="r" b="b"/>
                  <a:pathLst>
                    <a:path w="12053" h="11318" extrusionOk="0">
                      <a:moveTo>
                        <a:pt x="8570" y="1"/>
                      </a:moveTo>
                      <a:lnTo>
                        <a:pt x="8175" y="14"/>
                      </a:lnTo>
                      <a:lnTo>
                        <a:pt x="7781" y="41"/>
                      </a:lnTo>
                      <a:lnTo>
                        <a:pt x="7359" y="82"/>
                      </a:lnTo>
                      <a:lnTo>
                        <a:pt x="6924" y="150"/>
                      </a:lnTo>
                      <a:lnTo>
                        <a:pt x="6475" y="232"/>
                      </a:lnTo>
                      <a:lnTo>
                        <a:pt x="6026" y="327"/>
                      </a:lnTo>
                      <a:lnTo>
                        <a:pt x="5591" y="436"/>
                      </a:lnTo>
                      <a:lnTo>
                        <a:pt x="5142" y="545"/>
                      </a:lnTo>
                      <a:lnTo>
                        <a:pt x="4285" y="790"/>
                      </a:lnTo>
                      <a:lnTo>
                        <a:pt x="3510" y="1034"/>
                      </a:lnTo>
                      <a:lnTo>
                        <a:pt x="2830" y="1266"/>
                      </a:lnTo>
                      <a:lnTo>
                        <a:pt x="2680" y="1334"/>
                      </a:lnTo>
                      <a:lnTo>
                        <a:pt x="2530" y="1388"/>
                      </a:lnTo>
                      <a:lnTo>
                        <a:pt x="2394" y="1470"/>
                      </a:lnTo>
                      <a:lnTo>
                        <a:pt x="2258" y="1551"/>
                      </a:lnTo>
                      <a:lnTo>
                        <a:pt x="2136" y="1633"/>
                      </a:lnTo>
                      <a:lnTo>
                        <a:pt x="2013" y="1742"/>
                      </a:lnTo>
                      <a:lnTo>
                        <a:pt x="1891" y="1837"/>
                      </a:lnTo>
                      <a:lnTo>
                        <a:pt x="1796" y="1946"/>
                      </a:lnTo>
                      <a:lnTo>
                        <a:pt x="1687" y="2068"/>
                      </a:lnTo>
                      <a:lnTo>
                        <a:pt x="1592" y="2191"/>
                      </a:lnTo>
                      <a:lnTo>
                        <a:pt x="1510" y="2313"/>
                      </a:lnTo>
                      <a:lnTo>
                        <a:pt x="1428" y="2449"/>
                      </a:lnTo>
                      <a:lnTo>
                        <a:pt x="1360" y="2599"/>
                      </a:lnTo>
                      <a:lnTo>
                        <a:pt x="1292" y="2735"/>
                      </a:lnTo>
                      <a:lnTo>
                        <a:pt x="1252" y="2884"/>
                      </a:lnTo>
                      <a:lnTo>
                        <a:pt x="1211" y="3034"/>
                      </a:lnTo>
                      <a:lnTo>
                        <a:pt x="1143" y="3333"/>
                      </a:lnTo>
                      <a:lnTo>
                        <a:pt x="1075" y="3632"/>
                      </a:lnTo>
                      <a:lnTo>
                        <a:pt x="1034" y="3945"/>
                      </a:lnTo>
                      <a:lnTo>
                        <a:pt x="993" y="4272"/>
                      </a:lnTo>
                      <a:lnTo>
                        <a:pt x="925" y="4938"/>
                      </a:lnTo>
                      <a:lnTo>
                        <a:pt x="898" y="5618"/>
                      </a:lnTo>
                      <a:lnTo>
                        <a:pt x="14" y="7183"/>
                      </a:lnTo>
                      <a:lnTo>
                        <a:pt x="0" y="7210"/>
                      </a:lnTo>
                      <a:lnTo>
                        <a:pt x="0" y="7251"/>
                      </a:lnTo>
                      <a:lnTo>
                        <a:pt x="27" y="7292"/>
                      </a:lnTo>
                      <a:lnTo>
                        <a:pt x="68" y="7319"/>
                      </a:lnTo>
                      <a:lnTo>
                        <a:pt x="163" y="7387"/>
                      </a:lnTo>
                      <a:lnTo>
                        <a:pt x="313" y="7441"/>
                      </a:lnTo>
                      <a:lnTo>
                        <a:pt x="476" y="7496"/>
                      </a:lnTo>
                      <a:lnTo>
                        <a:pt x="640" y="7536"/>
                      </a:lnTo>
                      <a:lnTo>
                        <a:pt x="939" y="7604"/>
                      </a:lnTo>
                      <a:lnTo>
                        <a:pt x="980" y="8026"/>
                      </a:lnTo>
                      <a:lnTo>
                        <a:pt x="1129" y="9237"/>
                      </a:lnTo>
                      <a:lnTo>
                        <a:pt x="1238" y="9808"/>
                      </a:lnTo>
                      <a:lnTo>
                        <a:pt x="1292" y="10012"/>
                      </a:lnTo>
                      <a:lnTo>
                        <a:pt x="1347" y="10216"/>
                      </a:lnTo>
                      <a:lnTo>
                        <a:pt x="1401" y="10393"/>
                      </a:lnTo>
                      <a:lnTo>
                        <a:pt x="1469" y="10556"/>
                      </a:lnTo>
                      <a:lnTo>
                        <a:pt x="1537" y="10692"/>
                      </a:lnTo>
                      <a:lnTo>
                        <a:pt x="1619" y="10828"/>
                      </a:lnTo>
                      <a:lnTo>
                        <a:pt x="1687" y="10937"/>
                      </a:lnTo>
                      <a:lnTo>
                        <a:pt x="1782" y="11032"/>
                      </a:lnTo>
                      <a:lnTo>
                        <a:pt x="1864" y="11114"/>
                      </a:lnTo>
                      <a:lnTo>
                        <a:pt x="1959" y="11182"/>
                      </a:lnTo>
                      <a:lnTo>
                        <a:pt x="2068" y="11236"/>
                      </a:lnTo>
                      <a:lnTo>
                        <a:pt x="2163" y="11277"/>
                      </a:lnTo>
                      <a:lnTo>
                        <a:pt x="2272" y="11304"/>
                      </a:lnTo>
                      <a:lnTo>
                        <a:pt x="2394" y="11318"/>
                      </a:lnTo>
                      <a:lnTo>
                        <a:pt x="2517" y="11318"/>
                      </a:lnTo>
                      <a:lnTo>
                        <a:pt x="2639" y="11304"/>
                      </a:lnTo>
                      <a:lnTo>
                        <a:pt x="2762" y="11291"/>
                      </a:lnTo>
                      <a:lnTo>
                        <a:pt x="2911" y="11250"/>
                      </a:lnTo>
                      <a:lnTo>
                        <a:pt x="3265" y="11127"/>
                      </a:lnTo>
                      <a:lnTo>
                        <a:pt x="3700" y="10951"/>
                      </a:lnTo>
                      <a:lnTo>
                        <a:pt x="4190" y="10719"/>
                      </a:lnTo>
                      <a:lnTo>
                        <a:pt x="4734" y="10447"/>
                      </a:lnTo>
                      <a:lnTo>
                        <a:pt x="5332" y="10134"/>
                      </a:lnTo>
                      <a:lnTo>
                        <a:pt x="5945" y="9794"/>
                      </a:lnTo>
                      <a:lnTo>
                        <a:pt x="6584" y="9414"/>
                      </a:lnTo>
                      <a:lnTo>
                        <a:pt x="7237" y="9019"/>
                      </a:lnTo>
                      <a:lnTo>
                        <a:pt x="7876" y="8611"/>
                      </a:lnTo>
                      <a:lnTo>
                        <a:pt x="8515" y="8189"/>
                      </a:lnTo>
                      <a:lnTo>
                        <a:pt x="9128" y="7754"/>
                      </a:lnTo>
                      <a:lnTo>
                        <a:pt x="9699" y="7332"/>
                      </a:lnTo>
                      <a:lnTo>
                        <a:pt x="10243" y="6911"/>
                      </a:lnTo>
                      <a:lnTo>
                        <a:pt x="10719" y="6489"/>
                      </a:lnTo>
                      <a:lnTo>
                        <a:pt x="10937" y="6285"/>
                      </a:lnTo>
                      <a:lnTo>
                        <a:pt x="11127" y="6095"/>
                      </a:lnTo>
                      <a:lnTo>
                        <a:pt x="11304" y="5891"/>
                      </a:lnTo>
                      <a:lnTo>
                        <a:pt x="11467" y="5686"/>
                      </a:lnTo>
                      <a:lnTo>
                        <a:pt x="11603" y="5482"/>
                      </a:lnTo>
                      <a:lnTo>
                        <a:pt x="11726" y="5265"/>
                      </a:lnTo>
                      <a:lnTo>
                        <a:pt x="11821" y="5034"/>
                      </a:lnTo>
                      <a:lnTo>
                        <a:pt x="11902" y="4816"/>
                      </a:lnTo>
                      <a:lnTo>
                        <a:pt x="11970" y="4585"/>
                      </a:lnTo>
                      <a:lnTo>
                        <a:pt x="12011" y="4353"/>
                      </a:lnTo>
                      <a:lnTo>
                        <a:pt x="12039" y="4109"/>
                      </a:lnTo>
                      <a:lnTo>
                        <a:pt x="12052" y="3877"/>
                      </a:lnTo>
                      <a:lnTo>
                        <a:pt x="12052" y="3646"/>
                      </a:lnTo>
                      <a:lnTo>
                        <a:pt x="12039" y="3401"/>
                      </a:lnTo>
                      <a:lnTo>
                        <a:pt x="11998" y="3170"/>
                      </a:lnTo>
                      <a:lnTo>
                        <a:pt x="11957" y="2939"/>
                      </a:lnTo>
                      <a:lnTo>
                        <a:pt x="11889" y="2708"/>
                      </a:lnTo>
                      <a:lnTo>
                        <a:pt x="11821" y="2490"/>
                      </a:lnTo>
                      <a:lnTo>
                        <a:pt x="11739" y="2259"/>
                      </a:lnTo>
                      <a:lnTo>
                        <a:pt x="11630" y="2055"/>
                      </a:lnTo>
                      <a:lnTo>
                        <a:pt x="11522" y="1837"/>
                      </a:lnTo>
                      <a:lnTo>
                        <a:pt x="11399" y="1633"/>
                      </a:lnTo>
                      <a:lnTo>
                        <a:pt x="11263" y="1442"/>
                      </a:lnTo>
                      <a:lnTo>
                        <a:pt x="11127" y="1266"/>
                      </a:lnTo>
                      <a:lnTo>
                        <a:pt x="10978" y="1089"/>
                      </a:lnTo>
                      <a:lnTo>
                        <a:pt x="10814" y="926"/>
                      </a:lnTo>
                      <a:lnTo>
                        <a:pt x="10637" y="762"/>
                      </a:lnTo>
                      <a:lnTo>
                        <a:pt x="10461" y="626"/>
                      </a:lnTo>
                      <a:lnTo>
                        <a:pt x="10284" y="490"/>
                      </a:lnTo>
                      <a:lnTo>
                        <a:pt x="10080" y="381"/>
                      </a:lnTo>
                      <a:lnTo>
                        <a:pt x="9889" y="286"/>
                      </a:lnTo>
                      <a:lnTo>
                        <a:pt x="9672" y="191"/>
                      </a:lnTo>
                      <a:lnTo>
                        <a:pt x="9468" y="123"/>
                      </a:lnTo>
                      <a:lnTo>
                        <a:pt x="9250" y="69"/>
                      </a:lnTo>
                      <a:lnTo>
                        <a:pt x="9087" y="41"/>
                      </a:lnTo>
                      <a:lnTo>
                        <a:pt x="8924" y="28"/>
                      </a:lnTo>
                      <a:lnTo>
                        <a:pt x="8570" y="1"/>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351;p30"/>
                <p:cNvSpPr/>
                <p:nvPr/>
              </p:nvSpPr>
              <p:spPr>
                <a:xfrm>
                  <a:off x="7884661" y="1384106"/>
                  <a:ext cx="54417" cy="32412"/>
                </a:xfrm>
                <a:custGeom>
                  <a:avLst/>
                  <a:gdLst/>
                  <a:ahLst/>
                  <a:cxnLst/>
                  <a:rect l="l" t="t" r="r" b="b"/>
                  <a:pathLst>
                    <a:path w="1783" h="1062" extrusionOk="0">
                      <a:moveTo>
                        <a:pt x="463" y="1"/>
                      </a:moveTo>
                      <a:lnTo>
                        <a:pt x="314" y="15"/>
                      </a:lnTo>
                      <a:lnTo>
                        <a:pt x="150" y="42"/>
                      </a:lnTo>
                      <a:lnTo>
                        <a:pt x="123" y="55"/>
                      </a:lnTo>
                      <a:lnTo>
                        <a:pt x="82" y="83"/>
                      </a:lnTo>
                      <a:lnTo>
                        <a:pt x="28" y="137"/>
                      </a:lnTo>
                      <a:lnTo>
                        <a:pt x="14" y="219"/>
                      </a:lnTo>
                      <a:lnTo>
                        <a:pt x="1" y="259"/>
                      </a:lnTo>
                      <a:lnTo>
                        <a:pt x="14" y="300"/>
                      </a:lnTo>
                      <a:lnTo>
                        <a:pt x="28" y="341"/>
                      </a:lnTo>
                      <a:lnTo>
                        <a:pt x="55" y="368"/>
                      </a:lnTo>
                      <a:lnTo>
                        <a:pt x="110" y="423"/>
                      </a:lnTo>
                      <a:lnTo>
                        <a:pt x="178" y="450"/>
                      </a:lnTo>
                      <a:lnTo>
                        <a:pt x="219" y="450"/>
                      </a:lnTo>
                      <a:lnTo>
                        <a:pt x="259" y="436"/>
                      </a:lnTo>
                      <a:lnTo>
                        <a:pt x="395" y="409"/>
                      </a:lnTo>
                      <a:lnTo>
                        <a:pt x="640" y="409"/>
                      </a:lnTo>
                      <a:lnTo>
                        <a:pt x="749" y="436"/>
                      </a:lnTo>
                      <a:lnTo>
                        <a:pt x="844" y="463"/>
                      </a:lnTo>
                      <a:lnTo>
                        <a:pt x="939" y="504"/>
                      </a:lnTo>
                      <a:lnTo>
                        <a:pt x="1021" y="559"/>
                      </a:lnTo>
                      <a:lnTo>
                        <a:pt x="1103" y="613"/>
                      </a:lnTo>
                      <a:lnTo>
                        <a:pt x="1225" y="722"/>
                      </a:lnTo>
                      <a:lnTo>
                        <a:pt x="1320" y="831"/>
                      </a:lnTo>
                      <a:lnTo>
                        <a:pt x="1388" y="953"/>
                      </a:lnTo>
                      <a:lnTo>
                        <a:pt x="1429" y="1008"/>
                      </a:lnTo>
                      <a:lnTo>
                        <a:pt x="1470" y="1035"/>
                      </a:lnTo>
                      <a:lnTo>
                        <a:pt x="1524" y="1062"/>
                      </a:lnTo>
                      <a:lnTo>
                        <a:pt x="1633" y="1062"/>
                      </a:lnTo>
                      <a:lnTo>
                        <a:pt x="1674" y="1035"/>
                      </a:lnTo>
                      <a:lnTo>
                        <a:pt x="1701" y="1021"/>
                      </a:lnTo>
                      <a:lnTo>
                        <a:pt x="1728" y="980"/>
                      </a:lnTo>
                      <a:lnTo>
                        <a:pt x="1769" y="912"/>
                      </a:lnTo>
                      <a:lnTo>
                        <a:pt x="1783" y="844"/>
                      </a:lnTo>
                      <a:lnTo>
                        <a:pt x="1769" y="803"/>
                      </a:lnTo>
                      <a:lnTo>
                        <a:pt x="1756" y="763"/>
                      </a:lnTo>
                      <a:lnTo>
                        <a:pt x="1660" y="627"/>
                      </a:lnTo>
                      <a:lnTo>
                        <a:pt x="1538" y="477"/>
                      </a:lnTo>
                      <a:lnTo>
                        <a:pt x="1388" y="327"/>
                      </a:lnTo>
                      <a:lnTo>
                        <a:pt x="1293" y="259"/>
                      </a:lnTo>
                      <a:lnTo>
                        <a:pt x="1198" y="191"/>
                      </a:lnTo>
                      <a:lnTo>
                        <a:pt x="1089" y="137"/>
                      </a:lnTo>
                      <a:lnTo>
                        <a:pt x="980" y="83"/>
                      </a:lnTo>
                      <a:lnTo>
                        <a:pt x="858" y="42"/>
                      </a:lnTo>
                      <a:lnTo>
                        <a:pt x="735" y="15"/>
                      </a:lnTo>
                      <a:lnTo>
                        <a:pt x="599" y="1"/>
                      </a:lnTo>
                      <a:close/>
                    </a:path>
                  </a:pathLst>
                </a:custGeom>
                <a:solidFill>
                  <a:srgbClr val="0020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352;p30"/>
                <p:cNvSpPr/>
                <p:nvPr/>
              </p:nvSpPr>
              <p:spPr>
                <a:xfrm>
                  <a:off x="7872636" y="1372905"/>
                  <a:ext cx="49015" cy="109231"/>
                </a:xfrm>
                <a:custGeom>
                  <a:avLst/>
                  <a:gdLst/>
                  <a:ahLst/>
                  <a:cxnLst/>
                  <a:rect l="l" t="t" r="r" b="b"/>
                  <a:pathLst>
                    <a:path w="1606" h="3579" extrusionOk="0">
                      <a:moveTo>
                        <a:pt x="817" y="177"/>
                      </a:moveTo>
                      <a:lnTo>
                        <a:pt x="871" y="205"/>
                      </a:lnTo>
                      <a:lnTo>
                        <a:pt x="939" y="232"/>
                      </a:lnTo>
                      <a:lnTo>
                        <a:pt x="993" y="286"/>
                      </a:lnTo>
                      <a:lnTo>
                        <a:pt x="1048" y="354"/>
                      </a:lnTo>
                      <a:lnTo>
                        <a:pt x="1102" y="422"/>
                      </a:lnTo>
                      <a:lnTo>
                        <a:pt x="1197" y="613"/>
                      </a:lnTo>
                      <a:lnTo>
                        <a:pt x="1293" y="844"/>
                      </a:lnTo>
                      <a:lnTo>
                        <a:pt x="1361" y="1116"/>
                      </a:lnTo>
                      <a:lnTo>
                        <a:pt x="1415" y="1429"/>
                      </a:lnTo>
                      <a:lnTo>
                        <a:pt x="1442" y="1769"/>
                      </a:lnTo>
                      <a:lnTo>
                        <a:pt x="1429" y="2123"/>
                      </a:lnTo>
                      <a:lnTo>
                        <a:pt x="1401" y="2435"/>
                      </a:lnTo>
                      <a:lnTo>
                        <a:pt x="1347" y="2708"/>
                      </a:lnTo>
                      <a:lnTo>
                        <a:pt x="1265" y="2952"/>
                      </a:lnTo>
                      <a:lnTo>
                        <a:pt x="1170" y="3143"/>
                      </a:lnTo>
                      <a:lnTo>
                        <a:pt x="1129" y="3224"/>
                      </a:lnTo>
                      <a:lnTo>
                        <a:pt x="1075" y="3279"/>
                      </a:lnTo>
                      <a:lnTo>
                        <a:pt x="1021" y="3333"/>
                      </a:lnTo>
                      <a:lnTo>
                        <a:pt x="966" y="3374"/>
                      </a:lnTo>
                      <a:lnTo>
                        <a:pt x="912" y="3401"/>
                      </a:lnTo>
                      <a:lnTo>
                        <a:pt x="857" y="3415"/>
                      </a:lnTo>
                      <a:lnTo>
                        <a:pt x="803" y="3401"/>
                      </a:lnTo>
                      <a:lnTo>
                        <a:pt x="749" y="3388"/>
                      </a:lnTo>
                      <a:lnTo>
                        <a:pt x="694" y="3360"/>
                      </a:lnTo>
                      <a:lnTo>
                        <a:pt x="640" y="3306"/>
                      </a:lnTo>
                      <a:lnTo>
                        <a:pt x="585" y="3252"/>
                      </a:lnTo>
                      <a:lnTo>
                        <a:pt x="531" y="3184"/>
                      </a:lnTo>
                      <a:lnTo>
                        <a:pt x="436" y="3020"/>
                      </a:lnTo>
                      <a:lnTo>
                        <a:pt x="340" y="2816"/>
                      </a:lnTo>
                      <a:lnTo>
                        <a:pt x="272" y="2572"/>
                      </a:lnTo>
                      <a:lnTo>
                        <a:pt x="218" y="2286"/>
                      </a:lnTo>
                      <a:lnTo>
                        <a:pt x="191" y="1973"/>
                      </a:lnTo>
                      <a:lnTo>
                        <a:pt x="177" y="1810"/>
                      </a:lnTo>
                      <a:lnTo>
                        <a:pt x="177" y="1769"/>
                      </a:lnTo>
                      <a:lnTo>
                        <a:pt x="191" y="1429"/>
                      </a:lnTo>
                      <a:lnTo>
                        <a:pt x="218" y="1116"/>
                      </a:lnTo>
                      <a:lnTo>
                        <a:pt x="272" y="844"/>
                      </a:lnTo>
                      <a:lnTo>
                        <a:pt x="354" y="613"/>
                      </a:lnTo>
                      <a:lnTo>
                        <a:pt x="436" y="436"/>
                      </a:lnTo>
                      <a:lnTo>
                        <a:pt x="490" y="354"/>
                      </a:lnTo>
                      <a:lnTo>
                        <a:pt x="544" y="286"/>
                      </a:lnTo>
                      <a:lnTo>
                        <a:pt x="599" y="245"/>
                      </a:lnTo>
                      <a:lnTo>
                        <a:pt x="653" y="205"/>
                      </a:lnTo>
                      <a:lnTo>
                        <a:pt x="708" y="177"/>
                      </a:lnTo>
                      <a:close/>
                      <a:moveTo>
                        <a:pt x="762" y="1"/>
                      </a:moveTo>
                      <a:lnTo>
                        <a:pt x="681" y="14"/>
                      </a:lnTo>
                      <a:lnTo>
                        <a:pt x="599" y="41"/>
                      </a:lnTo>
                      <a:lnTo>
                        <a:pt x="531" y="82"/>
                      </a:lnTo>
                      <a:lnTo>
                        <a:pt x="449" y="137"/>
                      </a:lnTo>
                      <a:lnTo>
                        <a:pt x="395" y="218"/>
                      </a:lnTo>
                      <a:lnTo>
                        <a:pt x="327" y="300"/>
                      </a:lnTo>
                      <a:lnTo>
                        <a:pt x="272" y="395"/>
                      </a:lnTo>
                      <a:lnTo>
                        <a:pt x="218" y="504"/>
                      </a:lnTo>
                      <a:lnTo>
                        <a:pt x="164" y="626"/>
                      </a:lnTo>
                      <a:lnTo>
                        <a:pt x="123" y="762"/>
                      </a:lnTo>
                      <a:lnTo>
                        <a:pt x="55" y="1062"/>
                      </a:lnTo>
                      <a:lnTo>
                        <a:pt x="14" y="1388"/>
                      </a:lnTo>
                      <a:lnTo>
                        <a:pt x="0" y="1728"/>
                      </a:lnTo>
                      <a:lnTo>
                        <a:pt x="0" y="1810"/>
                      </a:lnTo>
                      <a:lnTo>
                        <a:pt x="14" y="1905"/>
                      </a:lnTo>
                      <a:lnTo>
                        <a:pt x="41" y="2259"/>
                      </a:lnTo>
                      <a:lnTo>
                        <a:pt x="96" y="2572"/>
                      </a:lnTo>
                      <a:lnTo>
                        <a:pt x="177" y="2857"/>
                      </a:lnTo>
                      <a:lnTo>
                        <a:pt x="232" y="2993"/>
                      </a:lnTo>
                      <a:lnTo>
                        <a:pt x="286" y="3102"/>
                      </a:lnTo>
                      <a:lnTo>
                        <a:pt x="340" y="3211"/>
                      </a:lnTo>
                      <a:lnTo>
                        <a:pt x="408" y="3306"/>
                      </a:lnTo>
                      <a:lnTo>
                        <a:pt x="476" y="3388"/>
                      </a:lnTo>
                      <a:lnTo>
                        <a:pt x="544" y="3456"/>
                      </a:lnTo>
                      <a:lnTo>
                        <a:pt x="626" y="3510"/>
                      </a:lnTo>
                      <a:lnTo>
                        <a:pt x="694" y="3551"/>
                      </a:lnTo>
                      <a:lnTo>
                        <a:pt x="776" y="3578"/>
                      </a:lnTo>
                      <a:lnTo>
                        <a:pt x="857" y="3578"/>
                      </a:lnTo>
                      <a:lnTo>
                        <a:pt x="939" y="3565"/>
                      </a:lnTo>
                      <a:lnTo>
                        <a:pt x="1021" y="3537"/>
                      </a:lnTo>
                      <a:lnTo>
                        <a:pt x="1102" y="3496"/>
                      </a:lnTo>
                      <a:lnTo>
                        <a:pt x="1170" y="3428"/>
                      </a:lnTo>
                      <a:lnTo>
                        <a:pt x="1238" y="3360"/>
                      </a:lnTo>
                      <a:lnTo>
                        <a:pt x="1306" y="3265"/>
                      </a:lnTo>
                      <a:lnTo>
                        <a:pt x="1361" y="3156"/>
                      </a:lnTo>
                      <a:lnTo>
                        <a:pt x="1415" y="3048"/>
                      </a:lnTo>
                      <a:lnTo>
                        <a:pt x="1456" y="2925"/>
                      </a:lnTo>
                      <a:lnTo>
                        <a:pt x="1497" y="2776"/>
                      </a:lnTo>
                      <a:lnTo>
                        <a:pt x="1537" y="2626"/>
                      </a:lnTo>
                      <a:lnTo>
                        <a:pt x="1565" y="2476"/>
                      </a:lnTo>
                      <a:lnTo>
                        <a:pt x="1592" y="2313"/>
                      </a:lnTo>
                      <a:lnTo>
                        <a:pt x="1605" y="2136"/>
                      </a:lnTo>
                      <a:lnTo>
                        <a:pt x="1605" y="1959"/>
                      </a:lnTo>
                      <a:lnTo>
                        <a:pt x="1605" y="1769"/>
                      </a:lnTo>
                      <a:lnTo>
                        <a:pt x="1605" y="1579"/>
                      </a:lnTo>
                      <a:lnTo>
                        <a:pt x="1578" y="1402"/>
                      </a:lnTo>
                      <a:lnTo>
                        <a:pt x="1565" y="1238"/>
                      </a:lnTo>
                      <a:lnTo>
                        <a:pt x="1524" y="1062"/>
                      </a:lnTo>
                      <a:lnTo>
                        <a:pt x="1483" y="912"/>
                      </a:lnTo>
                      <a:lnTo>
                        <a:pt x="1442" y="762"/>
                      </a:lnTo>
                      <a:lnTo>
                        <a:pt x="1401" y="626"/>
                      </a:lnTo>
                      <a:lnTo>
                        <a:pt x="1347" y="504"/>
                      </a:lnTo>
                      <a:lnTo>
                        <a:pt x="1279" y="395"/>
                      </a:lnTo>
                      <a:lnTo>
                        <a:pt x="1211" y="286"/>
                      </a:lnTo>
                      <a:lnTo>
                        <a:pt x="1143" y="205"/>
                      </a:lnTo>
                      <a:lnTo>
                        <a:pt x="1075" y="137"/>
                      </a:lnTo>
                      <a:lnTo>
                        <a:pt x="1007" y="69"/>
                      </a:lnTo>
                      <a:lnTo>
                        <a:pt x="925" y="28"/>
                      </a:lnTo>
                      <a:lnTo>
                        <a:pt x="844" y="14"/>
                      </a:lnTo>
                      <a:lnTo>
                        <a:pt x="76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353;p30"/>
                <p:cNvSpPr/>
                <p:nvPr/>
              </p:nvSpPr>
              <p:spPr>
                <a:xfrm>
                  <a:off x="7866410" y="1425644"/>
                  <a:ext cx="12055" cy="7905"/>
                </a:xfrm>
                <a:custGeom>
                  <a:avLst/>
                  <a:gdLst/>
                  <a:ahLst/>
                  <a:cxnLst/>
                  <a:rect l="l" t="t" r="r" b="b"/>
                  <a:pathLst>
                    <a:path w="395" h="259" extrusionOk="0">
                      <a:moveTo>
                        <a:pt x="204" y="0"/>
                      </a:moveTo>
                      <a:lnTo>
                        <a:pt x="164" y="14"/>
                      </a:lnTo>
                      <a:lnTo>
                        <a:pt x="123" y="41"/>
                      </a:lnTo>
                      <a:lnTo>
                        <a:pt x="68" y="68"/>
                      </a:lnTo>
                      <a:lnTo>
                        <a:pt x="28" y="123"/>
                      </a:lnTo>
                      <a:lnTo>
                        <a:pt x="0" y="150"/>
                      </a:lnTo>
                      <a:lnTo>
                        <a:pt x="0" y="177"/>
                      </a:lnTo>
                      <a:lnTo>
                        <a:pt x="14" y="218"/>
                      </a:lnTo>
                      <a:lnTo>
                        <a:pt x="41" y="245"/>
                      </a:lnTo>
                      <a:lnTo>
                        <a:pt x="68" y="259"/>
                      </a:lnTo>
                      <a:lnTo>
                        <a:pt x="96" y="259"/>
                      </a:lnTo>
                      <a:lnTo>
                        <a:pt x="123" y="245"/>
                      </a:lnTo>
                      <a:lnTo>
                        <a:pt x="150" y="231"/>
                      </a:lnTo>
                      <a:lnTo>
                        <a:pt x="191" y="204"/>
                      </a:lnTo>
                      <a:lnTo>
                        <a:pt x="218" y="177"/>
                      </a:lnTo>
                      <a:lnTo>
                        <a:pt x="272" y="177"/>
                      </a:lnTo>
                      <a:lnTo>
                        <a:pt x="313" y="191"/>
                      </a:lnTo>
                      <a:lnTo>
                        <a:pt x="340" y="218"/>
                      </a:lnTo>
                      <a:lnTo>
                        <a:pt x="368" y="245"/>
                      </a:lnTo>
                      <a:lnTo>
                        <a:pt x="395" y="245"/>
                      </a:lnTo>
                      <a:lnTo>
                        <a:pt x="381" y="82"/>
                      </a:lnTo>
                      <a:lnTo>
                        <a:pt x="381" y="41"/>
                      </a:lnTo>
                      <a:lnTo>
                        <a:pt x="313" y="14"/>
                      </a:lnTo>
                      <a:lnTo>
                        <a:pt x="245"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354;p30"/>
                <p:cNvSpPr/>
                <p:nvPr/>
              </p:nvSpPr>
              <p:spPr>
                <a:xfrm>
                  <a:off x="7916219" y="1400312"/>
                  <a:ext cx="92628" cy="23684"/>
                </a:xfrm>
                <a:custGeom>
                  <a:avLst/>
                  <a:gdLst/>
                  <a:ahLst/>
                  <a:cxnLst/>
                  <a:rect l="l" t="t" r="r" b="b"/>
                  <a:pathLst>
                    <a:path w="3035" h="776" extrusionOk="0">
                      <a:moveTo>
                        <a:pt x="3034" y="0"/>
                      </a:moveTo>
                      <a:lnTo>
                        <a:pt x="82" y="613"/>
                      </a:lnTo>
                      <a:lnTo>
                        <a:pt x="55" y="626"/>
                      </a:lnTo>
                      <a:lnTo>
                        <a:pt x="28" y="640"/>
                      </a:lnTo>
                      <a:lnTo>
                        <a:pt x="1" y="667"/>
                      </a:lnTo>
                      <a:lnTo>
                        <a:pt x="1" y="694"/>
                      </a:lnTo>
                      <a:lnTo>
                        <a:pt x="14" y="735"/>
                      </a:lnTo>
                      <a:lnTo>
                        <a:pt x="28" y="762"/>
                      </a:lnTo>
                      <a:lnTo>
                        <a:pt x="55" y="776"/>
                      </a:lnTo>
                      <a:lnTo>
                        <a:pt x="96" y="776"/>
                      </a:lnTo>
                      <a:lnTo>
                        <a:pt x="2925" y="150"/>
                      </a:lnTo>
                      <a:lnTo>
                        <a:pt x="2939" y="109"/>
                      </a:lnTo>
                      <a:lnTo>
                        <a:pt x="2980" y="68"/>
                      </a:lnTo>
                      <a:lnTo>
                        <a:pt x="3007" y="41"/>
                      </a:lnTo>
                      <a:lnTo>
                        <a:pt x="303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355;p30"/>
                <p:cNvSpPr/>
                <p:nvPr/>
              </p:nvSpPr>
              <p:spPr>
                <a:xfrm>
                  <a:off x="7883013" y="1518640"/>
                  <a:ext cx="39890" cy="22432"/>
                </a:xfrm>
                <a:custGeom>
                  <a:avLst/>
                  <a:gdLst/>
                  <a:ahLst/>
                  <a:cxnLst/>
                  <a:rect l="l" t="t" r="r" b="b"/>
                  <a:pathLst>
                    <a:path w="1307" h="735" extrusionOk="0">
                      <a:moveTo>
                        <a:pt x="1157" y="0"/>
                      </a:moveTo>
                      <a:lnTo>
                        <a:pt x="1116" y="14"/>
                      </a:lnTo>
                      <a:lnTo>
                        <a:pt x="1075" y="55"/>
                      </a:lnTo>
                      <a:lnTo>
                        <a:pt x="1007" y="136"/>
                      </a:lnTo>
                      <a:lnTo>
                        <a:pt x="925" y="218"/>
                      </a:lnTo>
                      <a:lnTo>
                        <a:pt x="817" y="299"/>
                      </a:lnTo>
                      <a:lnTo>
                        <a:pt x="681" y="381"/>
                      </a:lnTo>
                      <a:lnTo>
                        <a:pt x="613" y="422"/>
                      </a:lnTo>
                      <a:lnTo>
                        <a:pt x="531" y="449"/>
                      </a:lnTo>
                      <a:lnTo>
                        <a:pt x="449" y="463"/>
                      </a:lnTo>
                      <a:lnTo>
                        <a:pt x="354" y="476"/>
                      </a:lnTo>
                      <a:lnTo>
                        <a:pt x="259" y="476"/>
                      </a:lnTo>
                      <a:lnTo>
                        <a:pt x="150" y="463"/>
                      </a:lnTo>
                      <a:lnTo>
                        <a:pt x="96" y="463"/>
                      </a:lnTo>
                      <a:lnTo>
                        <a:pt x="55" y="490"/>
                      </a:lnTo>
                      <a:lnTo>
                        <a:pt x="14" y="517"/>
                      </a:lnTo>
                      <a:lnTo>
                        <a:pt x="0" y="571"/>
                      </a:lnTo>
                      <a:lnTo>
                        <a:pt x="0" y="612"/>
                      </a:lnTo>
                      <a:lnTo>
                        <a:pt x="14" y="667"/>
                      </a:lnTo>
                      <a:lnTo>
                        <a:pt x="55" y="694"/>
                      </a:lnTo>
                      <a:lnTo>
                        <a:pt x="109" y="721"/>
                      </a:lnTo>
                      <a:lnTo>
                        <a:pt x="204" y="735"/>
                      </a:lnTo>
                      <a:lnTo>
                        <a:pt x="409" y="735"/>
                      </a:lnTo>
                      <a:lnTo>
                        <a:pt x="517" y="707"/>
                      </a:lnTo>
                      <a:lnTo>
                        <a:pt x="613" y="694"/>
                      </a:lnTo>
                      <a:lnTo>
                        <a:pt x="708" y="653"/>
                      </a:lnTo>
                      <a:lnTo>
                        <a:pt x="885" y="571"/>
                      </a:lnTo>
                      <a:lnTo>
                        <a:pt x="1021" y="476"/>
                      </a:lnTo>
                      <a:lnTo>
                        <a:pt x="1129" y="381"/>
                      </a:lnTo>
                      <a:lnTo>
                        <a:pt x="1211" y="286"/>
                      </a:lnTo>
                      <a:lnTo>
                        <a:pt x="1293" y="191"/>
                      </a:lnTo>
                      <a:lnTo>
                        <a:pt x="1306" y="150"/>
                      </a:lnTo>
                      <a:lnTo>
                        <a:pt x="1306" y="95"/>
                      </a:lnTo>
                      <a:lnTo>
                        <a:pt x="1293" y="55"/>
                      </a:lnTo>
                      <a:lnTo>
                        <a:pt x="1252" y="14"/>
                      </a:lnTo>
                      <a:lnTo>
                        <a:pt x="1211" y="0"/>
                      </a:lnTo>
                      <a:close/>
                    </a:path>
                  </a:pathLst>
                </a:custGeom>
                <a:solidFill>
                  <a:srgbClr val="FD96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356;p30"/>
                <p:cNvSpPr/>
                <p:nvPr/>
              </p:nvSpPr>
              <p:spPr>
                <a:xfrm>
                  <a:off x="7919973" y="1467579"/>
                  <a:ext cx="61864" cy="34060"/>
                </a:xfrm>
                <a:custGeom>
                  <a:avLst/>
                  <a:gdLst/>
                  <a:ahLst/>
                  <a:cxnLst/>
                  <a:rect l="l" t="t" r="r" b="b"/>
                  <a:pathLst>
                    <a:path w="2027" h="1116" extrusionOk="0">
                      <a:moveTo>
                        <a:pt x="1292" y="0"/>
                      </a:moveTo>
                      <a:lnTo>
                        <a:pt x="1102" y="14"/>
                      </a:lnTo>
                      <a:lnTo>
                        <a:pt x="898" y="41"/>
                      </a:lnTo>
                      <a:lnTo>
                        <a:pt x="694" y="109"/>
                      </a:lnTo>
                      <a:lnTo>
                        <a:pt x="503" y="177"/>
                      </a:lnTo>
                      <a:lnTo>
                        <a:pt x="354" y="258"/>
                      </a:lnTo>
                      <a:lnTo>
                        <a:pt x="218" y="354"/>
                      </a:lnTo>
                      <a:lnTo>
                        <a:pt x="109" y="463"/>
                      </a:lnTo>
                      <a:lnTo>
                        <a:pt x="41" y="571"/>
                      </a:lnTo>
                      <a:lnTo>
                        <a:pt x="14" y="626"/>
                      </a:lnTo>
                      <a:lnTo>
                        <a:pt x="0" y="680"/>
                      </a:lnTo>
                      <a:lnTo>
                        <a:pt x="0" y="735"/>
                      </a:lnTo>
                      <a:lnTo>
                        <a:pt x="0" y="789"/>
                      </a:lnTo>
                      <a:lnTo>
                        <a:pt x="27" y="843"/>
                      </a:lnTo>
                      <a:lnTo>
                        <a:pt x="54" y="884"/>
                      </a:lnTo>
                      <a:lnTo>
                        <a:pt x="82" y="939"/>
                      </a:lnTo>
                      <a:lnTo>
                        <a:pt x="136" y="966"/>
                      </a:lnTo>
                      <a:lnTo>
                        <a:pt x="245" y="1034"/>
                      </a:lnTo>
                      <a:lnTo>
                        <a:pt x="381" y="1088"/>
                      </a:lnTo>
                      <a:lnTo>
                        <a:pt x="544" y="1115"/>
                      </a:lnTo>
                      <a:lnTo>
                        <a:pt x="735" y="1115"/>
                      </a:lnTo>
                      <a:lnTo>
                        <a:pt x="925" y="1102"/>
                      </a:lnTo>
                      <a:lnTo>
                        <a:pt x="1129" y="1075"/>
                      </a:lnTo>
                      <a:lnTo>
                        <a:pt x="1333" y="1020"/>
                      </a:lnTo>
                      <a:lnTo>
                        <a:pt x="1510" y="939"/>
                      </a:lnTo>
                      <a:lnTo>
                        <a:pt x="1673" y="857"/>
                      </a:lnTo>
                      <a:lnTo>
                        <a:pt x="1809" y="762"/>
                      </a:lnTo>
                      <a:lnTo>
                        <a:pt x="1904" y="653"/>
                      </a:lnTo>
                      <a:lnTo>
                        <a:pt x="1986" y="544"/>
                      </a:lnTo>
                      <a:lnTo>
                        <a:pt x="2013" y="490"/>
                      </a:lnTo>
                      <a:lnTo>
                        <a:pt x="2013" y="435"/>
                      </a:lnTo>
                      <a:lnTo>
                        <a:pt x="2027" y="381"/>
                      </a:lnTo>
                      <a:lnTo>
                        <a:pt x="2013" y="326"/>
                      </a:lnTo>
                      <a:lnTo>
                        <a:pt x="2000" y="272"/>
                      </a:lnTo>
                      <a:lnTo>
                        <a:pt x="1972" y="231"/>
                      </a:lnTo>
                      <a:lnTo>
                        <a:pt x="1932" y="177"/>
                      </a:lnTo>
                      <a:lnTo>
                        <a:pt x="1891" y="150"/>
                      </a:lnTo>
                      <a:lnTo>
                        <a:pt x="1782" y="82"/>
                      </a:lnTo>
                      <a:lnTo>
                        <a:pt x="1632" y="27"/>
                      </a:lnTo>
                      <a:lnTo>
                        <a:pt x="1469" y="0"/>
                      </a:lnTo>
                      <a:close/>
                    </a:path>
                  </a:pathLst>
                </a:custGeom>
                <a:solidFill>
                  <a:srgbClr val="FD96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357;p30"/>
                <p:cNvSpPr/>
                <p:nvPr/>
              </p:nvSpPr>
              <p:spPr>
                <a:xfrm>
                  <a:off x="7892963" y="1416488"/>
                  <a:ext cx="14558" cy="25789"/>
                </a:xfrm>
                <a:custGeom>
                  <a:avLst/>
                  <a:gdLst/>
                  <a:ahLst/>
                  <a:cxnLst/>
                  <a:rect l="l" t="t" r="r" b="b"/>
                  <a:pathLst>
                    <a:path w="477" h="845" extrusionOk="0">
                      <a:moveTo>
                        <a:pt x="232" y="1"/>
                      </a:moveTo>
                      <a:lnTo>
                        <a:pt x="191" y="28"/>
                      </a:lnTo>
                      <a:lnTo>
                        <a:pt x="151" y="55"/>
                      </a:lnTo>
                      <a:lnTo>
                        <a:pt x="110" y="110"/>
                      </a:lnTo>
                      <a:lnTo>
                        <a:pt x="69" y="164"/>
                      </a:lnTo>
                      <a:lnTo>
                        <a:pt x="42" y="232"/>
                      </a:lnTo>
                      <a:lnTo>
                        <a:pt x="15" y="314"/>
                      </a:lnTo>
                      <a:lnTo>
                        <a:pt x="1" y="395"/>
                      </a:lnTo>
                      <a:lnTo>
                        <a:pt x="1" y="491"/>
                      </a:lnTo>
                      <a:lnTo>
                        <a:pt x="1" y="572"/>
                      </a:lnTo>
                      <a:lnTo>
                        <a:pt x="15" y="640"/>
                      </a:lnTo>
                      <a:lnTo>
                        <a:pt x="42" y="708"/>
                      </a:lnTo>
                      <a:lnTo>
                        <a:pt x="69" y="763"/>
                      </a:lnTo>
                      <a:lnTo>
                        <a:pt x="110" y="803"/>
                      </a:lnTo>
                      <a:lnTo>
                        <a:pt x="151" y="831"/>
                      </a:lnTo>
                      <a:lnTo>
                        <a:pt x="191" y="844"/>
                      </a:lnTo>
                      <a:lnTo>
                        <a:pt x="246" y="844"/>
                      </a:lnTo>
                      <a:lnTo>
                        <a:pt x="287" y="831"/>
                      </a:lnTo>
                      <a:lnTo>
                        <a:pt x="327" y="790"/>
                      </a:lnTo>
                      <a:lnTo>
                        <a:pt x="368" y="749"/>
                      </a:lnTo>
                      <a:lnTo>
                        <a:pt x="409" y="681"/>
                      </a:lnTo>
                      <a:lnTo>
                        <a:pt x="436" y="613"/>
                      </a:lnTo>
                      <a:lnTo>
                        <a:pt x="463" y="531"/>
                      </a:lnTo>
                      <a:lnTo>
                        <a:pt x="477" y="450"/>
                      </a:lnTo>
                      <a:lnTo>
                        <a:pt x="477" y="368"/>
                      </a:lnTo>
                      <a:lnTo>
                        <a:pt x="477" y="287"/>
                      </a:lnTo>
                      <a:lnTo>
                        <a:pt x="463" y="205"/>
                      </a:lnTo>
                      <a:lnTo>
                        <a:pt x="436" y="151"/>
                      </a:lnTo>
                      <a:lnTo>
                        <a:pt x="409" y="83"/>
                      </a:lnTo>
                      <a:lnTo>
                        <a:pt x="368" y="42"/>
                      </a:lnTo>
                      <a:lnTo>
                        <a:pt x="327" y="15"/>
                      </a:lnTo>
                      <a:lnTo>
                        <a:pt x="287" y="1"/>
                      </a:lnTo>
                      <a:close/>
                    </a:path>
                  </a:pathLst>
                </a:custGeom>
                <a:solidFill>
                  <a:srgbClr val="0020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358;p30"/>
                <p:cNvSpPr/>
                <p:nvPr/>
              </p:nvSpPr>
              <p:spPr>
                <a:xfrm>
                  <a:off x="8025818" y="1402815"/>
                  <a:ext cx="36166" cy="56462"/>
                </a:xfrm>
                <a:custGeom>
                  <a:avLst/>
                  <a:gdLst/>
                  <a:ahLst/>
                  <a:cxnLst/>
                  <a:rect l="l" t="t" r="r" b="b"/>
                  <a:pathLst>
                    <a:path w="1185" h="1850" extrusionOk="0">
                      <a:moveTo>
                        <a:pt x="1062" y="0"/>
                      </a:moveTo>
                      <a:lnTo>
                        <a:pt x="1007" y="14"/>
                      </a:lnTo>
                      <a:lnTo>
                        <a:pt x="967" y="27"/>
                      </a:lnTo>
                      <a:lnTo>
                        <a:pt x="817" y="150"/>
                      </a:lnTo>
                      <a:lnTo>
                        <a:pt x="681" y="286"/>
                      </a:lnTo>
                      <a:lnTo>
                        <a:pt x="531" y="463"/>
                      </a:lnTo>
                      <a:lnTo>
                        <a:pt x="368" y="694"/>
                      </a:lnTo>
                      <a:lnTo>
                        <a:pt x="286" y="830"/>
                      </a:lnTo>
                      <a:lnTo>
                        <a:pt x="205" y="979"/>
                      </a:lnTo>
                      <a:lnTo>
                        <a:pt x="137" y="1143"/>
                      </a:lnTo>
                      <a:lnTo>
                        <a:pt x="82" y="1306"/>
                      </a:lnTo>
                      <a:lnTo>
                        <a:pt x="28" y="1496"/>
                      </a:lnTo>
                      <a:lnTo>
                        <a:pt x="1" y="1687"/>
                      </a:lnTo>
                      <a:lnTo>
                        <a:pt x="1" y="1741"/>
                      </a:lnTo>
                      <a:lnTo>
                        <a:pt x="14" y="1796"/>
                      </a:lnTo>
                      <a:lnTo>
                        <a:pt x="55" y="1823"/>
                      </a:lnTo>
                      <a:lnTo>
                        <a:pt x="110" y="1850"/>
                      </a:lnTo>
                      <a:lnTo>
                        <a:pt x="137" y="1850"/>
                      </a:lnTo>
                      <a:lnTo>
                        <a:pt x="191" y="1836"/>
                      </a:lnTo>
                      <a:lnTo>
                        <a:pt x="232" y="1809"/>
                      </a:lnTo>
                      <a:lnTo>
                        <a:pt x="259" y="1768"/>
                      </a:lnTo>
                      <a:lnTo>
                        <a:pt x="273" y="1728"/>
                      </a:lnTo>
                      <a:lnTo>
                        <a:pt x="314" y="1551"/>
                      </a:lnTo>
                      <a:lnTo>
                        <a:pt x="354" y="1387"/>
                      </a:lnTo>
                      <a:lnTo>
                        <a:pt x="409" y="1238"/>
                      </a:lnTo>
                      <a:lnTo>
                        <a:pt x="463" y="1102"/>
                      </a:lnTo>
                      <a:lnTo>
                        <a:pt x="531" y="966"/>
                      </a:lnTo>
                      <a:lnTo>
                        <a:pt x="599" y="843"/>
                      </a:lnTo>
                      <a:lnTo>
                        <a:pt x="749" y="639"/>
                      </a:lnTo>
                      <a:lnTo>
                        <a:pt x="885" y="476"/>
                      </a:lnTo>
                      <a:lnTo>
                        <a:pt x="1007" y="354"/>
                      </a:lnTo>
                      <a:lnTo>
                        <a:pt x="1130" y="258"/>
                      </a:lnTo>
                      <a:lnTo>
                        <a:pt x="1171" y="218"/>
                      </a:lnTo>
                      <a:lnTo>
                        <a:pt x="1184" y="163"/>
                      </a:lnTo>
                      <a:lnTo>
                        <a:pt x="1184" y="109"/>
                      </a:lnTo>
                      <a:lnTo>
                        <a:pt x="1157" y="68"/>
                      </a:lnTo>
                      <a:lnTo>
                        <a:pt x="1116" y="27"/>
                      </a:lnTo>
                      <a:lnTo>
                        <a:pt x="1062" y="0"/>
                      </a:lnTo>
                      <a:close/>
                    </a:path>
                  </a:pathLst>
                </a:custGeom>
                <a:solidFill>
                  <a:srgbClr val="FD96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359;p30"/>
                <p:cNvSpPr/>
                <p:nvPr/>
              </p:nvSpPr>
              <p:spPr>
                <a:xfrm>
                  <a:off x="8034974" y="1423966"/>
                  <a:ext cx="31985" cy="13337"/>
                </a:xfrm>
                <a:custGeom>
                  <a:avLst/>
                  <a:gdLst/>
                  <a:ahLst/>
                  <a:cxnLst/>
                  <a:rect l="l" t="t" r="r" b="b"/>
                  <a:pathLst>
                    <a:path w="1048" h="437" extrusionOk="0">
                      <a:moveTo>
                        <a:pt x="258" y="1"/>
                      </a:moveTo>
                      <a:lnTo>
                        <a:pt x="109" y="14"/>
                      </a:lnTo>
                      <a:lnTo>
                        <a:pt x="54" y="28"/>
                      </a:lnTo>
                      <a:lnTo>
                        <a:pt x="27" y="69"/>
                      </a:lnTo>
                      <a:lnTo>
                        <a:pt x="0" y="123"/>
                      </a:lnTo>
                      <a:lnTo>
                        <a:pt x="0" y="178"/>
                      </a:lnTo>
                      <a:lnTo>
                        <a:pt x="27" y="232"/>
                      </a:lnTo>
                      <a:lnTo>
                        <a:pt x="68" y="273"/>
                      </a:lnTo>
                      <a:lnTo>
                        <a:pt x="109" y="286"/>
                      </a:lnTo>
                      <a:lnTo>
                        <a:pt x="177" y="286"/>
                      </a:lnTo>
                      <a:lnTo>
                        <a:pt x="258" y="273"/>
                      </a:lnTo>
                      <a:lnTo>
                        <a:pt x="354" y="286"/>
                      </a:lnTo>
                      <a:lnTo>
                        <a:pt x="449" y="300"/>
                      </a:lnTo>
                      <a:lnTo>
                        <a:pt x="544" y="314"/>
                      </a:lnTo>
                      <a:lnTo>
                        <a:pt x="721" y="368"/>
                      </a:lnTo>
                      <a:lnTo>
                        <a:pt x="843" y="422"/>
                      </a:lnTo>
                      <a:lnTo>
                        <a:pt x="871" y="436"/>
                      </a:lnTo>
                      <a:lnTo>
                        <a:pt x="911" y="436"/>
                      </a:lnTo>
                      <a:lnTo>
                        <a:pt x="952" y="422"/>
                      </a:lnTo>
                      <a:lnTo>
                        <a:pt x="979" y="409"/>
                      </a:lnTo>
                      <a:lnTo>
                        <a:pt x="1007" y="382"/>
                      </a:lnTo>
                      <a:lnTo>
                        <a:pt x="1034" y="354"/>
                      </a:lnTo>
                      <a:lnTo>
                        <a:pt x="1047" y="300"/>
                      </a:lnTo>
                      <a:lnTo>
                        <a:pt x="1034" y="246"/>
                      </a:lnTo>
                      <a:lnTo>
                        <a:pt x="1007" y="205"/>
                      </a:lnTo>
                      <a:lnTo>
                        <a:pt x="966" y="164"/>
                      </a:lnTo>
                      <a:lnTo>
                        <a:pt x="871" y="123"/>
                      </a:lnTo>
                      <a:lnTo>
                        <a:pt x="667" y="55"/>
                      </a:lnTo>
                      <a:lnTo>
                        <a:pt x="544" y="28"/>
                      </a:lnTo>
                      <a:lnTo>
                        <a:pt x="394" y="1"/>
                      </a:lnTo>
                      <a:close/>
                    </a:path>
                  </a:pathLst>
                </a:custGeom>
                <a:solidFill>
                  <a:srgbClr val="FD96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360;p30"/>
                <p:cNvSpPr/>
                <p:nvPr/>
              </p:nvSpPr>
              <p:spPr>
                <a:xfrm>
                  <a:off x="7878038" y="1195214"/>
                  <a:ext cx="420169" cy="418521"/>
                </a:xfrm>
                <a:custGeom>
                  <a:avLst/>
                  <a:gdLst/>
                  <a:ahLst/>
                  <a:cxnLst/>
                  <a:rect l="l" t="t" r="r" b="b"/>
                  <a:pathLst>
                    <a:path w="13767" h="13713" extrusionOk="0">
                      <a:moveTo>
                        <a:pt x="7726" y="1"/>
                      </a:moveTo>
                      <a:lnTo>
                        <a:pt x="7223" y="14"/>
                      </a:lnTo>
                      <a:lnTo>
                        <a:pt x="6693" y="69"/>
                      </a:lnTo>
                      <a:lnTo>
                        <a:pt x="6121" y="150"/>
                      </a:lnTo>
                      <a:lnTo>
                        <a:pt x="5523" y="259"/>
                      </a:lnTo>
                      <a:lnTo>
                        <a:pt x="4897" y="422"/>
                      </a:lnTo>
                      <a:lnTo>
                        <a:pt x="4285" y="599"/>
                      </a:lnTo>
                      <a:lnTo>
                        <a:pt x="3727" y="776"/>
                      </a:lnTo>
                      <a:lnTo>
                        <a:pt x="3210" y="967"/>
                      </a:lnTo>
                      <a:lnTo>
                        <a:pt x="2762" y="1157"/>
                      </a:lnTo>
                      <a:lnTo>
                        <a:pt x="2340" y="1347"/>
                      </a:lnTo>
                      <a:lnTo>
                        <a:pt x="1973" y="1538"/>
                      </a:lnTo>
                      <a:lnTo>
                        <a:pt x="1646" y="1728"/>
                      </a:lnTo>
                      <a:lnTo>
                        <a:pt x="1360" y="1919"/>
                      </a:lnTo>
                      <a:lnTo>
                        <a:pt x="1102" y="2109"/>
                      </a:lnTo>
                      <a:lnTo>
                        <a:pt x="884" y="2300"/>
                      </a:lnTo>
                      <a:lnTo>
                        <a:pt x="708" y="2490"/>
                      </a:lnTo>
                      <a:lnTo>
                        <a:pt x="544" y="2680"/>
                      </a:lnTo>
                      <a:lnTo>
                        <a:pt x="422" y="2871"/>
                      </a:lnTo>
                      <a:lnTo>
                        <a:pt x="313" y="3048"/>
                      </a:lnTo>
                      <a:lnTo>
                        <a:pt x="231" y="3238"/>
                      </a:lnTo>
                      <a:lnTo>
                        <a:pt x="163" y="3415"/>
                      </a:lnTo>
                      <a:lnTo>
                        <a:pt x="82" y="3701"/>
                      </a:lnTo>
                      <a:lnTo>
                        <a:pt x="27" y="3973"/>
                      </a:lnTo>
                      <a:lnTo>
                        <a:pt x="0" y="4218"/>
                      </a:lnTo>
                      <a:lnTo>
                        <a:pt x="0" y="4435"/>
                      </a:lnTo>
                      <a:lnTo>
                        <a:pt x="14" y="4626"/>
                      </a:lnTo>
                      <a:lnTo>
                        <a:pt x="68" y="4789"/>
                      </a:lnTo>
                      <a:lnTo>
                        <a:pt x="136" y="4925"/>
                      </a:lnTo>
                      <a:lnTo>
                        <a:pt x="177" y="4993"/>
                      </a:lnTo>
                      <a:lnTo>
                        <a:pt x="218" y="5047"/>
                      </a:lnTo>
                      <a:lnTo>
                        <a:pt x="381" y="5197"/>
                      </a:lnTo>
                      <a:lnTo>
                        <a:pt x="558" y="5347"/>
                      </a:lnTo>
                      <a:lnTo>
                        <a:pt x="762" y="5510"/>
                      </a:lnTo>
                      <a:lnTo>
                        <a:pt x="980" y="5659"/>
                      </a:lnTo>
                      <a:lnTo>
                        <a:pt x="1197" y="5823"/>
                      </a:lnTo>
                      <a:lnTo>
                        <a:pt x="1442" y="5972"/>
                      </a:lnTo>
                      <a:lnTo>
                        <a:pt x="1701" y="6122"/>
                      </a:lnTo>
                      <a:lnTo>
                        <a:pt x="1959" y="6258"/>
                      </a:lnTo>
                      <a:lnTo>
                        <a:pt x="2231" y="6380"/>
                      </a:lnTo>
                      <a:lnTo>
                        <a:pt x="2503" y="6503"/>
                      </a:lnTo>
                      <a:lnTo>
                        <a:pt x="2775" y="6612"/>
                      </a:lnTo>
                      <a:lnTo>
                        <a:pt x="3061" y="6693"/>
                      </a:lnTo>
                      <a:lnTo>
                        <a:pt x="3346" y="6761"/>
                      </a:lnTo>
                      <a:lnTo>
                        <a:pt x="3619" y="6816"/>
                      </a:lnTo>
                      <a:lnTo>
                        <a:pt x="3904" y="6856"/>
                      </a:lnTo>
                      <a:lnTo>
                        <a:pt x="4176" y="6870"/>
                      </a:lnTo>
                      <a:lnTo>
                        <a:pt x="4231" y="6788"/>
                      </a:lnTo>
                      <a:lnTo>
                        <a:pt x="4367" y="6612"/>
                      </a:lnTo>
                      <a:lnTo>
                        <a:pt x="4475" y="6489"/>
                      </a:lnTo>
                      <a:lnTo>
                        <a:pt x="4598" y="6367"/>
                      </a:lnTo>
                      <a:lnTo>
                        <a:pt x="4734" y="6244"/>
                      </a:lnTo>
                      <a:lnTo>
                        <a:pt x="4897" y="6122"/>
                      </a:lnTo>
                      <a:lnTo>
                        <a:pt x="5074" y="6013"/>
                      </a:lnTo>
                      <a:lnTo>
                        <a:pt x="5264" y="5931"/>
                      </a:lnTo>
                      <a:lnTo>
                        <a:pt x="5373" y="5904"/>
                      </a:lnTo>
                      <a:lnTo>
                        <a:pt x="5482" y="5877"/>
                      </a:lnTo>
                      <a:lnTo>
                        <a:pt x="5591" y="5863"/>
                      </a:lnTo>
                      <a:lnTo>
                        <a:pt x="5700" y="5850"/>
                      </a:lnTo>
                      <a:lnTo>
                        <a:pt x="5809" y="5850"/>
                      </a:lnTo>
                      <a:lnTo>
                        <a:pt x="5931" y="5863"/>
                      </a:lnTo>
                      <a:lnTo>
                        <a:pt x="6053" y="5891"/>
                      </a:lnTo>
                      <a:lnTo>
                        <a:pt x="6176" y="5931"/>
                      </a:lnTo>
                      <a:lnTo>
                        <a:pt x="6298" y="5972"/>
                      </a:lnTo>
                      <a:lnTo>
                        <a:pt x="6434" y="6040"/>
                      </a:lnTo>
                      <a:lnTo>
                        <a:pt x="6557" y="6122"/>
                      </a:lnTo>
                      <a:lnTo>
                        <a:pt x="6693" y="6217"/>
                      </a:lnTo>
                      <a:lnTo>
                        <a:pt x="6815" y="6326"/>
                      </a:lnTo>
                      <a:lnTo>
                        <a:pt x="6924" y="6435"/>
                      </a:lnTo>
                      <a:lnTo>
                        <a:pt x="7019" y="6557"/>
                      </a:lnTo>
                      <a:lnTo>
                        <a:pt x="7087" y="6693"/>
                      </a:lnTo>
                      <a:lnTo>
                        <a:pt x="7142" y="6829"/>
                      </a:lnTo>
                      <a:lnTo>
                        <a:pt x="7182" y="6965"/>
                      </a:lnTo>
                      <a:lnTo>
                        <a:pt x="7196" y="7115"/>
                      </a:lnTo>
                      <a:lnTo>
                        <a:pt x="7210" y="7265"/>
                      </a:lnTo>
                      <a:lnTo>
                        <a:pt x="7196" y="7401"/>
                      </a:lnTo>
                      <a:lnTo>
                        <a:pt x="7182" y="7564"/>
                      </a:lnTo>
                      <a:lnTo>
                        <a:pt x="7155" y="7713"/>
                      </a:lnTo>
                      <a:lnTo>
                        <a:pt x="7101" y="7863"/>
                      </a:lnTo>
                      <a:lnTo>
                        <a:pt x="7046" y="8013"/>
                      </a:lnTo>
                      <a:lnTo>
                        <a:pt x="6992" y="8162"/>
                      </a:lnTo>
                      <a:lnTo>
                        <a:pt x="6910" y="8298"/>
                      </a:lnTo>
                      <a:lnTo>
                        <a:pt x="6829" y="8448"/>
                      </a:lnTo>
                      <a:lnTo>
                        <a:pt x="6734" y="8584"/>
                      </a:lnTo>
                      <a:lnTo>
                        <a:pt x="6638" y="8720"/>
                      </a:lnTo>
                      <a:lnTo>
                        <a:pt x="6529" y="8842"/>
                      </a:lnTo>
                      <a:lnTo>
                        <a:pt x="6407" y="8965"/>
                      </a:lnTo>
                      <a:lnTo>
                        <a:pt x="6285" y="9074"/>
                      </a:lnTo>
                      <a:lnTo>
                        <a:pt x="6162" y="9182"/>
                      </a:lnTo>
                      <a:lnTo>
                        <a:pt x="6026" y="9278"/>
                      </a:lnTo>
                      <a:lnTo>
                        <a:pt x="5890" y="9359"/>
                      </a:lnTo>
                      <a:lnTo>
                        <a:pt x="5754" y="9427"/>
                      </a:lnTo>
                      <a:lnTo>
                        <a:pt x="5604" y="9495"/>
                      </a:lnTo>
                      <a:lnTo>
                        <a:pt x="5468" y="9550"/>
                      </a:lnTo>
                      <a:lnTo>
                        <a:pt x="5319" y="9577"/>
                      </a:lnTo>
                      <a:lnTo>
                        <a:pt x="5169" y="9604"/>
                      </a:lnTo>
                      <a:lnTo>
                        <a:pt x="5033" y="9618"/>
                      </a:lnTo>
                      <a:lnTo>
                        <a:pt x="4884" y="9604"/>
                      </a:lnTo>
                      <a:lnTo>
                        <a:pt x="4734" y="9577"/>
                      </a:lnTo>
                      <a:lnTo>
                        <a:pt x="4720" y="9659"/>
                      </a:lnTo>
                      <a:lnTo>
                        <a:pt x="4680" y="9890"/>
                      </a:lnTo>
                      <a:lnTo>
                        <a:pt x="4652" y="10053"/>
                      </a:lnTo>
                      <a:lnTo>
                        <a:pt x="4639" y="10243"/>
                      </a:lnTo>
                      <a:lnTo>
                        <a:pt x="4639" y="10448"/>
                      </a:lnTo>
                      <a:lnTo>
                        <a:pt x="4652" y="10692"/>
                      </a:lnTo>
                      <a:lnTo>
                        <a:pt x="4666" y="10937"/>
                      </a:lnTo>
                      <a:lnTo>
                        <a:pt x="4707" y="11209"/>
                      </a:lnTo>
                      <a:lnTo>
                        <a:pt x="4775" y="11481"/>
                      </a:lnTo>
                      <a:lnTo>
                        <a:pt x="4870" y="11767"/>
                      </a:lnTo>
                      <a:lnTo>
                        <a:pt x="4992" y="12053"/>
                      </a:lnTo>
                      <a:lnTo>
                        <a:pt x="5142" y="12352"/>
                      </a:lnTo>
                      <a:lnTo>
                        <a:pt x="5237" y="12488"/>
                      </a:lnTo>
                      <a:lnTo>
                        <a:pt x="5346" y="12638"/>
                      </a:lnTo>
                      <a:lnTo>
                        <a:pt x="5455" y="12787"/>
                      </a:lnTo>
                      <a:lnTo>
                        <a:pt x="5577" y="12923"/>
                      </a:lnTo>
                      <a:lnTo>
                        <a:pt x="5917" y="13086"/>
                      </a:lnTo>
                      <a:lnTo>
                        <a:pt x="6257" y="13236"/>
                      </a:lnTo>
                      <a:lnTo>
                        <a:pt x="6611" y="13358"/>
                      </a:lnTo>
                      <a:lnTo>
                        <a:pt x="6951" y="13454"/>
                      </a:lnTo>
                      <a:lnTo>
                        <a:pt x="7305" y="13535"/>
                      </a:lnTo>
                      <a:lnTo>
                        <a:pt x="7658" y="13603"/>
                      </a:lnTo>
                      <a:lnTo>
                        <a:pt x="8012" y="13658"/>
                      </a:lnTo>
                      <a:lnTo>
                        <a:pt x="8352" y="13685"/>
                      </a:lnTo>
                      <a:lnTo>
                        <a:pt x="8706" y="13699"/>
                      </a:lnTo>
                      <a:lnTo>
                        <a:pt x="9046" y="13712"/>
                      </a:lnTo>
                      <a:lnTo>
                        <a:pt x="9386" y="13699"/>
                      </a:lnTo>
                      <a:lnTo>
                        <a:pt x="9712" y="13685"/>
                      </a:lnTo>
                      <a:lnTo>
                        <a:pt x="10039" y="13658"/>
                      </a:lnTo>
                      <a:lnTo>
                        <a:pt x="10352" y="13617"/>
                      </a:lnTo>
                      <a:lnTo>
                        <a:pt x="10665" y="13576"/>
                      </a:lnTo>
                      <a:lnTo>
                        <a:pt x="10964" y="13522"/>
                      </a:lnTo>
                      <a:lnTo>
                        <a:pt x="11522" y="13413"/>
                      </a:lnTo>
                      <a:lnTo>
                        <a:pt x="12039" y="13277"/>
                      </a:lnTo>
                      <a:lnTo>
                        <a:pt x="12487" y="13141"/>
                      </a:lnTo>
                      <a:lnTo>
                        <a:pt x="12882" y="13018"/>
                      </a:lnTo>
                      <a:lnTo>
                        <a:pt x="13195" y="12896"/>
                      </a:lnTo>
                      <a:lnTo>
                        <a:pt x="13440" y="12801"/>
                      </a:lnTo>
                      <a:lnTo>
                        <a:pt x="13630" y="12719"/>
                      </a:lnTo>
                      <a:lnTo>
                        <a:pt x="13698" y="12189"/>
                      </a:lnTo>
                      <a:lnTo>
                        <a:pt x="13739" y="11658"/>
                      </a:lnTo>
                      <a:lnTo>
                        <a:pt x="13752" y="11141"/>
                      </a:lnTo>
                      <a:lnTo>
                        <a:pt x="13766" y="10638"/>
                      </a:lnTo>
                      <a:lnTo>
                        <a:pt x="13752" y="10148"/>
                      </a:lnTo>
                      <a:lnTo>
                        <a:pt x="13739" y="9672"/>
                      </a:lnTo>
                      <a:lnTo>
                        <a:pt x="13698" y="9237"/>
                      </a:lnTo>
                      <a:lnTo>
                        <a:pt x="13671" y="8815"/>
                      </a:lnTo>
                      <a:lnTo>
                        <a:pt x="13589" y="8094"/>
                      </a:lnTo>
                      <a:lnTo>
                        <a:pt x="13494" y="7523"/>
                      </a:lnTo>
                      <a:lnTo>
                        <a:pt x="13426" y="7128"/>
                      </a:lnTo>
                      <a:lnTo>
                        <a:pt x="13399" y="6965"/>
                      </a:lnTo>
                      <a:lnTo>
                        <a:pt x="13317" y="6285"/>
                      </a:lnTo>
                      <a:lnTo>
                        <a:pt x="13208" y="5591"/>
                      </a:lnTo>
                      <a:lnTo>
                        <a:pt x="13140" y="5251"/>
                      </a:lnTo>
                      <a:lnTo>
                        <a:pt x="13059" y="4898"/>
                      </a:lnTo>
                      <a:lnTo>
                        <a:pt x="12977" y="4544"/>
                      </a:lnTo>
                      <a:lnTo>
                        <a:pt x="12868" y="4190"/>
                      </a:lnTo>
                      <a:lnTo>
                        <a:pt x="12759" y="3850"/>
                      </a:lnTo>
                      <a:lnTo>
                        <a:pt x="12637" y="3510"/>
                      </a:lnTo>
                      <a:lnTo>
                        <a:pt x="12501" y="3170"/>
                      </a:lnTo>
                      <a:lnTo>
                        <a:pt x="12351" y="2857"/>
                      </a:lnTo>
                      <a:lnTo>
                        <a:pt x="12188" y="2531"/>
                      </a:lnTo>
                      <a:lnTo>
                        <a:pt x="11998" y="2232"/>
                      </a:lnTo>
                      <a:lnTo>
                        <a:pt x="11807" y="1946"/>
                      </a:lnTo>
                      <a:lnTo>
                        <a:pt x="11576" y="1660"/>
                      </a:lnTo>
                      <a:lnTo>
                        <a:pt x="11345" y="1402"/>
                      </a:lnTo>
                      <a:lnTo>
                        <a:pt x="11086" y="1157"/>
                      </a:lnTo>
                      <a:lnTo>
                        <a:pt x="10814" y="939"/>
                      </a:lnTo>
                      <a:lnTo>
                        <a:pt x="10501" y="735"/>
                      </a:lnTo>
                      <a:lnTo>
                        <a:pt x="10189" y="558"/>
                      </a:lnTo>
                      <a:lnTo>
                        <a:pt x="9835" y="395"/>
                      </a:lnTo>
                      <a:lnTo>
                        <a:pt x="9658" y="327"/>
                      </a:lnTo>
                      <a:lnTo>
                        <a:pt x="9468" y="259"/>
                      </a:lnTo>
                      <a:lnTo>
                        <a:pt x="9277" y="205"/>
                      </a:lnTo>
                      <a:lnTo>
                        <a:pt x="9073" y="150"/>
                      </a:lnTo>
                      <a:lnTo>
                        <a:pt x="8869" y="110"/>
                      </a:lnTo>
                      <a:lnTo>
                        <a:pt x="8651" y="69"/>
                      </a:lnTo>
                      <a:lnTo>
                        <a:pt x="8434" y="42"/>
                      </a:lnTo>
                      <a:lnTo>
                        <a:pt x="8203" y="28"/>
                      </a:lnTo>
                      <a:lnTo>
                        <a:pt x="7971" y="14"/>
                      </a:lnTo>
                      <a:lnTo>
                        <a:pt x="7726"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361;p30"/>
                <p:cNvSpPr/>
                <p:nvPr/>
              </p:nvSpPr>
              <p:spPr>
                <a:xfrm>
                  <a:off x="8019195" y="1470876"/>
                  <a:ext cx="27834" cy="27437"/>
                </a:xfrm>
                <a:custGeom>
                  <a:avLst/>
                  <a:gdLst/>
                  <a:ahLst/>
                  <a:cxnLst/>
                  <a:rect l="l" t="t" r="r" b="b"/>
                  <a:pathLst>
                    <a:path w="912" h="899" extrusionOk="0">
                      <a:moveTo>
                        <a:pt x="367" y="1"/>
                      </a:moveTo>
                      <a:lnTo>
                        <a:pt x="272" y="28"/>
                      </a:lnTo>
                      <a:lnTo>
                        <a:pt x="204" y="69"/>
                      </a:lnTo>
                      <a:lnTo>
                        <a:pt x="136" y="123"/>
                      </a:lnTo>
                      <a:lnTo>
                        <a:pt x="82" y="191"/>
                      </a:lnTo>
                      <a:lnTo>
                        <a:pt x="41" y="273"/>
                      </a:lnTo>
                      <a:lnTo>
                        <a:pt x="14" y="355"/>
                      </a:lnTo>
                      <a:lnTo>
                        <a:pt x="0" y="450"/>
                      </a:lnTo>
                      <a:lnTo>
                        <a:pt x="14" y="545"/>
                      </a:lnTo>
                      <a:lnTo>
                        <a:pt x="41" y="627"/>
                      </a:lnTo>
                      <a:lnTo>
                        <a:pt x="82" y="708"/>
                      </a:lnTo>
                      <a:lnTo>
                        <a:pt x="136" y="776"/>
                      </a:lnTo>
                      <a:lnTo>
                        <a:pt x="204" y="831"/>
                      </a:lnTo>
                      <a:lnTo>
                        <a:pt x="272" y="871"/>
                      </a:lnTo>
                      <a:lnTo>
                        <a:pt x="367" y="899"/>
                      </a:lnTo>
                      <a:lnTo>
                        <a:pt x="544" y="899"/>
                      </a:lnTo>
                      <a:lnTo>
                        <a:pt x="626" y="871"/>
                      </a:lnTo>
                      <a:lnTo>
                        <a:pt x="707" y="831"/>
                      </a:lnTo>
                      <a:lnTo>
                        <a:pt x="775" y="776"/>
                      </a:lnTo>
                      <a:lnTo>
                        <a:pt x="830" y="708"/>
                      </a:lnTo>
                      <a:lnTo>
                        <a:pt x="871" y="627"/>
                      </a:lnTo>
                      <a:lnTo>
                        <a:pt x="898" y="545"/>
                      </a:lnTo>
                      <a:lnTo>
                        <a:pt x="911" y="450"/>
                      </a:lnTo>
                      <a:lnTo>
                        <a:pt x="898" y="355"/>
                      </a:lnTo>
                      <a:lnTo>
                        <a:pt x="871" y="273"/>
                      </a:lnTo>
                      <a:lnTo>
                        <a:pt x="830" y="191"/>
                      </a:lnTo>
                      <a:lnTo>
                        <a:pt x="775" y="123"/>
                      </a:lnTo>
                      <a:lnTo>
                        <a:pt x="707" y="69"/>
                      </a:lnTo>
                      <a:lnTo>
                        <a:pt x="626" y="28"/>
                      </a:lnTo>
                      <a:lnTo>
                        <a:pt x="54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362;p30"/>
                <p:cNvSpPr/>
                <p:nvPr/>
              </p:nvSpPr>
              <p:spPr>
                <a:xfrm>
                  <a:off x="7661312" y="1715834"/>
                  <a:ext cx="823704" cy="814121"/>
                </a:xfrm>
                <a:custGeom>
                  <a:avLst/>
                  <a:gdLst/>
                  <a:ahLst/>
                  <a:cxnLst/>
                  <a:rect l="l" t="t" r="r" b="b"/>
                  <a:pathLst>
                    <a:path w="26989" h="26675" extrusionOk="0">
                      <a:moveTo>
                        <a:pt x="21207" y="0"/>
                      </a:moveTo>
                      <a:lnTo>
                        <a:pt x="20881" y="14"/>
                      </a:lnTo>
                      <a:lnTo>
                        <a:pt x="20717" y="41"/>
                      </a:lnTo>
                      <a:lnTo>
                        <a:pt x="20554" y="68"/>
                      </a:lnTo>
                      <a:lnTo>
                        <a:pt x="20391" y="96"/>
                      </a:lnTo>
                      <a:lnTo>
                        <a:pt x="20228" y="136"/>
                      </a:lnTo>
                      <a:lnTo>
                        <a:pt x="20065" y="191"/>
                      </a:lnTo>
                      <a:lnTo>
                        <a:pt x="19901" y="259"/>
                      </a:lnTo>
                      <a:lnTo>
                        <a:pt x="19752" y="327"/>
                      </a:lnTo>
                      <a:lnTo>
                        <a:pt x="19588" y="408"/>
                      </a:lnTo>
                      <a:lnTo>
                        <a:pt x="19452" y="490"/>
                      </a:lnTo>
                      <a:lnTo>
                        <a:pt x="19303" y="572"/>
                      </a:lnTo>
                      <a:lnTo>
                        <a:pt x="19167" y="667"/>
                      </a:lnTo>
                      <a:lnTo>
                        <a:pt x="19044" y="776"/>
                      </a:lnTo>
                      <a:lnTo>
                        <a:pt x="18799" y="993"/>
                      </a:lnTo>
                      <a:lnTo>
                        <a:pt x="18582" y="1238"/>
                      </a:lnTo>
                      <a:lnTo>
                        <a:pt x="18391" y="1497"/>
                      </a:lnTo>
                      <a:lnTo>
                        <a:pt x="18228" y="1769"/>
                      </a:lnTo>
                      <a:lnTo>
                        <a:pt x="18079" y="2068"/>
                      </a:lnTo>
                      <a:lnTo>
                        <a:pt x="17970" y="2367"/>
                      </a:lnTo>
                      <a:lnTo>
                        <a:pt x="17888" y="2680"/>
                      </a:lnTo>
                      <a:lnTo>
                        <a:pt x="17847" y="2993"/>
                      </a:lnTo>
                      <a:lnTo>
                        <a:pt x="17820" y="3319"/>
                      </a:lnTo>
                      <a:lnTo>
                        <a:pt x="17834" y="3646"/>
                      </a:lnTo>
                      <a:lnTo>
                        <a:pt x="17847" y="3809"/>
                      </a:lnTo>
                      <a:lnTo>
                        <a:pt x="17874" y="3972"/>
                      </a:lnTo>
                      <a:lnTo>
                        <a:pt x="17915" y="4149"/>
                      </a:lnTo>
                      <a:lnTo>
                        <a:pt x="17956" y="4312"/>
                      </a:lnTo>
                      <a:lnTo>
                        <a:pt x="18011" y="4462"/>
                      </a:lnTo>
                      <a:lnTo>
                        <a:pt x="18079" y="4625"/>
                      </a:lnTo>
                      <a:lnTo>
                        <a:pt x="18119" y="4734"/>
                      </a:lnTo>
                      <a:lnTo>
                        <a:pt x="18201" y="4938"/>
                      </a:lnTo>
                      <a:lnTo>
                        <a:pt x="18296" y="5196"/>
                      </a:lnTo>
                      <a:lnTo>
                        <a:pt x="18500" y="5727"/>
                      </a:lnTo>
                      <a:lnTo>
                        <a:pt x="18691" y="6271"/>
                      </a:lnTo>
                      <a:lnTo>
                        <a:pt x="18867" y="6815"/>
                      </a:lnTo>
                      <a:lnTo>
                        <a:pt x="19044" y="7373"/>
                      </a:lnTo>
                      <a:lnTo>
                        <a:pt x="19194" y="7944"/>
                      </a:lnTo>
                      <a:lnTo>
                        <a:pt x="19357" y="8502"/>
                      </a:lnTo>
                      <a:lnTo>
                        <a:pt x="19493" y="9073"/>
                      </a:lnTo>
                      <a:lnTo>
                        <a:pt x="19629" y="9631"/>
                      </a:lnTo>
                      <a:lnTo>
                        <a:pt x="19738" y="10202"/>
                      </a:lnTo>
                      <a:lnTo>
                        <a:pt x="19847" y="10774"/>
                      </a:lnTo>
                      <a:lnTo>
                        <a:pt x="19956" y="11331"/>
                      </a:lnTo>
                      <a:lnTo>
                        <a:pt x="20037" y="11903"/>
                      </a:lnTo>
                      <a:lnTo>
                        <a:pt x="20105" y="12474"/>
                      </a:lnTo>
                      <a:lnTo>
                        <a:pt x="20173" y="13032"/>
                      </a:lnTo>
                      <a:lnTo>
                        <a:pt x="20228" y="13603"/>
                      </a:lnTo>
                      <a:lnTo>
                        <a:pt x="20255" y="14161"/>
                      </a:lnTo>
                      <a:lnTo>
                        <a:pt x="20282" y="14718"/>
                      </a:lnTo>
                      <a:lnTo>
                        <a:pt x="20282" y="15262"/>
                      </a:lnTo>
                      <a:lnTo>
                        <a:pt x="20282" y="15820"/>
                      </a:lnTo>
                      <a:lnTo>
                        <a:pt x="20255" y="16364"/>
                      </a:lnTo>
                      <a:lnTo>
                        <a:pt x="20214" y="16895"/>
                      </a:lnTo>
                      <a:lnTo>
                        <a:pt x="20160" y="17425"/>
                      </a:lnTo>
                      <a:lnTo>
                        <a:pt x="20092" y="17956"/>
                      </a:lnTo>
                      <a:lnTo>
                        <a:pt x="19996" y="18432"/>
                      </a:lnTo>
                      <a:lnTo>
                        <a:pt x="19901" y="18908"/>
                      </a:lnTo>
                      <a:lnTo>
                        <a:pt x="19792" y="19384"/>
                      </a:lnTo>
                      <a:lnTo>
                        <a:pt x="19656" y="19833"/>
                      </a:lnTo>
                      <a:lnTo>
                        <a:pt x="19616" y="19942"/>
                      </a:lnTo>
                      <a:lnTo>
                        <a:pt x="19520" y="20268"/>
                      </a:lnTo>
                      <a:lnTo>
                        <a:pt x="19507" y="20268"/>
                      </a:lnTo>
                      <a:lnTo>
                        <a:pt x="16650" y="20663"/>
                      </a:lnTo>
                      <a:lnTo>
                        <a:pt x="14175" y="20975"/>
                      </a:lnTo>
                      <a:lnTo>
                        <a:pt x="11685" y="21288"/>
                      </a:lnTo>
                      <a:lnTo>
                        <a:pt x="9210" y="21601"/>
                      </a:lnTo>
                      <a:lnTo>
                        <a:pt x="6734" y="21887"/>
                      </a:lnTo>
                      <a:lnTo>
                        <a:pt x="4245" y="22159"/>
                      </a:lnTo>
                      <a:lnTo>
                        <a:pt x="1769" y="22404"/>
                      </a:lnTo>
                      <a:lnTo>
                        <a:pt x="1592" y="22431"/>
                      </a:lnTo>
                      <a:lnTo>
                        <a:pt x="1415" y="22472"/>
                      </a:lnTo>
                      <a:lnTo>
                        <a:pt x="1252" y="22526"/>
                      </a:lnTo>
                      <a:lnTo>
                        <a:pt x="1102" y="22594"/>
                      </a:lnTo>
                      <a:lnTo>
                        <a:pt x="953" y="22676"/>
                      </a:lnTo>
                      <a:lnTo>
                        <a:pt x="803" y="22771"/>
                      </a:lnTo>
                      <a:lnTo>
                        <a:pt x="681" y="22880"/>
                      </a:lnTo>
                      <a:lnTo>
                        <a:pt x="558" y="23002"/>
                      </a:lnTo>
                      <a:lnTo>
                        <a:pt x="436" y="23125"/>
                      </a:lnTo>
                      <a:lnTo>
                        <a:pt x="341" y="23261"/>
                      </a:lnTo>
                      <a:lnTo>
                        <a:pt x="245" y="23410"/>
                      </a:lnTo>
                      <a:lnTo>
                        <a:pt x="177" y="23560"/>
                      </a:lnTo>
                      <a:lnTo>
                        <a:pt x="109" y="23723"/>
                      </a:lnTo>
                      <a:lnTo>
                        <a:pt x="69" y="23900"/>
                      </a:lnTo>
                      <a:lnTo>
                        <a:pt x="28" y="24077"/>
                      </a:lnTo>
                      <a:lnTo>
                        <a:pt x="14" y="24254"/>
                      </a:lnTo>
                      <a:lnTo>
                        <a:pt x="1" y="24621"/>
                      </a:lnTo>
                      <a:lnTo>
                        <a:pt x="14" y="24920"/>
                      </a:lnTo>
                      <a:lnTo>
                        <a:pt x="28" y="25151"/>
                      </a:lnTo>
                      <a:lnTo>
                        <a:pt x="55" y="25260"/>
                      </a:lnTo>
                      <a:lnTo>
                        <a:pt x="82" y="25342"/>
                      </a:lnTo>
                      <a:lnTo>
                        <a:pt x="109" y="25410"/>
                      </a:lnTo>
                      <a:lnTo>
                        <a:pt x="150" y="25478"/>
                      </a:lnTo>
                      <a:lnTo>
                        <a:pt x="191" y="25532"/>
                      </a:lnTo>
                      <a:lnTo>
                        <a:pt x="245" y="25573"/>
                      </a:lnTo>
                      <a:lnTo>
                        <a:pt x="314" y="25614"/>
                      </a:lnTo>
                      <a:lnTo>
                        <a:pt x="382" y="25641"/>
                      </a:lnTo>
                      <a:lnTo>
                        <a:pt x="558" y="25682"/>
                      </a:lnTo>
                      <a:lnTo>
                        <a:pt x="1211" y="25723"/>
                      </a:lnTo>
                      <a:lnTo>
                        <a:pt x="1878" y="25764"/>
                      </a:lnTo>
                      <a:lnTo>
                        <a:pt x="3292" y="25886"/>
                      </a:lnTo>
                      <a:lnTo>
                        <a:pt x="4762" y="26022"/>
                      </a:lnTo>
                      <a:lnTo>
                        <a:pt x="6271" y="26158"/>
                      </a:lnTo>
                      <a:lnTo>
                        <a:pt x="7768" y="26308"/>
                      </a:lnTo>
                      <a:lnTo>
                        <a:pt x="9237" y="26430"/>
                      </a:lnTo>
                      <a:lnTo>
                        <a:pt x="9958" y="26484"/>
                      </a:lnTo>
                      <a:lnTo>
                        <a:pt x="10651" y="26525"/>
                      </a:lnTo>
                      <a:lnTo>
                        <a:pt x="11318" y="26552"/>
                      </a:lnTo>
                      <a:lnTo>
                        <a:pt x="11971" y="26566"/>
                      </a:lnTo>
                      <a:lnTo>
                        <a:pt x="14487" y="26607"/>
                      </a:lnTo>
                      <a:lnTo>
                        <a:pt x="17004" y="26648"/>
                      </a:lnTo>
                      <a:lnTo>
                        <a:pt x="19534" y="26661"/>
                      </a:lnTo>
                      <a:lnTo>
                        <a:pt x="22064" y="26675"/>
                      </a:lnTo>
                      <a:lnTo>
                        <a:pt x="22255" y="26675"/>
                      </a:lnTo>
                      <a:lnTo>
                        <a:pt x="22445" y="26648"/>
                      </a:lnTo>
                      <a:lnTo>
                        <a:pt x="22622" y="26620"/>
                      </a:lnTo>
                      <a:lnTo>
                        <a:pt x="22812" y="26580"/>
                      </a:lnTo>
                      <a:lnTo>
                        <a:pt x="22989" y="26525"/>
                      </a:lnTo>
                      <a:lnTo>
                        <a:pt x="23180" y="26457"/>
                      </a:lnTo>
                      <a:lnTo>
                        <a:pt x="23343" y="26376"/>
                      </a:lnTo>
                      <a:lnTo>
                        <a:pt x="23520" y="26294"/>
                      </a:lnTo>
                      <a:lnTo>
                        <a:pt x="23683" y="26185"/>
                      </a:lnTo>
                      <a:lnTo>
                        <a:pt x="23832" y="26076"/>
                      </a:lnTo>
                      <a:lnTo>
                        <a:pt x="23996" y="25954"/>
                      </a:lnTo>
                      <a:lnTo>
                        <a:pt x="24132" y="25832"/>
                      </a:lnTo>
                      <a:lnTo>
                        <a:pt x="24268" y="25682"/>
                      </a:lnTo>
                      <a:lnTo>
                        <a:pt x="24390" y="25532"/>
                      </a:lnTo>
                      <a:lnTo>
                        <a:pt x="24513" y="25369"/>
                      </a:lnTo>
                      <a:lnTo>
                        <a:pt x="24621" y="25192"/>
                      </a:lnTo>
                      <a:lnTo>
                        <a:pt x="24785" y="24907"/>
                      </a:lnTo>
                      <a:lnTo>
                        <a:pt x="24975" y="24553"/>
                      </a:lnTo>
                      <a:lnTo>
                        <a:pt x="25152" y="24186"/>
                      </a:lnTo>
                      <a:lnTo>
                        <a:pt x="25315" y="23832"/>
                      </a:lnTo>
                      <a:lnTo>
                        <a:pt x="25465" y="23465"/>
                      </a:lnTo>
                      <a:lnTo>
                        <a:pt x="25750" y="22730"/>
                      </a:lnTo>
                      <a:lnTo>
                        <a:pt x="25886" y="22349"/>
                      </a:lnTo>
                      <a:lnTo>
                        <a:pt x="26009" y="21982"/>
                      </a:lnTo>
                      <a:lnTo>
                        <a:pt x="26226" y="21234"/>
                      </a:lnTo>
                      <a:lnTo>
                        <a:pt x="26417" y="20486"/>
                      </a:lnTo>
                      <a:lnTo>
                        <a:pt x="26580" y="19738"/>
                      </a:lnTo>
                      <a:lnTo>
                        <a:pt x="26716" y="18989"/>
                      </a:lnTo>
                      <a:lnTo>
                        <a:pt x="26811" y="18241"/>
                      </a:lnTo>
                      <a:lnTo>
                        <a:pt x="26893" y="17493"/>
                      </a:lnTo>
                      <a:lnTo>
                        <a:pt x="26947" y="16745"/>
                      </a:lnTo>
                      <a:lnTo>
                        <a:pt x="26975" y="16011"/>
                      </a:lnTo>
                      <a:lnTo>
                        <a:pt x="26988" y="15276"/>
                      </a:lnTo>
                      <a:lnTo>
                        <a:pt x="26988" y="14541"/>
                      </a:lnTo>
                      <a:lnTo>
                        <a:pt x="26961" y="13820"/>
                      </a:lnTo>
                      <a:lnTo>
                        <a:pt x="26907" y="13100"/>
                      </a:lnTo>
                      <a:lnTo>
                        <a:pt x="26852" y="12379"/>
                      </a:lnTo>
                      <a:lnTo>
                        <a:pt x="26771" y="11671"/>
                      </a:lnTo>
                      <a:lnTo>
                        <a:pt x="26675" y="10964"/>
                      </a:lnTo>
                      <a:lnTo>
                        <a:pt x="26567" y="10257"/>
                      </a:lnTo>
                      <a:lnTo>
                        <a:pt x="26444" y="9563"/>
                      </a:lnTo>
                      <a:lnTo>
                        <a:pt x="26322" y="8869"/>
                      </a:lnTo>
                      <a:lnTo>
                        <a:pt x="26172" y="8175"/>
                      </a:lnTo>
                      <a:lnTo>
                        <a:pt x="26009" y="7495"/>
                      </a:lnTo>
                      <a:lnTo>
                        <a:pt x="25846" y="6815"/>
                      </a:lnTo>
                      <a:lnTo>
                        <a:pt x="25655" y="6135"/>
                      </a:lnTo>
                      <a:lnTo>
                        <a:pt x="25465" y="5469"/>
                      </a:lnTo>
                      <a:lnTo>
                        <a:pt x="25261" y="4802"/>
                      </a:lnTo>
                      <a:lnTo>
                        <a:pt x="25043" y="4135"/>
                      </a:lnTo>
                      <a:lnTo>
                        <a:pt x="24812" y="3469"/>
                      </a:lnTo>
                      <a:lnTo>
                        <a:pt x="24567" y="2789"/>
                      </a:lnTo>
                      <a:lnTo>
                        <a:pt x="24431" y="2449"/>
                      </a:lnTo>
                      <a:lnTo>
                        <a:pt x="24349" y="2272"/>
                      </a:lnTo>
                      <a:lnTo>
                        <a:pt x="24268" y="2054"/>
                      </a:lnTo>
                      <a:lnTo>
                        <a:pt x="24200" y="1905"/>
                      </a:lnTo>
                      <a:lnTo>
                        <a:pt x="24118" y="1755"/>
                      </a:lnTo>
                      <a:lnTo>
                        <a:pt x="24036" y="1605"/>
                      </a:lnTo>
                      <a:lnTo>
                        <a:pt x="23941" y="1469"/>
                      </a:lnTo>
                      <a:lnTo>
                        <a:pt x="23846" y="1333"/>
                      </a:lnTo>
                      <a:lnTo>
                        <a:pt x="23751" y="1211"/>
                      </a:lnTo>
                      <a:lnTo>
                        <a:pt x="23520" y="966"/>
                      </a:lnTo>
                      <a:lnTo>
                        <a:pt x="23288" y="748"/>
                      </a:lnTo>
                      <a:lnTo>
                        <a:pt x="23016" y="558"/>
                      </a:lnTo>
                      <a:lnTo>
                        <a:pt x="22744" y="395"/>
                      </a:lnTo>
                      <a:lnTo>
                        <a:pt x="22459" y="259"/>
                      </a:lnTo>
                      <a:lnTo>
                        <a:pt x="22159" y="150"/>
                      </a:lnTo>
                      <a:lnTo>
                        <a:pt x="21846" y="68"/>
                      </a:lnTo>
                      <a:lnTo>
                        <a:pt x="21534" y="28"/>
                      </a:lnTo>
                      <a:lnTo>
                        <a:pt x="21207"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363;p30"/>
                <p:cNvSpPr/>
                <p:nvPr/>
              </p:nvSpPr>
              <p:spPr>
                <a:xfrm>
                  <a:off x="7435888" y="2282112"/>
                  <a:ext cx="291893" cy="225024"/>
                </a:xfrm>
                <a:custGeom>
                  <a:avLst/>
                  <a:gdLst/>
                  <a:ahLst/>
                  <a:cxnLst/>
                  <a:rect l="l" t="t" r="r" b="b"/>
                  <a:pathLst>
                    <a:path w="9564" h="7373" extrusionOk="0">
                      <a:moveTo>
                        <a:pt x="6081" y="0"/>
                      </a:moveTo>
                      <a:lnTo>
                        <a:pt x="6040" y="41"/>
                      </a:lnTo>
                      <a:lnTo>
                        <a:pt x="6013" y="109"/>
                      </a:lnTo>
                      <a:lnTo>
                        <a:pt x="5999" y="204"/>
                      </a:lnTo>
                      <a:lnTo>
                        <a:pt x="5999" y="313"/>
                      </a:lnTo>
                      <a:lnTo>
                        <a:pt x="6026" y="435"/>
                      </a:lnTo>
                      <a:lnTo>
                        <a:pt x="6081" y="735"/>
                      </a:lnTo>
                      <a:lnTo>
                        <a:pt x="6162" y="1061"/>
                      </a:lnTo>
                      <a:lnTo>
                        <a:pt x="6271" y="1401"/>
                      </a:lnTo>
                      <a:lnTo>
                        <a:pt x="6366" y="1728"/>
                      </a:lnTo>
                      <a:lnTo>
                        <a:pt x="6462" y="1986"/>
                      </a:lnTo>
                      <a:lnTo>
                        <a:pt x="6530" y="2204"/>
                      </a:lnTo>
                      <a:lnTo>
                        <a:pt x="6557" y="2285"/>
                      </a:lnTo>
                      <a:lnTo>
                        <a:pt x="6557" y="2367"/>
                      </a:lnTo>
                      <a:lnTo>
                        <a:pt x="6557" y="2435"/>
                      </a:lnTo>
                      <a:lnTo>
                        <a:pt x="6543" y="2489"/>
                      </a:lnTo>
                      <a:lnTo>
                        <a:pt x="6502" y="2544"/>
                      </a:lnTo>
                      <a:lnTo>
                        <a:pt x="6448" y="2585"/>
                      </a:lnTo>
                      <a:lnTo>
                        <a:pt x="6380" y="2612"/>
                      </a:lnTo>
                      <a:lnTo>
                        <a:pt x="6285" y="2639"/>
                      </a:lnTo>
                      <a:lnTo>
                        <a:pt x="6162" y="2666"/>
                      </a:lnTo>
                      <a:lnTo>
                        <a:pt x="5822" y="2666"/>
                      </a:lnTo>
                      <a:lnTo>
                        <a:pt x="5578" y="2625"/>
                      </a:lnTo>
                      <a:lnTo>
                        <a:pt x="5292" y="2571"/>
                      </a:lnTo>
                      <a:lnTo>
                        <a:pt x="4965" y="2489"/>
                      </a:lnTo>
                      <a:lnTo>
                        <a:pt x="4231" y="2299"/>
                      </a:lnTo>
                      <a:lnTo>
                        <a:pt x="3442" y="2081"/>
                      </a:lnTo>
                      <a:lnTo>
                        <a:pt x="2639" y="1877"/>
                      </a:lnTo>
                      <a:lnTo>
                        <a:pt x="2258" y="1782"/>
                      </a:lnTo>
                      <a:lnTo>
                        <a:pt x="1905" y="1700"/>
                      </a:lnTo>
                      <a:lnTo>
                        <a:pt x="1565" y="1646"/>
                      </a:lnTo>
                      <a:lnTo>
                        <a:pt x="1265" y="1605"/>
                      </a:lnTo>
                      <a:lnTo>
                        <a:pt x="1021" y="1592"/>
                      </a:lnTo>
                      <a:lnTo>
                        <a:pt x="912" y="1605"/>
                      </a:lnTo>
                      <a:lnTo>
                        <a:pt x="817" y="1619"/>
                      </a:lnTo>
                      <a:lnTo>
                        <a:pt x="749" y="1632"/>
                      </a:lnTo>
                      <a:lnTo>
                        <a:pt x="694" y="1673"/>
                      </a:lnTo>
                      <a:lnTo>
                        <a:pt x="681" y="1714"/>
                      </a:lnTo>
                      <a:lnTo>
                        <a:pt x="694" y="1755"/>
                      </a:lnTo>
                      <a:lnTo>
                        <a:pt x="721" y="1809"/>
                      </a:lnTo>
                      <a:lnTo>
                        <a:pt x="776" y="1864"/>
                      </a:lnTo>
                      <a:lnTo>
                        <a:pt x="953" y="2000"/>
                      </a:lnTo>
                      <a:lnTo>
                        <a:pt x="1184" y="2136"/>
                      </a:lnTo>
                      <a:lnTo>
                        <a:pt x="1483" y="2299"/>
                      </a:lnTo>
                      <a:lnTo>
                        <a:pt x="1810" y="2462"/>
                      </a:lnTo>
                      <a:lnTo>
                        <a:pt x="2163" y="2625"/>
                      </a:lnTo>
                      <a:lnTo>
                        <a:pt x="2884" y="2952"/>
                      </a:lnTo>
                      <a:lnTo>
                        <a:pt x="3537" y="3224"/>
                      </a:lnTo>
                      <a:lnTo>
                        <a:pt x="4204" y="3482"/>
                      </a:lnTo>
                      <a:lnTo>
                        <a:pt x="3592" y="3374"/>
                      </a:lnTo>
                      <a:lnTo>
                        <a:pt x="2966" y="3265"/>
                      </a:lnTo>
                      <a:lnTo>
                        <a:pt x="2231" y="3142"/>
                      </a:lnTo>
                      <a:lnTo>
                        <a:pt x="1483" y="3047"/>
                      </a:lnTo>
                      <a:lnTo>
                        <a:pt x="1129" y="3020"/>
                      </a:lnTo>
                      <a:lnTo>
                        <a:pt x="803" y="3006"/>
                      </a:lnTo>
                      <a:lnTo>
                        <a:pt x="531" y="3006"/>
                      </a:lnTo>
                      <a:lnTo>
                        <a:pt x="286" y="3020"/>
                      </a:lnTo>
                      <a:lnTo>
                        <a:pt x="191" y="3047"/>
                      </a:lnTo>
                      <a:lnTo>
                        <a:pt x="123" y="3061"/>
                      </a:lnTo>
                      <a:lnTo>
                        <a:pt x="55" y="3102"/>
                      </a:lnTo>
                      <a:lnTo>
                        <a:pt x="14" y="3142"/>
                      </a:lnTo>
                      <a:lnTo>
                        <a:pt x="0" y="3183"/>
                      </a:lnTo>
                      <a:lnTo>
                        <a:pt x="0" y="3238"/>
                      </a:lnTo>
                      <a:lnTo>
                        <a:pt x="28" y="3306"/>
                      </a:lnTo>
                      <a:lnTo>
                        <a:pt x="68" y="3360"/>
                      </a:lnTo>
                      <a:lnTo>
                        <a:pt x="136" y="3414"/>
                      </a:lnTo>
                      <a:lnTo>
                        <a:pt x="218" y="3482"/>
                      </a:lnTo>
                      <a:lnTo>
                        <a:pt x="436" y="3618"/>
                      </a:lnTo>
                      <a:lnTo>
                        <a:pt x="708" y="3754"/>
                      </a:lnTo>
                      <a:lnTo>
                        <a:pt x="1021" y="3890"/>
                      </a:lnTo>
                      <a:lnTo>
                        <a:pt x="1361" y="4013"/>
                      </a:lnTo>
                      <a:lnTo>
                        <a:pt x="1728" y="4149"/>
                      </a:lnTo>
                      <a:lnTo>
                        <a:pt x="2449" y="4380"/>
                      </a:lnTo>
                      <a:lnTo>
                        <a:pt x="3088" y="4584"/>
                      </a:lnTo>
                      <a:lnTo>
                        <a:pt x="3714" y="4761"/>
                      </a:lnTo>
                      <a:lnTo>
                        <a:pt x="3714" y="4761"/>
                      </a:lnTo>
                      <a:lnTo>
                        <a:pt x="3183" y="4734"/>
                      </a:lnTo>
                      <a:lnTo>
                        <a:pt x="2639" y="4707"/>
                      </a:lnTo>
                      <a:lnTo>
                        <a:pt x="2014" y="4679"/>
                      </a:lnTo>
                      <a:lnTo>
                        <a:pt x="1388" y="4679"/>
                      </a:lnTo>
                      <a:lnTo>
                        <a:pt x="844" y="4693"/>
                      </a:lnTo>
                      <a:lnTo>
                        <a:pt x="626" y="4707"/>
                      </a:lnTo>
                      <a:lnTo>
                        <a:pt x="449" y="4734"/>
                      </a:lnTo>
                      <a:lnTo>
                        <a:pt x="340" y="4761"/>
                      </a:lnTo>
                      <a:lnTo>
                        <a:pt x="300" y="4788"/>
                      </a:lnTo>
                      <a:lnTo>
                        <a:pt x="286" y="4802"/>
                      </a:lnTo>
                      <a:lnTo>
                        <a:pt x="286" y="4856"/>
                      </a:lnTo>
                      <a:lnTo>
                        <a:pt x="313" y="4897"/>
                      </a:lnTo>
                      <a:lnTo>
                        <a:pt x="354" y="4951"/>
                      </a:lnTo>
                      <a:lnTo>
                        <a:pt x="409" y="5006"/>
                      </a:lnTo>
                      <a:lnTo>
                        <a:pt x="558" y="5101"/>
                      </a:lnTo>
                      <a:lnTo>
                        <a:pt x="762" y="5210"/>
                      </a:lnTo>
                      <a:lnTo>
                        <a:pt x="1007" y="5305"/>
                      </a:lnTo>
                      <a:lnTo>
                        <a:pt x="1279" y="5414"/>
                      </a:lnTo>
                      <a:lnTo>
                        <a:pt x="1878" y="5604"/>
                      </a:lnTo>
                      <a:lnTo>
                        <a:pt x="2476" y="5781"/>
                      </a:lnTo>
                      <a:lnTo>
                        <a:pt x="3007" y="5917"/>
                      </a:lnTo>
                      <a:lnTo>
                        <a:pt x="3524" y="6040"/>
                      </a:lnTo>
                      <a:lnTo>
                        <a:pt x="3170" y="6040"/>
                      </a:lnTo>
                      <a:lnTo>
                        <a:pt x="2803" y="6053"/>
                      </a:lnTo>
                      <a:lnTo>
                        <a:pt x="2381" y="6067"/>
                      </a:lnTo>
                      <a:lnTo>
                        <a:pt x="1973" y="6108"/>
                      </a:lnTo>
                      <a:lnTo>
                        <a:pt x="1796" y="6149"/>
                      </a:lnTo>
                      <a:lnTo>
                        <a:pt x="1633" y="6176"/>
                      </a:lnTo>
                      <a:lnTo>
                        <a:pt x="1497" y="6217"/>
                      </a:lnTo>
                      <a:lnTo>
                        <a:pt x="1402" y="6271"/>
                      </a:lnTo>
                      <a:lnTo>
                        <a:pt x="1374" y="6298"/>
                      </a:lnTo>
                      <a:lnTo>
                        <a:pt x="1361" y="6325"/>
                      </a:lnTo>
                      <a:lnTo>
                        <a:pt x="1347" y="6366"/>
                      </a:lnTo>
                      <a:lnTo>
                        <a:pt x="1361" y="6393"/>
                      </a:lnTo>
                      <a:lnTo>
                        <a:pt x="1388" y="6434"/>
                      </a:lnTo>
                      <a:lnTo>
                        <a:pt x="1442" y="6475"/>
                      </a:lnTo>
                      <a:lnTo>
                        <a:pt x="1606" y="6570"/>
                      </a:lnTo>
                      <a:lnTo>
                        <a:pt x="1864" y="6679"/>
                      </a:lnTo>
                      <a:lnTo>
                        <a:pt x="2190" y="6788"/>
                      </a:lnTo>
                      <a:lnTo>
                        <a:pt x="2585" y="6897"/>
                      </a:lnTo>
                      <a:lnTo>
                        <a:pt x="3034" y="6992"/>
                      </a:lnTo>
                      <a:lnTo>
                        <a:pt x="3537" y="7101"/>
                      </a:lnTo>
                      <a:lnTo>
                        <a:pt x="4081" y="7182"/>
                      </a:lnTo>
                      <a:lnTo>
                        <a:pt x="4653" y="7264"/>
                      </a:lnTo>
                      <a:lnTo>
                        <a:pt x="5251" y="7318"/>
                      </a:lnTo>
                      <a:lnTo>
                        <a:pt x="5850" y="7359"/>
                      </a:lnTo>
                      <a:lnTo>
                        <a:pt x="6462" y="7373"/>
                      </a:lnTo>
                      <a:lnTo>
                        <a:pt x="7074" y="7359"/>
                      </a:lnTo>
                      <a:lnTo>
                        <a:pt x="7373" y="7332"/>
                      </a:lnTo>
                      <a:lnTo>
                        <a:pt x="7672" y="7305"/>
                      </a:lnTo>
                      <a:lnTo>
                        <a:pt x="7958" y="7264"/>
                      </a:lnTo>
                      <a:lnTo>
                        <a:pt x="8244" y="7210"/>
                      </a:lnTo>
                      <a:lnTo>
                        <a:pt x="8516" y="7155"/>
                      </a:lnTo>
                      <a:lnTo>
                        <a:pt x="8788" y="7087"/>
                      </a:lnTo>
                      <a:lnTo>
                        <a:pt x="8883" y="7005"/>
                      </a:lnTo>
                      <a:lnTo>
                        <a:pt x="8992" y="6883"/>
                      </a:lnTo>
                      <a:lnTo>
                        <a:pt x="9101" y="6733"/>
                      </a:lnTo>
                      <a:lnTo>
                        <a:pt x="9196" y="6543"/>
                      </a:lnTo>
                      <a:lnTo>
                        <a:pt x="9291" y="6339"/>
                      </a:lnTo>
                      <a:lnTo>
                        <a:pt x="9386" y="6108"/>
                      </a:lnTo>
                      <a:lnTo>
                        <a:pt x="9454" y="5849"/>
                      </a:lnTo>
                      <a:lnTo>
                        <a:pt x="9509" y="5577"/>
                      </a:lnTo>
                      <a:lnTo>
                        <a:pt x="9549" y="5292"/>
                      </a:lnTo>
                      <a:lnTo>
                        <a:pt x="9563" y="5006"/>
                      </a:lnTo>
                      <a:lnTo>
                        <a:pt x="9536" y="4693"/>
                      </a:lnTo>
                      <a:lnTo>
                        <a:pt x="9509" y="4543"/>
                      </a:lnTo>
                      <a:lnTo>
                        <a:pt x="9481" y="4394"/>
                      </a:lnTo>
                      <a:lnTo>
                        <a:pt x="9441" y="4231"/>
                      </a:lnTo>
                      <a:lnTo>
                        <a:pt x="9400" y="4081"/>
                      </a:lnTo>
                      <a:lnTo>
                        <a:pt x="9332" y="3931"/>
                      </a:lnTo>
                      <a:lnTo>
                        <a:pt x="9264" y="3782"/>
                      </a:lnTo>
                      <a:lnTo>
                        <a:pt x="9182" y="3618"/>
                      </a:lnTo>
                      <a:lnTo>
                        <a:pt x="9087" y="3469"/>
                      </a:lnTo>
                      <a:lnTo>
                        <a:pt x="8992" y="3319"/>
                      </a:lnTo>
                      <a:lnTo>
                        <a:pt x="8869" y="3183"/>
                      </a:lnTo>
                      <a:lnTo>
                        <a:pt x="8461" y="2680"/>
                      </a:lnTo>
                      <a:lnTo>
                        <a:pt x="8148" y="2258"/>
                      </a:lnTo>
                      <a:lnTo>
                        <a:pt x="7890" y="1877"/>
                      </a:lnTo>
                      <a:lnTo>
                        <a:pt x="7672" y="1537"/>
                      </a:lnTo>
                      <a:lnTo>
                        <a:pt x="7455" y="1224"/>
                      </a:lnTo>
                      <a:lnTo>
                        <a:pt x="7223" y="925"/>
                      </a:lnTo>
                      <a:lnTo>
                        <a:pt x="7087" y="776"/>
                      </a:lnTo>
                      <a:lnTo>
                        <a:pt x="6951" y="612"/>
                      </a:lnTo>
                      <a:lnTo>
                        <a:pt x="6788" y="449"/>
                      </a:lnTo>
                      <a:lnTo>
                        <a:pt x="6611" y="286"/>
                      </a:lnTo>
                      <a:lnTo>
                        <a:pt x="6462" y="150"/>
                      </a:lnTo>
                      <a:lnTo>
                        <a:pt x="6326" y="68"/>
                      </a:lnTo>
                      <a:lnTo>
                        <a:pt x="6230" y="14"/>
                      </a:lnTo>
                      <a:lnTo>
                        <a:pt x="6149" y="0"/>
                      </a:lnTo>
                      <a:close/>
                    </a:path>
                  </a:pathLst>
                </a:custGeom>
                <a:solidFill>
                  <a:srgbClr val="FDBB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364" name="Google Shape;1364;p30"/>
            <p:cNvSpPr/>
            <p:nvPr/>
          </p:nvSpPr>
          <p:spPr>
            <a:xfrm>
              <a:off x="3924300" y="19241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365;p30"/>
            <p:cNvSpPr/>
            <p:nvPr/>
          </p:nvSpPr>
          <p:spPr>
            <a:xfrm>
              <a:off x="3924300" y="358027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366;p30"/>
            <p:cNvSpPr/>
            <p:nvPr/>
          </p:nvSpPr>
          <p:spPr>
            <a:xfrm>
              <a:off x="5781675" y="30659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30"/>
            <p:cNvSpPr/>
            <p:nvPr/>
          </p:nvSpPr>
          <p:spPr>
            <a:xfrm>
              <a:off x="4714800" y="1038225"/>
              <a:ext cx="162000" cy="1620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368" name="Google Shape;1368;p30"/>
          <p:cNvCxnSpPr>
            <a:stCxn id="1283" idx="6"/>
            <a:endCxn id="1364" idx="0"/>
          </p:cNvCxnSpPr>
          <p:nvPr/>
        </p:nvCxnSpPr>
        <p:spPr>
          <a:xfrm>
            <a:off x="2486100" y="1690725"/>
            <a:ext cx="1519200" cy="233400"/>
          </a:xfrm>
          <a:prstGeom prst="bentConnector2">
            <a:avLst/>
          </a:prstGeom>
          <a:noFill/>
          <a:ln w="9525" cap="flat" cmpd="sng">
            <a:solidFill>
              <a:schemeClr val="dk2"/>
            </a:solidFill>
            <a:prstDash val="solid"/>
            <a:round/>
            <a:headEnd type="none" w="med" len="med"/>
            <a:tailEnd type="oval" w="med" len="med"/>
          </a:ln>
        </p:spPr>
      </p:cxnSp>
      <p:cxnSp>
        <p:nvCxnSpPr>
          <p:cNvPr id="1369" name="Google Shape;1369;p30"/>
          <p:cNvCxnSpPr>
            <a:stCxn id="1284" idx="6"/>
            <a:endCxn id="1365" idx="0"/>
          </p:cNvCxnSpPr>
          <p:nvPr/>
        </p:nvCxnSpPr>
        <p:spPr>
          <a:xfrm>
            <a:off x="2600400" y="3146925"/>
            <a:ext cx="1404900" cy="433500"/>
          </a:xfrm>
          <a:prstGeom prst="bentConnector2">
            <a:avLst/>
          </a:prstGeom>
          <a:noFill/>
          <a:ln w="9525" cap="flat" cmpd="sng">
            <a:solidFill>
              <a:schemeClr val="dk2"/>
            </a:solidFill>
            <a:prstDash val="solid"/>
            <a:round/>
            <a:headEnd type="none" w="med" len="med"/>
            <a:tailEnd type="oval" w="med" len="med"/>
          </a:ln>
        </p:spPr>
      </p:cxnSp>
      <p:cxnSp>
        <p:nvCxnSpPr>
          <p:cNvPr id="1370" name="Google Shape;1370;p30"/>
          <p:cNvCxnSpPr>
            <a:stCxn id="1286" idx="2"/>
            <a:endCxn id="1367" idx="6"/>
          </p:cNvCxnSpPr>
          <p:nvPr/>
        </p:nvCxnSpPr>
        <p:spPr>
          <a:xfrm rot="10800000">
            <a:off x="4876800" y="1119225"/>
            <a:ext cx="2085900" cy="571500"/>
          </a:xfrm>
          <a:prstGeom prst="bentConnector3">
            <a:avLst>
              <a:gd name="adj1" fmla="val 34244"/>
            </a:avLst>
          </a:prstGeom>
          <a:noFill/>
          <a:ln w="9525" cap="flat" cmpd="sng">
            <a:solidFill>
              <a:schemeClr val="dk2"/>
            </a:solidFill>
            <a:prstDash val="solid"/>
            <a:round/>
            <a:headEnd type="none" w="med" len="med"/>
            <a:tailEnd type="oval" w="med" len="med"/>
          </a:ln>
        </p:spPr>
      </p:cxnSp>
      <p:cxnSp>
        <p:nvCxnSpPr>
          <p:cNvPr id="1371" name="Google Shape;1371;p30"/>
          <p:cNvCxnSpPr>
            <a:stCxn id="1285" idx="2"/>
            <a:endCxn id="1366" idx="6"/>
          </p:cNvCxnSpPr>
          <p:nvPr/>
        </p:nvCxnSpPr>
        <p:spPr>
          <a:xfrm flipH="1">
            <a:off x="5943675" y="3146925"/>
            <a:ext cx="1209600" cy="600"/>
          </a:xfrm>
          <a:prstGeom prst="bentConnector3">
            <a:avLst>
              <a:gd name="adj1" fmla="val 50000"/>
            </a:avLst>
          </a:prstGeom>
          <a:noFill/>
          <a:ln w="9525" cap="flat" cmpd="sng">
            <a:solidFill>
              <a:schemeClr val="dk2"/>
            </a:solidFill>
            <a:prstDash val="solid"/>
            <a:round/>
            <a:headEnd type="none" w="med" len="med"/>
            <a:tailEnd type="oval" w="med" len="med"/>
          </a:ln>
        </p:spPr>
      </p:cxnSp>
      <p:sp>
        <p:nvSpPr>
          <p:cNvPr id="114" name="Rectangle 45">
            <a:extLst>
              <a:ext uri="{FF2B5EF4-FFF2-40B4-BE49-F238E27FC236}">
                <a16:creationId xmlns:a16="http://schemas.microsoft.com/office/drawing/2014/main" id="{28B3BCE1-7D41-49BF-8298-9E7571616AC2}"/>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15" name="Google Shape;412;p18">
            <a:extLst>
              <a:ext uri="{FF2B5EF4-FFF2-40B4-BE49-F238E27FC236}">
                <a16:creationId xmlns:a16="http://schemas.microsoft.com/office/drawing/2014/main" id="{5BBB6ABE-9567-4A49-AA07-489F9DD3BC03}"/>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MÔ HÌNH RANDOM FOREST (RF)</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wipe(left)">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45">
            <a:extLst>
              <a:ext uri="{FF2B5EF4-FFF2-40B4-BE49-F238E27FC236}">
                <a16:creationId xmlns:a16="http://schemas.microsoft.com/office/drawing/2014/main" id="{28B3BCE1-7D41-49BF-8298-9E7571616AC2}"/>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grpSp>
        <p:nvGrpSpPr>
          <p:cNvPr id="22" name="Group 21"/>
          <p:cNvGrpSpPr/>
          <p:nvPr/>
        </p:nvGrpSpPr>
        <p:grpSpPr>
          <a:xfrm>
            <a:off x="908809" y="1280477"/>
            <a:ext cx="4190999" cy="3442460"/>
            <a:chOff x="1293456" y="1942529"/>
            <a:chExt cx="5587998" cy="4589946"/>
          </a:xfrm>
        </p:grpSpPr>
        <p:grpSp>
          <p:nvGrpSpPr>
            <p:cNvPr id="15" name="Group 14"/>
            <p:cNvGrpSpPr>
              <a:grpSpLocks noChangeAspect="1"/>
            </p:cNvGrpSpPr>
            <p:nvPr/>
          </p:nvGrpSpPr>
          <p:grpSpPr>
            <a:xfrm>
              <a:off x="2757811" y="2538439"/>
              <a:ext cx="4123643" cy="3994036"/>
              <a:chOff x="609599" y="1867437"/>
              <a:chExt cx="3098154" cy="3000779"/>
            </a:xfrm>
          </p:grpSpPr>
          <p:sp>
            <p:nvSpPr>
              <p:cNvPr id="12" name="Freeform 11"/>
              <p:cNvSpPr/>
              <p:nvPr/>
            </p:nvSpPr>
            <p:spPr>
              <a:xfrm>
                <a:off x="609600" y="1867437"/>
                <a:ext cx="1440000" cy="1800001"/>
              </a:xfrm>
              <a:custGeom>
                <a:avLst/>
                <a:gdLst>
                  <a:gd name="connsiteX0" fmla="*/ 0 w 1440000"/>
                  <a:gd name="connsiteY0" fmla="*/ 0 h 1800000"/>
                  <a:gd name="connsiteX1" fmla="*/ 1440000 w 1440000"/>
                  <a:gd name="connsiteY1" fmla="*/ 0 h 1800000"/>
                  <a:gd name="connsiteX2" fmla="*/ 1440000 w 1440000"/>
                  <a:gd name="connsiteY2" fmla="*/ 1494765 h 1800000"/>
                  <a:gd name="connsiteX3" fmla="*/ 519975 w 1440000"/>
                  <a:gd name="connsiteY3" fmla="*/ 1494765 h 1800000"/>
                  <a:gd name="connsiteX4" fmla="*/ 519975 w 1440000"/>
                  <a:gd name="connsiteY4" fmla="*/ 1800000 h 1800000"/>
                  <a:gd name="connsiteX5" fmla="*/ 0 w 1440000"/>
                  <a:gd name="connsiteY5" fmla="*/ 1800000 h 18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0000" h="1800000">
                    <a:moveTo>
                      <a:pt x="0" y="0"/>
                    </a:moveTo>
                    <a:lnTo>
                      <a:pt x="1440000" y="0"/>
                    </a:lnTo>
                    <a:lnTo>
                      <a:pt x="1440000" y="1494765"/>
                    </a:lnTo>
                    <a:lnTo>
                      <a:pt x="519975" y="1494765"/>
                    </a:lnTo>
                    <a:lnTo>
                      <a:pt x="519975" y="1800000"/>
                    </a:lnTo>
                    <a:lnTo>
                      <a:pt x="0" y="1800000"/>
                    </a:ln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1200" dirty="0">
                    <a:latin typeface="Tahoma" panose="020B0604030504040204" pitchFamily="34" charset="0"/>
                    <a:ea typeface="Tahoma" panose="020B0604030504040204" pitchFamily="34" charset="0"/>
                    <a:cs typeface="Tahoma" panose="020B0604030504040204" pitchFamily="34" charset="0"/>
                  </a:rPr>
                  <a:t>CÂY QUYẾT ĐỊNH (DECISION TREES)</a:t>
                </a:r>
              </a:p>
            </p:txBody>
          </p:sp>
          <p:sp>
            <p:nvSpPr>
              <p:cNvPr id="14" name="Freeform 13"/>
              <p:cNvSpPr/>
              <p:nvPr/>
            </p:nvSpPr>
            <p:spPr>
              <a:xfrm>
                <a:off x="609599" y="3876540"/>
                <a:ext cx="3098154" cy="991676"/>
              </a:xfrm>
              <a:custGeom>
                <a:avLst/>
                <a:gdLst>
                  <a:gd name="connsiteX0" fmla="*/ 0 w 3098154"/>
                  <a:gd name="connsiteY0" fmla="*/ 0 h 991676"/>
                  <a:gd name="connsiteX1" fmla="*/ 519978 w 3098154"/>
                  <a:gd name="connsiteY1" fmla="*/ 0 h 991676"/>
                  <a:gd name="connsiteX2" fmla="*/ 519978 w 3098154"/>
                  <a:gd name="connsiteY2" fmla="*/ 305233 h 991676"/>
                  <a:gd name="connsiteX3" fmla="*/ 2578177 w 3098154"/>
                  <a:gd name="connsiteY3" fmla="*/ 305233 h 991676"/>
                  <a:gd name="connsiteX4" fmla="*/ 2578177 w 3098154"/>
                  <a:gd name="connsiteY4" fmla="*/ 0 h 991676"/>
                  <a:gd name="connsiteX5" fmla="*/ 3098154 w 3098154"/>
                  <a:gd name="connsiteY5" fmla="*/ 0 h 991676"/>
                  <a:gd name="connsiteX6" fmla="*/ 3098154 w 3098154"/>
                  <a:gd name="connsiteY6" fmla="*/ 991676 h 991676"/>
                  <a:gd name="connsiteX7" fmla="*/ 0 w 3098154"/>
                  <a:gd name="connsiteY7" fmla="*/ 991676 h 99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8154" h="991676">
                    <a:moveTo>
                      <a:pt x="0" y="0"/>
                    </a:moveTo>
                    <a:lnTo>
                      <a:pt x="519978" y="0"/>
                    </a:lnTo>
                    <a:lnTo>
                      <a:pt x="519978" y="305233"/>
                    </a:lnTo>
                    <a:lnTo>
                      <a:pt x="2578177" y="305233"/>
                    </a:lnTo>
                    <a:lnTo>
                      <a:pt x="2578177" y="0"/>
                    </a:lnTo>
                    <a:lnTo>
                      <a:pt x="3098154" y="0"/>
                    </a:lnTo>
                    <a:lnTo>
                      <a:pt x="3098154" y="991676"/>
                    </a:lnTo>
                    <a:lnTo>
                      <a:pt x="0" y="991676"/>
                    </a:ln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1200" b="1" dirty="0">
                    <a:latin typeface="Tahoma" panose="020B0604030504040204" pitchFamily="34" charset="0"/>
                    <a:ea typeface="Tahoma" panose="020B0604030504040204" pitchFamily="34" charset="0"/>
                    <a:cs typeface="Tahoma" panose="020B0604030504040204" pitchFamily="34" charset="0"/>
                  </a:rPr>
                  <a:t>DATASET </a:t>
                </a:r>
                <a:r>
                  <a:rPr lang="en-US" sz="1200" b="1" kern="1200" dirty="0">
                    <a:solidFill>
                      <a:prstClr val="black"/>
                    </a:solidFill>
                    <a:latin typeface="Tahoma" panose="020B0604030504040204" pitchFamily="34" charset="0"/>
                    <a:ea typeface="Tahoma" panose="020B0604030504040204" pitchFamily="34" charset="0"/>
                    <a:cs typeface="Tahoma" panose="020B0604030504040204" pitchFamily="34" charset="0"/>
                  </a:rPr>
                  <a:t>CSE-CIC-IDS2018</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sp>
            <p:nvSpPr>
              <p:cNvPr id="13" name="Freeform 12"/>
              <p:cNvSpPr/>
              <p:nvPr/>
            </p:nvSpPr>
            <p:spPr>
              <a:xfrm>
                <a:off x="2267753" y="1867437"/>
                <a:ext cx="1440000" cy="1800001"/>
              </a:xfrm>
              <a:custGeom>
                <a:avLst/>
                <a:gdLst>
                  <a:gd name="connsiteX0" fmla="*/ 0 w 1440000"/>
                  <a:gd name="connsiteY0" fmla="*/ 0 h 1800000"/>
                  <a:gd name="connsiteX1" fmla="*/ 1440000 w 1440000"/>
                  <a:gd name="connsiteY1" fmla="*/ 0 h 1800000"/>
                  <a:gd name="connsiteX2" fmla="*/ 1440000 w 1440000"/>
                  <a:gd name="connsiteY2" fmla="*/ 1800000 h 1800000"/>
                  <a:gd name="connsiteX3" fmla="*/ 920022 w 1440000"/>
                  <a:gd name="connsiteY3" fmla="*/ 1800000 h 1800000"/>
                  <a:gd name="connsiteX4" fmla="*/ 920022 w 1440000"/>
                  <a:gd name="connsiteY4" fmla="*/ 1494767 h 1800000"/>
                  <a:gd name="connsiteX5" fmla="*/ 0 w 1440000"/>
                  <a:gd name="connsiteY5" fmla="*/ 1494767 h 18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0000" h="1800000">
                    <a:moveTo>
                      <a:pt x="0" y="0"/>
                    </a:moveTo>
                    <a:lnTo>
                      <a:pt x="1440000" y="0"/>
                    </a:lnTo>
                    <a:lnTo>
                      <a:pt x="1440000" y="1800000"/>
                    </a:lnTo>
                    <a:lnTo>
                      <a:pt x="920022" y="1800000"/>
                    </a:lnTo>
                    <a:lnTo>
                      <a:pt x="920022" y="1494767"/>
                    </a:lnTo>
                    <a:lnTo>
                      <a:pt x="0" y="1494767"/>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1200" dirty="0">
                    <a:latin typeface="Tahoma" panose="020B0604030504040204" pitchFamily="34" charset="0"/>
                    <a:ea typeface="Tahoma" panose="020B0604030504040204" pitchFamily="34" charset="0"/>
                    <a:cs typeface="Tahoma" panose="020B0604030504040204" pitchFamily="34" charset="0"/>
                  </a:rPr>
                  <a:t>PHÂN LOẠI</a:t>
                </a:r>
              </a:p>
            </p:txBody>
          </p:sp>
          <p:sp>
            <p:nvSpPr>
              <p:cNvPr id="9" name="Rectangle 8"/>
              <p:cNvSpPr>
                <a:spLocks noChangeAspect="1"/>
              </p:cNvSpPr>
              <p:nvPr/>
            </p:nvSpPr>
            <p:spPr>
              <a:xfrm>
                <a:off x="1284263" y="3492100"/>
                <a:ext cx="1748827" cy="559775"/>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1200" b="1" dirty="0">
                    <a:solidFill>
                      <a:schemeClr val="tx1"/>
                    </a:solidFill>
                    <a:latin typeface="Tahoma" panose="020B0604030504040204" pitchFamily="34" charset="0"/>
                    <a:ea typeface="Tahoma" panose="020B0604030504040204" pitchFamily="34" charset="0"/>
                    <a:cs typeface="Tahoma" panose="020B0604030504040204" pitchFamily="34" charset="0"/>
                  </a:rPr>
                  <a:t>RANDOM FOREST</a:t>
                </a:r>
              </a:p>
            </p:txBody>
          </p:sp>
        </p:grpSp>
        <p:sp>
          <p:nvSpPr>
            <p:cNvPr id="16" name="TextBox 15"/>
            <p:cNvSpPr txBox="1"/>
            <p:nvPr/>
          </p:nvSpPr>
          <p:spPr>
            <a:xfrm>
              <a:off x="1965327" y="3551673"/>
              <a:ext cx="246308" cy="369332"/>
            </a:xfrm>
            <a:prstGeom prst="rect">
              <a:avLst/>
            </a:prstGeom>
            <a:noFill/>
          </p:spPr>
          <p:txBody>
            <a:bodyPr wrap="none" rtlCol="0">
              <a:spAutoFit/>
            </a:bodyPr>
            <a:lstStyle/>
            <a:p>
              <a:pPr algn="ctr" defTabSz="685800">
                <a:buClrTx/>
                <a:defRPr/>
              </a:pPr>
              <a:endParaRPr lang="en-US" sz="1200" dirty="0"/>
            </a:p>
          </p:txBody>
        </p:sp>
        <p:sp>
          <p:nvSpPr>
            <p:cNvPr id="17" name="TextBox 16"/>
            <p:cNvSpPr txBox="1"/>
            <p:nvPr/>
          </p:nvSpPr>
          <p:spPr>
            <a:xfrm>
              <a:off x="1293456" y="5708168"/>
              <a:ext cx="1492288" cy="615553"/>
            </a:xfrm>
            <a:prstGeom prst="rect">
              <a:avLst/>
            </a:prstGeom>
            <a:noFill/>
          </p:spPr>
          <p:txBody>
            <a:bodyPr wrap="none" rtlCol="0">
              <a:spAutoFit/>
            </a:bodyPr>
            <a:lstStyle/>
            <a:p>
              <a:pPr algn="ctr" defTabSz="685800">
                <a:buClrTx/>
                <a:defRPr/>
              </a:pPr>
              <a:r>
                <a:rPr lang="en-US" sz="1200" b="1" dirty="0">
                  <a:latin typeface="Tahoma" panose="020B0604030504040204" pitchFamily="34" charset="0"/>
                  <a:ea typeface="Tahoma" panose="020B0604030504040204" pitchFamily="34" charset="0"/>
                  <a:cs typeface="Tahoma" panose="020B0604030504040204" pitchFamily="34" charset="0"/>
                </a:rPr>
                <a:t>ĐẶC TRƯNG</a:t>
              </a:r>
            </a:p>
            <a:p>
              <a:pPr algn="ctr" defTabSz="685800">
                <a:buClrTx/>
                <a:defRPr/>
              </a:pPr>
              <a:r>
                <a:rPr lang="en-US" sz="1200" b="1" dirty="0">
                  <a:latin typeface="Tahoma" panose="020B0604030504040204" pitchFamily="34" charset="0"/>
                  <a:ea typeface="Tahoma" panose="020B0604030504040204" pitchFamily="34" charset="0"/>
                  <a:cs typeface="Tahoma" panose="020B0604030504040204" pitchFamily="34" charset="0"/>
                </a:rPr>
                <a:t>DATASET</a:t>
              </a:r>
            </a:p>
          </p:txBody>
        </p:sp>
        <p:sp>
          <p:nvSpPr>
            <p:cNvPr id="19" name="TextBox 18"/>
            <p:cNvSpPr txBox="1"/>
            <p:nvPr/>
          </p:nvSpPr>
          <p:spPr>
            <a:xfrm>
              <a:off x="3224585" y="1942529"/>
              <a:ext cx="1216573" cy="369332"/>
            </a:xfrm>
            <a:prstGeom prst="rect">
              <a:avLst/>
            </a:prstGeom>
            <a:noFill/>
          </p:spPr>
          <p:txBody>
            <a:bodyPr wrap="none" rtlCol="0">
              <a:spAutoFit/>
            </a:bodyPr>
            <a:lstStyle/>
            <a:p>
              <a:pPr algn="ctr" defTabSz="685800">
                <a:buClrTx/>
                <a:defRPr/>
              </a:pPr>
              <a:r>
                <a:rPr lang="en-US" sz="1200" b="1" dirty="0" err="1">
                  <a:latin typeface="Tahoma" panose="020B0604030504040204" pitchFamily="34" charset="0"/>
                  <a:ea typeface="Tahoma" panose="020B0604030504040204" pitchFamily="34" charset="0"/>
                  <a:cs typeface="Tahoma" panose="020B0604030504040204" pitchFamily="34" charset="0"/>
                </a:rPr>
                <a:t>Nguyên</a:t>
              </a:r>
              <a:r>
                <a:rPr lang="en-US" sz="1200" b="1" dirty="0">
                  <a:latin typeface="Tahoma" panose="020B0604030504040204" pitchFamily="34" charset="0"/>
                  <a:ea typeface="Tahoma" panose="020B0604030504040204" pitchFamily="34" charset="0"/>
                  <a:cs typeface="Tahoma" panose="020B0604030504040204" pitchFamily="34" charset="0"/>
                </a:rPr>
                <a:t> </a:t>
              </a:r>
              <a:r>
                <a:rPr lang="en-US" sz="1200" b="1" dirty="0" err="1">
                  <a:latin typeface="Tahoma" panose="020B0604030504040204" pitchFamily="34" charset="0"/>
                  <a:ea typeface="Tahoma" panose="020B0604030504040204" pitchFamily="34" charset="0"/>
                  <a:cs typeface="Tahoma" panose="020B0604030504040204" pitchFamily="34" charset="0"/>
                </a:rPr>
                <a:t>lí</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sp>
          <p:nvSpPr>
            <p:cNvPr id="20" name="TextBox 19"/>
            <p:cNvSpPr txBox="1"/>
            <p:nvPr/>
          </p:nvSpPr>
          <p:spPr>
            <a:xfrm>
              <a:off x="5351764" y="1942529"/>
              <a:ext cx="1244359" cy="369332"/>
            </a:xfrm>
            <a:prstGeom prst="rect">
              <a:avLst/>
            </a:prstGeom>
            <a:noFill/>
          </p:spPr>
          <p:txBody>
            <a:bodyPr wrap="none" rtlCol="0">
              <a:spAutoFit/>
            </a:bodyPr>
            <a:lstStyle/>
            <a:p>
              <a:pPr algn="ctr" defTabSz="685800">
                <a:buClrTx/>
                <a:defRPr/>
              </a:pPr>
              <a:r>
                <a:rPr lang="en-US" sz="1200" b="1" dirty="0" err="1">
                  <a:latin typeface="Tahoma" panose="020B0604030504040204" pitchFamily="34" charset="0"/>
                  <a:ea typeface="Tahoma" panose="020B0604030504040204" pitchFamily="34" charset="0"/>
                  <a:cs typeface="Tahoma" panose="020B0604030504040204" pitchFamily="34" charset="0"/>
                </a:rPr>
                <a:t>Ứng</a:t>
              </a:r>
              <a:r>
                <a:rPr lang="en-US" sz="1200" b="1" dirty="0">
                  <a:latin typeface="Tahoma" panose="020B0604030504040204" pitchFamily="34" charset="0"/>
                  <a:ea typeface="Tahoma" panose="020B0604030504040204" pitchFamily="34" charset="0"/>
                  <a:cs typeface="Tahoma" panose="020B0604030504040204" pitchFamily="34" charset="0"/>
                </a:rPr>
                <a:t> </a:t>
              </a:r>
              <a:r>
                <a:rPr lang="en-US" sz="1200" b="1" dirty="0" err="1">
                  <a:latin typeface="Tahoma" panose="020B0604030504040204" pitchFamily="34" charset="0"/>
                  <a:ea typeface="Tahoma" panose="020B0604030504040204" pitchFamily="34" charset="0"/>
                  <a:cs typeface="Tahoma" panose="020B0604030504040204" pitchFamily="34" charset="0"/>
                </a:rPr>
                <a:t>dụng</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sp>
        <p:nvSpPr>
          <p:cNvPr id="27" name="Google Shape;412;p18">
            <a:extLst>
              <a:ext uri="{FF2B5EF4-FFF2-40B4-BE49-F238E27FC236}">
                <a16:creationId xmlns:a16="http://schemas.microsoft.com/office/drawing/2014/main" id="{5BBB6ABE-9567-4A49-AA07-489F9DD3BC03}"/>
              </a:ext>
            </a:extLst>
          </p:cNvPr>
          <p:cNvSpPr txBox="1">
            <a:spLocks noGrp="1"/>
          </p:cNvSpPr>
          <p:nvPr>
            <p:ph type="title"/>
          </p:nvPr>
        </p:nvSpPr>
        <p:spPr>
          <a:xfrm>
            <a:off x="457200" y="285622"/>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GIỚI THIỆU</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1415" y="1727410"/>
            <a:ext cx="4012585" cy="2329180"/>
          </a:xfrm>
          <a:prstGeom prst="rect">
            <a:avLst/>
          </a:prstGeom>
        </p:spPr>
      </p:pic>
    </p:spTree>
    <p:custDataLst>
      <p:tags r:id="rId1"/>
    </p:custDataLst>
    <p:extLst>
      <p:ext uri="{BB962C8B-B14F-4D97-AF65-F5344CB8AC3E}">
        <p14:creationId xmlns:p14="http://schemas.microsoft.com/office/powerpoint/2010/main" val="1974196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19D2AE38-C6A5-6C73-2948-C303B1D73025}"/>
              </a:ext>
            </a:extLst>
          </p:cNvPr>
          <p:cNvSpPr>
            <a:spLocks noChangeAspect="1"/>
          </p:cNvSpPr>
          <p:nvPr/>
        </p:nvSpPr>
        <p:spPr>
          <a:xfrm>
            <a:off x="770998" y="1629542"/>
            <a:ext cx="1145063" cy="1145063"/>
          </a:xfrm>
          <a:custGeom>
            <a:avLst/>
            <a:gdLst>
              <a:gd name="connsiteX0" fmla="*/ 3528000 w 3600000"/>
              <a:gd name="connsiteY0" fmla="*/ 2350594 h 3600000"/>
              <a:gd name="connsiteX1" fmla="*/ 3600000 w 3600000"/>
              <a:gd name="connsiteY1" fmla="*/ 2350594 h 3600000"/>
              <a:gd name="connsiteX2" fmla="*/ 3600000 w 3600000"/>
              <a:gd name="connsiteY2" fmla="*/ 3508956 h 3600000"/>
              <a:gd name="connsiteX3" fmla="*/ 3508956 w 3600000"/>
              <a:gd name="connsiteY3" fmla="*/ 3600000 h 3600000"/>
              <a:gd name="connsiteX4" fmla="*/ 2350595 w 3600000"/>
              <a:gd name="connsiteY4" fmla="*/ 3600000 h 3600000"/>
              <a:gd name="connsiteX5" fmla="*/ 2350595 w 3600000"/>
              <a:gd name="connsiteY5" fmla="*/ 3528000 h 3600000"/>
              <a:gd name="connsiteX6" fmla="*/ 3440598 w 3600000"/>
              <a:gd name="connsiteY6" fmla="*/ 3528000 h 3600000"/>
              <a:gd name="connsiteX7" fmla="*/ 3528000 w 3600000"/>
              <a:gd name="connsiteY7" fmla="*/ 3440598 h 3600000"/>
              <a:gd name="connsiteX8" fmla="*/ 0 w 3600000"/>
              <a:gd name="connsiteY8" fmla="*/ 2350594 h 3600000"/>
              <a:gd name="connsiteX9" fmla="*/ 72000 w 3600000"/>
              <a:gd name="connsiteY9" fmla="*/ 2350594 h 3600000"/>
              <a:gd name="connsiteX10" fmla="*/ 72000 w 3600000"/>
              <a:gd name="connsiteY10" fmla="*/ 3440598 h 3600000"/>
              <a:gd name="connsiteX11" fmla="*/ 159402 w 3600000"/>
              <a:gd name="connsiteY11" fmla="*/ 3528000 h 3600000"/>
              <a:gd name="connsiteX12" fmla="*/ 1249407 w 3600000"/>
              <a:gd name="connsiteY12" fmla="*/ 3528000 h 3600000"/>
              <a:gd name="connsiteX13" fmla="*/ 1249407 w 3600000"/>
              <a:gd name="connsiteY13" fmla="*/ 3600000 h 3600000"/>
              <a:gd name="connsiteX14" fmla="*/ 91044 w 3600000"/>
              <a:gd name="connsiteY14" fmla="*/ 3600000 h 3600000"/>
              <a:gd name="connsiteX15" fmla="*/ 0 w 3600000"/>
              <a:gd name="connsiteY15" fmla="*/ 3508956 h 3600000"/>
              <a:gd name="connsiteX16" fmla="*/ 2350595 w 3600000"/>
              <a:gd name="connsiteY16" fmla="*/ 0 h 3600000"/>
              <a:gd name="connsiteX17" fmla="*/ 3508956 w 3600000"/>
              <a:gd name="connsiteY17" fmla="*/ 0 h 3600000"/>
              <a:gd name="connsiteX18" fmla="*/ 3600000 w 3600000"/>
              <a:gd name="connsiteY18" fmla="*/ 91044 h 3600000"/>
              <a:gd name="connsiteX19" fmla="*/ 3600000 w 3600000"/>
              <a:gd name="connsiteY19" fmla="*/ 1249406 h 3600000"/>
              <a:gd name="connsiteX20" fmla="*/ 3528000 w 3600000"/>
              <a:gd name="connsiteY20" fmla="*/ 1249406 h 3600000"/>
              <a:gd name="connsiteX21" fmla="*/ 3528000 w 3600000"/>
              <a:gd name="connsiteY21" fmla="*/ 159402 h 3600000"/>
              <a:gd name="connsiteX22" fmla="*/ 3440598 w 3600000"/>
              <a:gd name="connsiteY22" fmla="*/ 72000 h 3600000"/>
              <a:gd name="connsiteX23" fmla="*/ 2350595 w 3600000"/>
              <a:gd name="connsiteY23" fmla="*/ 72000 h 3600000"/>
              <a:gd name="connsiteX24" fmla="*/ 91044 w 3600000"/>
              <a:gd name="connsiteY24" fmla="*/ 0 h 3600000"/>
              <a:gd name="connsiteX25" fmla="*/ 1249407 w 3600000"/>
              <a:gd name="connsiteY25" fmla="*/ 0 h 3600000"/>
              <a:gd name="connsiteX26" fmla="*/ 1249407 w 3600000"/>
              <a:gd name="connsiteY26" fmla="*/ 72000 h 3600000"/>
              <a:gd name="connsiteX27" fmla="*/ 159402 w 3600000"/>
              <a:gd name="connsiteY27" fmla="*/ 72000 h 3600000"/>
              <a:gd name="connsiteX28" fmla="*/ 72000 w 3600000"/>
              <a:gd name="connsiteY28" fmla="*/ 159402 h 3600000"/>
              <a:gd name="connsiteX29" fmla="*/ 72000 w 3600000"/>
              <a:gd name="connsiteY29" fmla="*/ 1249406 h 3600000"/>
              <a:gd name="connsiteX30" fmla="*/ 0 w 3600000"/>
              <a:gd name="connsiteY30" fmla="*/ 1249406 h 3600000"/>
              <a:gd name="connsiteX31" fmla="*/ 0 w 3600000"/>
              <a:gd name="connsiteY31" fmla="*/ 91044 h 3600000"/>
              <a:gd name="connsiteX32" fmla="*/ 91044 w 3600000"/>
              <a:gd name="connsiteY32"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0000" h="3600000">
                <a:moveTo>
                  <a:pt x="3528000" y="2350594"/>
                </a:moveTo>
                <a:lnTo>
                  <a:pt x="3600000" y="2350594"/>
                </a:lnTo>
                <a:lnTo>
                  <a:pt x="3600000" y="3508956"/>
                </a:lnTo>
                <a:cubicBezTo>
                  <a:pt x="3600000" y="3559238"/>
                  <a:pt x="3559238" y="3600000"/>
                  <a:pt x="3508956" y="3600000"/>
                </a:cubicBezTo>
                <a:lnTo>
                  <a:pt x="2350595" y="3600000"/>
                </a:lnTo>
                <a:lnTo>
                  <a:pt x="2350595" y="3528000"/>
                </a:lnTo>
                <a:lnTo>
                  <a:pt x="3440598" y="3528000"/>
                </a:lnTo>
                <a:cubicBezTo>
                  <a:pt x="3488869" y="3528000"/>
                  <a:pt x="3528000" y="3488869"/>
                  <a:pt x="3528000" y="3440598"/>
                </a:cubicBezTo>
                <a:close/>
                <a:moveTo>
                  <a:pt x="0" y="2350594"/>
                </a:moveTo>
                <a:lnTo>
                  <a:pt x="72000" y="2350594"/>
                </a:lnTo>
                <a:lnTo>
                  <a:pt x="72000" y="3440598"/>
                </a:lnTo>
                <a:cubicBezTo>
                  <a:pt x="72000" y="3488869"/>
                  <a:pt x="111131" y="3528000"/>
                  <a:pt x="159402" y="3528000"/>
                </a:cubicBezTo>
                <a:lnTo>
                  <a:pt x="1249407" y="3528000"/>
                </a:lnTo>
                <a:lnTo>
                  <a:pt x="1249407" y="3600000"/>
                </a:lnTo>
                <a:lnTo>
                  <a:pt x="91044" y="3600000"/>
                </a:lnTo>
                <a:cubicBezTo>
                  <a:pt x="40762" y="3600000"/>
                  <a:pt x="0" y="3559238"/>
                  <a:pt x="0" y="3508956"/>
                </a:cubicBezTo>
                <a:close/>
                <a:moveTo>
                  <a:pt x="2350595" y="0"/>
                </a:moveTo>
                <a:lnTo>
                  <a:pt x="3508956" y="0"/>
                </a:lnTo>
                <a:cubicBezTo>
                  <a:pt x="3559238" y="0"/>
                  <a:pt x="3600000" y="40762"/>
                  <a:pt x="3600000" y="91044"/>
                </a:cubicBezTo>
                <a:lnTo>
                  <a:pt x="3600000" y="1249406"/>
                </a:lnTo>
                <a:lnTo>
                  <a:pt x="3528000" y="1249406"/>
                </a:lnTo>
                <a:lnTo>
                  <a:pt x="3528000" y="159402"/>
                </a:lnTo>
                <a:cubicBezTo>
                  <a:pt x="3528000" y="111131"/>
                  <a:pt x="3488869" y="72000"/>
                  <a:pt x="3440598" y="72000"/>
                </a:cubicBezTo>
                <a:lnTo>
                  <a:pt x="2350595" y="72000"/>
                </a:lnTo>
                <a:close/>
                <a:moveTo>
                  <a:pt x="91044" y="0"/>
                </a:moveTo>
                <a:lnTo>
                  <a:pt x="1249407" y="0"/>
                </a:lnTo>
                <a:lnTo>
                  <a:pt x="1249407" y="72000"/>
                </a:lnTo>
                <a:lnTo>
                  <a:pt x="159402" y="72000"/>
                </a:lnTo>
                <a:cubicBezTo>
                  <a:pt x="111131" y="72000"/>
                  <a:pt x="72000" y="111131"/>
                  <a:pt x="72000" y="159402"/>
                </a:cubicBezTo>
                <a:lnTo>
                  <a:pt x="72000" y="1249406"/>
                </a:lnTo>
                <a:lnTo>
                  <a:pt x="0" y="1249406"/>
                </a:lnTo>
                <a:lnTo>
                  <a:pt x="0" y="91044"/>
                </a:lnTo>
                <a:cubicBezTo>
                  <a:pt x="0" y="40762"/>
                  <a:pt x="40762" y="0"/>
                  <a:pt x="9104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schemeClr val="tx1"/>
                </a:solidFill>
                <a:latin typeface="Tahoma" panose="020B0604030504040204" pitchFamily="34" charset="0"/>
                <a:ea typeface="Tahoma" panose="020B0604030504040204" pitchFamily="34" charset="0"/>
                <a:cs typeface="Tahoma" panose="020B0604030504040204" pitchFamily="34" charset="0"/>
              </a:rPr>
              <a:t>DATA CLEAN</a:t>
            </a:r>
          </a:p>
        </p:txBody>
      </p:sp>
      <p:sp>
        <p:nvSpPr>
          <p:cNvPr id="13" name="Free-form: Shape 12">
            <a:extLst>
              <a:ext uri="{FF2B5EF4-FFF2-40B4-BE49-F238E27FC236}">
                <a16:creationId xmlns:a16="http://schemas.microsoft.com/office/drawing/2014/main" id="{1BB20A7F-80C5-4DF2-9735-ADA01F97F0AE}"/>
              </a:ext>
            </a:extLst>
          </p:cNvPr>
          <p:cNvSpPr>
            <a:spLocks noChangeAspect="1"/>
          </p:cNvSpPr>
          <p:nvPr/>
        </p:nvSpPr>
        <p:spPr>
          <a:xfrm>
            <a:off x="2923312" y="1629542"/>
            <a:ext cx="1145063" cy="1145063"/>
          </a:xfrm>
          <a:custGeom>
            <a:avLst/>
            <a:gdLst>
              <a:gd name="connsiteX0" fmla="*/ 3528000 w 3600000"/>
              <a:gd name="connsiteY0" fmla="*/ 2350594 h 3600000"/>
              <a:gd name="connsiteX1" fmla="*/ 3600000 w 3600000"/>
              <a:gd name="connsiteY1" fmla="*/ 2350594 h 3600000"/>
              <a:gd name="connsiteX2" fmla="*/ 3600000 w 3600000"/>
              <a:gd name="connsiteY2" fmla="*/ 3508956 h 3600000"/>
              <a:gd name="connsiteX3" fmla="*/ 3508956 w 3600000"/>
              <a:gd name="connsiteY3" fmla="*/ 3600000 h 3600000"/>
              <a:gd name="connsiteX4" fmla="*/ 2350595 w 3600000"/>
              <a:gd name="connsiteY4" fmla="*/ 3600000 h 3600000"/>
              <a:gd name="connsiteX5" fmla="*/ 2350595 w 3600000"/>
              <a:gd name="connsiteY5" fmla="*/ 3528000 h 3600000"/>
              <a:gd name="connsiteX6" fmla="*/ 3440598 w 3600000"/>
              <a:gd name="connsiteY6" fmla="*/ 3528000 h 3600000"/>
              <a:gd name="connsiteX7" fmla="*/ 3528000 w 3600000"/>
              <a:gd name="connsiteY7" fmla="*/ 3440598 h 3600000"/>
              <a:gd name="connsiteX8" fmla="*/ 0 w 3600000"/>
              <a:gd name="connsiteY8" fmla="*/ 2350594 h 3600000"/>
              <a:gd name="connsiteX9" fmla="*/ 72000 w 3600000"/>
              <a:gd name="connsiteY9" fmla="*/ 2350594 h 3600000"/>
              <a:gd name="connsiteX10" fmla="*/ 72000 w 3600000"/>
              <a:gd name="connsiteY10" fmla="*/ 3440598 h 3600000"/>
              <a:gd name="connsiteX11" fmla="*/ 159402 w 3600000"/>
              <a:gd name="connsiteY11" fmla="*/ 3528000 h 3600000"/>
              <a:gd name="connsiteX12" fmla="*/ 1249407 w 3600000"/>
              <a:gd name="connsiteY12" fmla="*/ 3528000 h 3600000"/>
              <a:gd name="connsiteX13" fmla="*/ 1249407 w 3600000"/>
              <a:gd name="connsiteY13" fmla="*/ 3600000 h 3600000"/>
              <a:gd name="connsiteX14" fmla="*/ 91044 w 3600000"/>
              <a:gd name="connsiteY14" fmla="*/ 3600000 h 3600000"/>
              <a:gd name="connsiteX15" fmla="*/ 0 w 3600000"/>
              <a:gd name="connsiteY15" fmla="*/ 3508956 h 3600000"/>
              <a:gd name="connsiteX16" fmla="*/ 2350595 w 3600000"/>
              <a:gd name="connsiteY16" fmla="*/ 0 h 3600000"/>
              <a:gd name="connsiteX17" fmla="*/ 3508956 w 3600000"/>
              <a:gd name="connsiteY17" fmla="*/ 0 h 3600000"/>
              <a:gd name="connsiteX18" fmla="*/ 3600000 w 3600000"/>
              <a:gd name="connsiteY18" fmla="*/ 91044 h 3600000"/>
              <a:gd name="connsiteX19" fmla="*/ 3600000 w 3600000"/>
              <a:gd name="connsiteY19" fmla="*/ 1249406 h 3600000"/>
              <a:gd name="connsiteX20" fmla="*/ 3528000 w 3600000"/>
              <a:gd name="connsiteY20" fmla="*/ 1249406 h 3600000"/>
              <a:gd name="connsiteX21" fmla="*/ 3528000 w 3600000"/>
              <a:gd name="connsiteY21" fmla="*/ 159402 h 3600000"/>
              <a:gd name="connsiteX22" fmla="*/ 3440598 w 3600000"/>
              <a:gd name="connsiteY22" fmla="*/ 72000 h 3600000"/>
              <a:gd name="connsiteX23" fmla="*/ 2350595 w 3600000"/>
              <a:gd name="connsiteY23" fmla="*/ 72000 h 3600000"/>
              <a:gd name="connsiteX24" fmla="*/ 91044 w 3600000"/>
              <a:gd name="connsiteY24" fmla="*/ 0 h 3600000"/>
              <a:gd name="connsiteX25" fmla="*/ 1249407 w 3600000"/>
              <a:gd name="connsiteY25" fmla="*/ 0 h 3600000"/>
              <a:gd name="connsiteX26" fmla="*/ 1249407 w 3600000"/>
              <a:gd name="connsiteY26" fmla="*/ 72000 h 3600000"/>
              <a:gd name="connsiteX27" fmla="*/ 159402 w 3600000"/>
              <a:gd name="connsiteY27" fmla="*/ 72000 h 3600000"/>
              <a:gd name="connsiteX28" fmla="*/ 72000 w 3600000"/>
              <a:gd name="connsiteY28" fmla="*/ 159402 h 3600000"/>
              <a:gd name="connsiteX29" fmla="*/ 72000 w 3600000"/>
              <a:gd name="connsiteY29" fmla="*/ 1249406 h 3600000"/>
              <a:gd name="connsiteX30" fmla="*/ 0 w 3600000"/>
              <a:gd name="connsiteY30" fmla="*/ 1249406 h 3600000"/>
              <a:gd name="connsiteX31" fmla="*/ 0 w 3600000"/>
              <a:gd name="connsiteY31" fmla="*/ 91044 h 3600000"/>
              <a:gd name="connsiteX32" fmla="*/ 91044 w 3600000"/>
              <a:gd name="connsiteY32"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0000" h="3600000">
                <a:moveTo>
                  <a:pt x="3528000" y="2350594"/>
                </a:moveTo>
                <a:lnTo>
                  <a:pt x="3600000" y="2350594"/>
                </a:lnTo>
                <a:lnTo>
                  <a:pt x="3600000" y="3508956"/>
                </a:lnTo>
                <a:cubicBezTo>
                  <a:pt x="3600000" y="3559238"/>
                  <a:pt x="3559238" y="3600000"/>
                  <a:pt x="3508956" y="3600000"/>
                </a:cubicBezTo>
                <a:lnTo>
                  <a:pt x="2350595" y="3600000"/>
                </a:lnTo>
                <a:lnTo>
                  <a:pt x="2350595" y="3528000"/>
                </a:lnTo>
                <a:lnTo>
                  <a:pt x="3440598" y="3528000"/>
                </a:lnTo>
                <a:cubicBezTo>
                  <a:pt x="3488869" y="3528000"/>
                  <a:pt x="3528000" y="3488869"/>
                  <a:pt x="3528000" y="3440598"/>
                </a:cubicBezTo>
                <a:close/>
                <a:moveTo>
                  <a:pt x="0" y="2350594"/>
                </a:moveTo>
                <a:lnTo>
                  <a:pt x="72000" y="2350594"/>
                </a:lnTo>
                <a:lnTo>
                  <a:pt x="72000" y="3440598"/>
                </a:lnTo>
                <a:cubicBezTo>
                  <a:pt x="72000" y="3488869"/>
                  <a:pt x="111131" y="3528000"/>
                  <a:pt x="159402" y="3528000"/>
                </a:cubicBezTo>
                <a:lnTo>
                  <a:pt x="1249407" y="3528000"/>
                </a:lnTo>
                <a:lnTo>
                  <a:pt x="1249407" y="3600000"/>
                </a:lnTo>
                <a:lnTo>
                  <a:pt x="91044" y="3600000"/>
                </a:lnTo>
                <a:cubicBezTo>
                  <a:pt x="40762" y="3600000"/>
                  <a:pt x="0" y="3559238"/>
                  <a:pt x="0" y="3508956"/>
                </a:cubicBezTo>
                <a:close/>
                <a:moveTo>
                  <a:pt x="2350595" y="0"/>
                </a:moveTo>
                <a:lnTo>
                  <a:pt x="3508956" y="0"/>
                </a:lnTo>
                <a:cubicBezTo>
                  <a:pt x="3559238" y="0"/>
                  <a:pt x="3600000" y="40762"/>
                  <a:pt x="3600000" y="91044"/>
                </a:cubicBezTo>
                <a:lnTo>
                  <a:pt x="3600000" y="1249406"/>
                </a:lnTo>
                <a:lnTo>
                  <a:pt x="3528000" y="1249406"/>
                </a:lnTo>
                <a:lnTo>
                  <a:pt x="3528000" y="159402"/>
                </a:lnTo>
                <a:cubicBezTo>
                  <a:pt x="3528000" y="111131"/>
                  <a:pt x="3488869" y="72000"/>
                  <a:pt x="3440598" y="72000"/>
                </a:cubicBezTo>
                <a:lnTo>
                  <a:pt x="2350595" y="72000"/>
                </a:lnTo>
                <a:close/>
                <a:moveTo>
                  <a:pt x="91044" y="0"/>
                </a:moveTo>
                <a:lnTo>
                  <a:pt x="1249407" y="0"/>
                </a:lnTo>
                <a:lnTo>
                  <a:pt x="1249407" y="72000"/>
                </a:lnTo>
                <a:lnTo>
                  <a:pt x="159402" y="72000"/>
                </a:lnTo>
                <a:cubicBezTo>
                  <a:pt x="111131" y="72000"/>
                  <a:pt x="72000" y="111131"/>
                  <a:pt x="72000" y="159402"/>
                </a:cubicBezTo>
                <a:lnTo>
                  <a:pt x="72000" y="1249406"/>
                </a:lnTo>
                <a:lnTo>
                  <a:pt x="0" y="1249406"/>
                </a:lnTo>
                <a:lnTo>
                  <a:pt x="0" y="91044"/>
                </a:lnTo>
                <a:cubicBezTo>
                  <a:pt x="0" y="40762"/>
                  <a:pt x="40762" y="0"/>
                  <a:pt x="9104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schemeClr val="tx1"/>
                </a:solidFill>
                <a:latin typeface="Tahoma" panose="020B0604030504040204" pitchFamily="34" charset="0"/>
                <a:ea typeface="Tahoma" panose="020B0604030504040204" pitchFamily="34" charset="0"/>
                <a:cs typeface="Tahoma" panose="020B0604030504040204" pitchFamily="34" charset="0"/>
              </a:rPr>
              <a:t>BUILD_MODEL</a:t>
            </a:r>
          </a:p>
        </p:txBody>
      </p:sp>
      <p:sp>
        <p:nvSpPr>
          <p:cNvPr id="14" name="Free-form: Shape 13">
            <a:extLst>
              <a:ext uri="{FF2B5EF4-FFF2-40B4-BE49-F238E27FC236}">
                <a16:creationId xmlns:a16="http://schemas.microsoft.com/office/drawing/2014/main" id="{0FACE455-5877-FF60-8CC8-B8E452E007AE}"/>
              </a:ext>
            </a:extLst>
          </p:cNvPr>
          <p:cNvSpPr>
            <a:spLocks noChangeAspect="1"/>
          </p:cNvSpPr>
          <p:nvPr/>
        </p:nvSpPr>
        <p:spPr>
          <a:xfrm>
            <a:off x="5075625" y="1629542"/>
            <a:ext cx="1145063" cy="1145063"/>
          </a:xfrm>
          <a:custGeom>
            <a:avLst/>
            <a:gdLst>
              <a:gd name="connsiteX0" fmla="*/ 3528000 w 3600000"/>
              <a:gd name="connsiteY0" fmla="*/ 2350594 h 3600000"/>
              <a:gd name="connsiteX1" fmla="*/ 3600000 w 3600000"/>
              <a:gd name="connsiteY1" fmla="*/ 2350594 h 3600000"/>
              <a:gd name="connsiteX2" fmla="*/ 3600000 w 3600000"/>
              <a:gd name="connsiteY2" fmla="*/ 3508956 h 3600000"/>
              <a:gd name="connsiteX3" fmla="*/ 3508956 w 3600000"/>
              <a:gd name="connsiteY3" fmla="*/ 3600000 h 3600000"/>
              <a:gd name="connsiteX4" fmla="*/ 2350595 w 3600000"/>
              <a:gd name="connsiteY4" fmla="*/ 3600000 h 3600000"/>
              <a:gd name="connsiteX5" fmla="*/ 2350595 w 3600000"/>
              <a:gd name="connsiteY5" fmla="*/ 3528000 h 3600000"/>
              <a:gd name="connsiteX6" fmla="*/ 3440598 w 3600000"/>
              <a:gd name="connsiteY6" fmla="*/ 3528000 h 3600000"/>
              <a:gd name="connsiteX7" fmla="*/ 3528000 w 3600000"/>
              <a:gd name="connsiteY7" fmla="*/ 3440598 h 3600000"/>
              <a:gd name="connsiteX8" fmla="*/ 0 w 3600000"/>
              <a:gd name="connsiteY8" fmla="*/ 2350594 h 3600000"/>
              <a:gd name="connsiteX9" fmla="*/ 72000 w 3600000"/>
              <a:gd name="connsiteY9" fmla="*/ 2350594 h 3600000"/>
              <a:gd name="connsiteX10" fmla="*/ 72000 w 3600000"/>
              <a:gd name="connsiteY10" fmla="*/ 3440598 h 3600000"/>
              <a:gd name="connsiteX11" fmla="*/ 159402 w 3600000"/>
              <a:gd name="connsiteY11" fmla="*/ 3528000 h 3600000"/>
              <a:gd name="connsiteX12" fmla="*/ 1249407 w 3600000"/>
              <a:gd name="connsiteY12" fmla="*/ 3528000 h 3600000"/>
              <a:gd name="connsiteX13" fmla="*/ 1249407 w 3600000"/>
              <a:gd name="connsiteY13" fmla="*/ 3600000 h 3600000"/>
              <a:gd name="connsiteX14" fmla="*/ 91044 w 3600000"/>
              <a:gd name="connsiteY14" fmla="*/ 3600000 h 3600000"/>
              <a:gd name="connsiteX15" fmla="*/ 0 w 3600000"/>
              <a:gd name="connsiteY15" fmla="*/ 3508956 h 3600000"/>
              <a:gd name="connsiteX16" fmla="*/ 2350595 w 3600000"/>
              <a:gd name="connsiteY16" fmla="*/ 0 h 3600000"/>
              <a:gd name="connsiteX17" fmla="*/ 3508956 w 3600000"/>
              <a:gd name="connsiteY17" fmla="*/ 0 h 3600000"/>
              <a:gd name="connsiteX18" fmla="*/ 3600000 w 3600000"/>
              <a:gd name="connsiteY18" fmla="*/ 91044 h 3600000"/>
              <a:gd name="connsiteX19" fmla="*/ 3600000 w 3600000"/>
              <a:gd name="connsiteY19" fmla="*/ 1249406 h 3600000"/>
              <a:gd name="connsiteX20" fmla="*/ 3528000 w 3600000"/>
              <a:gd name="connsiteY20" fmla="*/ 1249406 h 3600000"/>
              <a:gd name="connsiteX21" fmla="*/ 3528000 w 3600000"/>
              <a:gd name="connsiteY21" fmla="*/ 159402 h 3600000"/>
              <a:gd name="connsiteX22" fmla="*/ 3440598 w 3600000"/>
              <a:gd name="connsiteY22" fmla="*/ 72000 h 3600000"/>
              <a:gd name="connsiteX23" fmla="*/ 2350595 w 3600000"/>
              <a:gd name="connsiteY23" fmla="*/ 72000 h 3600000"/>
              <a:gd name="connsiteX24" fmla="*/ 91044 w 3600000"/>
              <a:gd name="connsiteY24" fmla="*/ 0 h 3600000"/>
              <a:gd name="connsiteX25" fmla="*/ 1249407 w 3600000"/>
              <a:gd name="connsiteY25" fmla="*/ 0 h 3600000"/>
              <a:gd name="connsiteX26" fmla="*/ 1249407 w 3600000"/>
              <a:gd name="connsiteY26" fmla="*/ 72000 h 3600000"/>
              <a:gd name="connsiteX27" fmla="*/ 159402 w 3600000"/>
              <a:gd name="connsiteY27" fmla="*/ 72000 h 3600000"/>
              <a:gd name="connsiteX28" fmla="*/ 72000 w 3600000"/>
              <a:gd name="connsiteY28" fmla="*/ 159402 h 3600000"/>
              <a:gd name="connsiteX29" fmla="*/ 72000 w 3600000"/>
              <a:gd name="connsiteY29" fmla="*/ 1249406 h 3600000"/>
              <a:gd name="connsiteX30" fmla="*/ 0 w 3600000"/>
              <a:gd name="connsiteY30" fmla="*/ 1249406 h 3600000"/>
              <a:gd name="connsiteX31" fmla="*/ 0 w 3600000"/>
              <a:gd name="connsiteY31" fmla="*/ 91044 h 3600000"/>
              <a:gd name="connsiteX32" fmla="*/ 91044 w 3600000"/>
              <a:gd name="connsiteY32"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0000" h="3600000">
                <a:moveTo>
                  <a:pt x="3528000" y="2350594"/>
                </a:moveTo>
                <a:lnTo>
                  <a:pt x="3600000" y="2350594"/>
                </a:lnTo>
                <a:lnTo>
                  <a:pt x="3600000" y="3508956"/>
                </a:lnTo>
                <a:cubicBezTo>
                  <a:pt x="3600000" y="3559238"/>
                  <a:pt x="3559238" y="3600000"/>
                  <a:pt x="3508956" y="3600000"/>
                </a:cubicBezTo>
                <a:lnTo>
                  <a:pt x="2350595" y="3600000"/>
                </a:lnTo>
                <a:lnTo>
                  <a:pt x="2350595" y="3528000"/>
                </a:lnTo>
                <a:lnTo>
                  <a:pt x="3440598" y="3528000"/>
                </a:lnTo>
                <a:cubicBezTo>
                  <a:pt x="3488869" y="3528000"/>
                  <a:pt x="3528000" y="3488869"/>
                  <a:pt x="3528000" y="3440598"/>
                </a:cubicBezTo>
                <a:close/>
                <a:moveTo>
                  <a:pt x="0" y="2350594"/>
                </a:moveTo>
                <a:lnTo>
                  <a:pt x="72000" y="2350594"/>
                </a:lnTo>
                <a:lnTo>
                  <a:pt x="72000" y="3440598"/>
                </a:lnTo>
                <a:cubicBezTo>
                  <a:pt x="72000" y="3488869"/>
                  <a:pt x="111131" y="3528000"/>
                  <a:pt x="159402" y="3528000"/>
                </a:cubicBezTo>
                <a:lnTo>
                  <a:pt x="1249407" y="3528000"/>
                </a:lnTo>
                <a:lnTo>
                  <a:pt x="1249407" y="3600000"/>
                </a:lnTo>
                <a:lnTo>
                  <a:pt x="91044" y="3600000"/>
                </a:lnTo>
                <a:cubicBezTo>
                  <a:pt x="40762" y="3600000"/>
                  <a:pt x="0" y="3559238"/>
                  <a:pt x="0" y="3508956"/>
                </a:cubicBezTo>
                <a:close/>
                <a:moveTo>
                  <a:pt x="2350595" y="0"/>
                </a:moveTo>
                <a:lnTo>
                  <a:pt x="3508956" y="0"/>
                </a:lnTo>
                <a:cubicBezTo>
                  <a:pt x="3559238" y="0"/>
                  <a:pt x="3600000" y="40762"/>
                  <a:pt x="3600000" y="91044"/>
                </a:cubicBezTo>
                <a:lnTo>
                  <a:pt x="3600000" y="1249406"/>
                </a:lnTo>
                <a:lnTo>
                  <a:pt x="3528000" y="1249406"/>
                </a:lnTo>
                <a:lnTo>
                  <a:pt x="3528000" y="159402"/>
                </a:lnTo>
                <a:cubicBezTo>
                  <a:pt x="3528000" y="111131"/>
                  <a:pt x="3488869" y="72000"/>
                  <a:pt x="3440598" y="72000"/>
                </a:cubicBezTo>
                <a:lnTo>
                  <a:pt x="2350595" y="72000"/>
                </a:lnTo>
                <a:close/>
                <a:moveTo>
                  <a:pt x="91044" y="0"/>
                </a:moveTo>
                <a:lnTo>
                  <a:pt x="1249407" y="0"/>
                </a:lnTo>
                <a:lnTo>
                  <a:pt x="1249407" y="72000"/>
                </a:lnTo>
                <a:lnTo>
                  <a:pt x="159402" y="72000"/>
                </a:lnTo>
                <a:cubicBezTo>
                  <a:pt x="111131" y="72000"/>
                  <a:pt x="72000" y="111131"/>
                  <a:pt x="72000" y="159402"/>
                </a:cubicBezTo>
                <a:lnTo>
                  <a:pt x="72000" y="1249406"/>
                </a:lnTo>
                <a:lnTo>
                  <a:pt x="0" y="1249406"/>
                </a:lnTo>
                <a:lnTo>
                  <a:pt x="0" y="91044"/>
                </a:lnTo>
                <a:cubicBezTo>
                  <a:pt x="0" y="40762"/>
                  <a:pt x="40762" y="0"/>
                  <a:pt x="9104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schemeClr val="tx1"/>
                </a:solidFill>
                <a:latin typeface="Tahoma" panose="020B0604030504040204" pitchFamily="34" charset="0"/>
                <a:ea typeface="Tahoma" panose="020B0604030504040204" pitchFamily="34" charset="0"/>
                <a:cs typeface="Tahoma" panose="020B0604030504040204" pitchFamily="34" charset="0"/>
              </a:rPr>
              <a:t>MODEL EVALUATION</a:t>
            </a:r>
          </a:p>
        </p:txBody>
      </p:sp>
      <p:sp>
        <p:nvSpPr>
          <p:cNvPr id="15" name="Free-form: Shape 14">
            <a:extLst>
              <a:ext uri="{FF2B5EF4-FFF2-40B4-BE49-F238E27FC236}">
                <a16:creationId xmlns:a16="http://schemas.microsoft.com/office/drawing/2014/main" id="{F56A8453-08C3-ECF9-F873-148645A1616F}"/>
              </a:ext>
            </a:extLst>
          </p:cNvPr>
          <p:cNvSpPr>
            <a:spLocks noChangeAspect="1"/>
          </p:cNvSpPr>
          <p:nvPr/>
        </p:nvSpPr>
        <p:spPr>
          <a:xfrm>
            <a:off x="7227939" y="1629542"/>
            <a:ext cx="1145063" cy="1145063"/>
          </a:xfrm>
          <a:custGeom>
            <a:avLst/>
            <a:gdLst>
              <a:gd name="connsiteX0" fmla="*/ 3528000 w 3600000"/>
              <a:gd name="connsiteY0" fmla="*/ 2350594 h 3600000"/>
              <a:gd name="connsiteX1" fmla="*/ 3600000 w 3600000"/>
              <a:gd name="connsiteY1" fmla="*/ 2350594 h 3600000"/>
              <a:gd name="connsiteX2" fmla="*/ 3600000 w 3600000"/>
              <a:gd name="connsiteY2" fmla="*/ 3508956 h 3600000"/>
              <a:gd name="connsiteX3" fmla="*/ 3508956 w 3600000"/>
              <a:gd name="connsiteY3" fmla="*/ 3600000 h 3600000"/>
              <a:gd name="connsiteX4" fmla="*/ 2350595 w 3600000"/>
              <a:gd name="connsiteY4" fmla="*/ 3600000 h 3600000"/>
              <a:gd name="connsiteX5" fmla="*/ 2350595 w 3600000"/>
              <a:gd name="connsiteY5" fmla="*/ 3528000 h 3600000"/>
              <a:gd name="connsiteX6" fmla="*/ 3440598 w 3600000"/>
              <a:gd name="connsiteY6" fmla="*/ 3528000 h 3600000"/>
              <a:gd name="connsiteX7" fmla="*/ 3528000 w 3600000"/>
              <a:gd name="connsiteY7" fmla="*/ 3440598 h 3600000"/>
              <a:gd name="connsiteX8" fmla="*/ 0 w 3600000"/>
              <a:gd name="connsiteY8" fmla="*/ 2350594 h 3600000"/>
              <a:gd name="connsiteX9" fmla="*/ 72000 w 3600000"/>
              <a:gd name="connsiteY9" fmla="*/ 2350594 h 3600000"/>
              <a:gd name="connsiteX10" fmla="*/ 72000 w 3600000"/>
              <a:gd name="connsiteY10" fmla="*/ 3440598 h 3600000"/>
              <a:gd name="connsiteX11" fmla="*/ 159402 w 3600000"/>
              <a:gd name="connsiteY11" fmla="*/ 3528000 h 3600000"/>
              <a:gd name="connsiteX12" fmla="*/ 1249407 w 3600000"/>
              <a:gd name="connsiteY12" fmla="*/ 3528000 h 3600000"/>
              <a:gd name="connsiteX13" fmla="*/ 1249407 w 3600000"/>
              <a:gd name="connsiteY13" fmla="*/ 3600000 h 3600000"/>
              <a:gd name="connsiteX14" fmla="*/ 91044 w 3600000"/>
              <a:gd name="connsiteY14" fmla="*/ 3600000 h 3600000"/>
              <a:gd name="connsiteX15" fmla="*/ 0 w 3600000"/>
              <a:gd name="connsiteY15" fmla="*/ 3508956 h 3600000"/>
              <a:gd name="connsiteX16" fmla="*/ 2350595 w 3600000"/>
              <a:gd name="connsiteY16" fmla="*/ 0 h 3600000"/>
              <a:gd name="connsiteX17" fmla="*/ 3508956 w 3600000"/>
              <a:gd name="connsiteY17" fmla="*/ 0 h 3600000"/>
              <a:gd name="connsiteX18" fmla="*/ 3600000 w 3600000"/>
              <a:gd name="connsiteY18" fmla="*/ 91044 h 3600000"/>
              <a:gd name="connsiteX19" fmla="*/ 3600000 w 3600000"/>
              <a:gd name="connsiteY19" fmla="*/ 1249406 h 3600000"/>
              <a:gd name="connsiteX20" fmla="*/ 3528000 w 3600000"/>
              <a:gd name="connsiteY20" fmla="*/ 1249406 h 3600000"/>
              <a:gd name="connsiteX21" fmla="*/ 3528000 w 3600000"/>
              <a:gd name="connsiteY21" fmla="*/ 159402 h 3600000"/>
              <a:gd name="connsiteX22" fmla="*/ 3440598 w 3600000"/>
              <a:gd name="connsiteY22" fmla="*/ 72000 h 3600000"/>
              <a:gd name="connsiteX23" fmla="*/ 2350595 w 3600000"/>
              <a:gd name="connsiteY23" fmla="*/ 72000 h 3600000"/>
              <a:gd name="connsiteX24" fmla="*/ 91044 w 3600000"/>
              <a:gd name="connsiteY24" fmla="*/ 0 h 3600000"/>
              <a:gd name="connsiteX25" fmla="*/ 1249407 w 3600000"/>
              <a:gd name="connsiteY25" fmla="*/ 0 h 3600000"/>
              <a:gd name="connsiteX26" fmla="*/ 1249407 w 3600000"/>
              <a:gd name="connsiteY26" fmla="*/ 72000 h 3600000"/>
              <a:gd name="connsiteX27" fmla="*/ 159402 w 3600000"/>
              <a:gd name="connsiteY27" fmla="*/ 72000 h 3600000"/>
              <a:gd name="connsiteX28" fmla="*/ 72000 w 3600000"/>
              <a:gd name="connsiteY28" fmla="*/ 159402 h 3600000"/>
              <a:gd name="connsiteX29" fmla="*/ 72000 w 3600000"/>
              <a:gd name="connsiteY29" fmla="*/ 1249406 h 3600000"/>
              <a:gd name="connsiteX30" fmla="*/ 0 w 3600000"/>
              <a:gd name="connsiteY30" fmla="*/ 1249406 h 3600000"/>
              <a:gd name="connsiteX31" fmla="*/ 0 w 3600000"/>
              <a:gd name="connsiteY31" fmla="*/ 91044 h 3600000"/>
              <a:gd name="connsiteX32" fmla="*/ 91044 w 3600000"/>
              <a:gd name="connsiteY32" fmla="*/ 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0000" h="3600000">
                <a:moveTo>
                  <a:pt x="3528000" y="2350594"/>
                </a:moveTo>
                <a:lnTo>
                  <a:pt x="3600000" y="2350594"/>
                </a:lnTo>
                <a:lnTo>
                  <a:pt x="3600000" y="3508956"/>
                </a:lnTo>
                <a:cubicBezTo>
                  <a:pt x="3600000" y="3559238"/>
                  <a:pt x="3559238" y="3600000"/>
                  <a:pt x="3508956" y="3600000"/>
                </a:cubicBezTo>
                <a:lnTo>
                  <a:pt x="2350595" y="3600000"/>
                </a:lnTo>
                <a:lnTo>
                  <a:pt x="2350595" y="3528000"/>
                </a:lnTo>
                <a:lnTo>
                  <a:pt x="3440598" y="3528000"/>
                </a:lnTo>
                <a:cubicBezTo>
                  <a:pt x="3488869" y="3528000"/>
                  <a:pt x="3528000" y="3488869"/>
                  <a:pt x="3528000" y="3440598"/>
                </a:cubicBezTo>
                <a:close/>
                <a:moveTo>
                  <a:pt x="0" y="2350594"/>
                </a:moveTo>
                <a:lnTo>
                  <a:pt x="72000" y="2350594"/>
                </a:lnTo>
                <a:lnTo>
                  <a:pt x="72000" y="3440598"/>
                </a:lnTo>
                <a:cubicBezTo>
                  <a:pt x="72000" y="3488869"/>
                  <a:pt x="111131" y="3528000"/>
                  <a:pt x="159402" y="3528000"/>
                </a:cubicBezTo>
                <a:lnTo>
                  <a:pt x="1249407" y="3528000"/>
                </a:lnTo>
                <a:lnTo>
                  <a:pt x="1249407" y="3600000"/>
                </a:lnTo>
                <a:lnTo>
                  <a:pt x="91044" y="3600000"/>
                </a:lnTo>
                <a:cubicBezTo>
                  <a:pt x="40762" y="3600000"/>
                  <a:pt x="0" y="3559238"/>
                  <a:pt x="0" y="3508956"/>
                </a:cubicBezTo>
                <a:close/>
                <a:moveTo>
                  <a:pt x="2350595" y="0"/>
                </a:moveTo>
                <a:lnTo>
                  <a:pt x="3508956" y="0"/>
                </a:lnTo>
                <a:cubicBezTo>
                  <a:pt x="3559238" y="0"/>
                  <a:pt x="3600000" y="40762"/>
                  <a:pt x="3600000" y="91044"/>
                </a:cubicBezTo>
                <a:lnTo>
                  <a:pt x="3600000" y="1249406"/>
                </a:lnTo>
                <a:lnTo>
                  <a:pt x="3528000" y="1249406"/>
                </a:lnTo>
                <a:lnTo>
                  <a:pt x="3528000" y="159402"/>
                </a:lnTo>
                <a:cubicBezTo>
                  <a:pt x="3528000" y="111131"/>
                  <a:pt x="3488869" y="72000"/>
                  <a:pt x="3440598" y="72000"/>
                </a:cubicBezTo>
                <a:lnTo>
                  <a:pt x="2350595" y="72000"/>
                </a:lnTo>
                <a:close/>
                <a:moveTo>
                  <a:pt x="91044" y="0"/>
                </a:moveTo>
                <a:lnTo>
                  <a:pt x="1249407" y="0"/>
                </a:lnTo>
                <a:lnTo>
                  <a:pt x="1249407" y="72000"/>
                </a:lnTo>
                <a:lnTo>
                  <a:pt x="159402" y="72000"/>
                </a:lnTo>
                <a:cubicBezTo>
                  <a:pt x="111131" y="72000"/>
                  <a:pt x="72000" y="111131"/>
                  <a:pt x="72000" y="159402"/>
                </a:cubicBezTo>
                <a:lnTo>
                  <a:pt x="72000" y="1249406"/>
                </a:lnTo>
                <a:lnTo>
                  <a:pt x="0" y="1249406"/>
                </a:lnTo>
                <a:lnTo>
                  <a:pt x="0" y="91044"/>
                </a:lnTo>
                <a:cubicBezTo>
                  <a:pt x="0" y="40762"/>
                  <a:pt x="40762" y="0"/>
                  <a:pt x="9104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b="1" dirty="0">
                <a:solidFill>
                  <a:schemeClr val="tx1"/>
                </a:solidFill>
                <a:latin typeface="Tahoma" panose="020B0604030504040204" pitchFamily="34" charset="0"/>
                <a:ea typeface="Tahoma" panose="020B0604030504040204" pitchFamily="34" charset="0"/>
                <a:cs typeface="Tahoma" panose="020B0604030504040204" pitchFamily="34" charset="0"/>
              </a:rPr>
              <a:t>SAVE MODEL</a:t>
            </a:r>
          </a:p>
        </p:txBody>
      </p:sp>
      <p:sp>
        <p:nvSpPr>
          <p:cNvPr id="17" name="Oval 16">
            <a:extLst>
              <a:ext uri="{FF2B5EF4-FFF2-40B4-BE49-F238E27FC236}">
                <a16:creationId xmlns:a16="http://schemas.microsoft.com/office/drawing/2014/main" id="{9C59489A-2F46-8587-F740-3ABF106F457B}"/>
              </a:ext>
            </a:extLst>
          </p:cNvPr>
          <p:cNvSpPr>
            <a:spLocks noChangeAspect="1"/>
          </p:cNvSpPr>
          <p:nvPr/>
        </p:nvSpPr>
        <p:spPr>
          <a:xfrm>
            <a:off x="1223345" y="1509358"/>
            <a:ext cx="240369" cy="24036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dirty="0">
                <a:latin typeface="Tahoma" panose="020B0604030504040204" pitchFamily="34" charset="0"/>
                <a:ea typeface="Tahoma" panose="020B0604030504040204" pitchFamily="34" charset="0"/>
                <a:cs typeface="Tahoma" panose="020B0604030504040204" pitchFamily="34" charset="0"/>
              </a:rPr>
              <a:t>01</a:t>
            </a:r>
          </a:p>
        </p:txBody>
      </p:sp>
      <p:sp>
        <p:nvSpPr>
          <p:cNvPr id="18" name="Oval 17">
            <a:extLst>
              <a:ext uri="{FF2B5EF4-FFF2-40B4-BE49-F238E27FC236}">
                <a16:creationId xmlns:a16="http://schemas.microsoft.com/office/drawing/2014/main" id="{BD49E90F-5C71-08A5-E7EF-DD1BEC706A7A}"/>
              </a:ext>
            </a:extLst>
          </p:cNvPr>
          <p:cNvSpPr>
            <a:spLocks noChangeAspect="1"/>
          </p:cNvSpPr>
          <p:nvPr/>
        </p:nvSpPr>
        <p:spPr>
          <a:xfrm>
            <a:off x="3375659" y="1509358"/>
            <a:ext cx="240369" cy="2403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dirty="0">
                <a:latin typeface="Tahoma" panose="020B0604030504040204" pitchFamily="34" charset="0"/>
                <a:ea typeface="Tahoma" panose="020B0604030504040204" pitchFamily="34" charset="0"/>
                <a:cs typeface="Tahoma" panose="020B0604030504040204" pitchFamily="34" charset="0"/>
              </a:rPr>
              <a:t>02</a:t>
            </a:r>
          </a:p>
        </p:txBody>
      </p:sp>
      <p:sp>
        <p:nvSpPr>
          <p:cNvPr id="19" name="Oval 18">
            <a:extLst>
              <a:ext uri="{FF2B5EF4-FFF2-40B4-BE49-F238E27FC236}">
                <a16:creationId xmlns:a16="http://schemas.microsoft.com/office/drawing/2014/main" id="{187E0EA9-F99E-E8D4-4AEF-2D3E917AF023}"/>
              </a:ext>
            </a:extLst>
          </p:cNvPr>
          <p:cNvSpPr>
            <a:spLocks noChangeAspect="1"/>
          </p:cNvSpPr>
          <p:nvPr/>
        </p:nvSpPr>
        <p:spPr>
          <a:xfrm>
            <a:off x="5527972" y="1509358"/>
            <a:ext cx="240369" cy="24036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b="1" dirty="0">
                <a:latin typeface="Tahoma" panose="020B0604030504040204" pitchFamily="34" charset="0"/>
                <a:ea typeface="Tahoma" panose="020B0604030504040204" pitchFamily="34" charset="0"/>
                <a:cs typeface="Tahoma" panose="020B0604030504040204" pitchFamily="34" charset="0"/>
              </a:rPr>
              <a:t>03</a:t>
            </a:r>
          </a:p>
        </p:txBody>
      </p:sp>
      <p:sp>
        <p:nvSpPr>
          <p:cNvPr id="20" name="Oval 19">
            <a:extLst>
              <a:ext uri="{FF2B5EF4-FFF2-40B4-BE49-F238E27FC236}">
                <a16:creationId xmlns:a16="http://schemas.microsoft.com/office/drawing/2014/main" id="{936BE828-0CD4-B10C-3579-D8B8931E7848}"/>
              </a:ext>
            </a:extLst>
          </p:cNvPr>
          <p:cNvSpPr>
            <a:spLocks noChangeAspect="1"/>
          </p:cNvSpPr>
          <p:nvPr/>
        </p:nvSpPr>
        <p:spPr>
          <a:xfrm>
            <a:off x="7680286" y="1509358"/>
            <a:ext cx="240369" cy="2403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50" dirty="0">
                <a:latin typeface="Tahoma" panose="020B0604030504040204" pitchFamily="34" charset="0"/>
                <a:ea typeface="Tahoma" panose="020B0604030504040204" pitchFamily="34" charset="0"/>
                <a:cs typeface="Tahoma" panose="020B0604030504040204" pitchFamily="34" charset="0"/>
              </a:rPr>
              <a:t>04</a:t>
            </a:r>
          </a:p>
        </p:txBody>
      </p:sp>
      <p:sp>
        <p:nvSpPr>
          <p:cNvPr id="22" name="Arrow14" descr="{&quot;Key&quot;:&quot;POWER_USER_SHAPE_ICON&quot;,&quot;Value&quot;:&quot;POWER_USER_SHAPE_ICON_STYLE_1&quot;}">
            <a:extLst>
              <a:ext uri="{FF2B5EF4-FFF2-40B4-BE49-F238E27FC236}">
                <a16:creationId xmlns:a16="http://schemas.microsoft.com/office/drawing/2014/main" id="{3C0574FF-3FE3-9518-8E7A-17FD278594FD}"/>
              </a:ext>
            </a:extLst>
          </p:cNvPr>
          <p:cNvSpPr>
            <a:spLocks noChangeAspect="1"/>
          </p:cNvSpPr>
          <p:nvPr/>
        </p:nvSpPr>
        <p:spPr>
          <a:xfrm rot="2700000">
            <a:off x="2309336" y="2057138"/>
            <a:ext cx="220700" cy="220338"/>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buClrTx/>
              <a:defRPr/>
            </a:pPr>
            <a:endParaRPr lang="en-US" sz="1350" kern="1200" dirty="0">
              <a:solidFill>
                <a:prstClr val="white"/>
              </a:solidFill>
              <a:latin typeface="Calibri" panose="020F0502020204030204"/>
            </a:endParaRPr>
          </a:p>
        </p:txBody>
      </p:sp>
      <p:sp>
        <p:nvSpPr>
          <p:cNvPr id="23" name="Arrow14" descr="{&quot;Key&quot;:&quot;POWER_USER_SHAPE_ICON&quot;,&quot;Value&quot;:&quot;POWER_USER_SHAPE_ICON_STYLE_1&quot;}">
            <a:extLst>
              <a:ext uri="{FF2B5EF4-FFF2-40B4-BE49-F238E27FC236}">
                <a16:creationId xmlns:a16="http://schemas.microsoft.com/office/drawing/2014/main" id="{74933F66-7D0D-7996-888C-F4E1C85A6942}"/>
              </a:ext>
            </a:extLst>
          </p:cNvPr>
          <p:cNvSpPr>
            <a:spLocks noChangeAspect="1"/>
          </p:cNvSpPr>
          <p:nvPr/>
        </p:nvSpPr>
        <p:spPr>
          <a:xfrm rot="2700000">
            <a:off x="4461650" y="2057138"/>
            <a:ext cx="220700" cy="220338"/>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buClrTx/>
              <a:defRPr/>
            </a:pPr>
            <a:endParaRPr lang="en-US" sz="1350" kern="1200" dirty="0">
              <a:solidFill>
                <a:prstClr val="white"/>
              </a:solidFill>
              <a:latin typeface="Calibri" panose="020F0502020204030204"/>
            </a:endParaRPr>
          </a:p>
        </p:txBody>
      </p:sp>
      <p:sp>
        <p:nvSpPr>
          <p:cNvPr id="24" name="Arrow14" descr="{&quot;Key&quot;:&quot;POWER_USER_SHAPE_ICON&quot;,&quot;Value&quot;:&quot;POWER_USER_SHAPE_ICON_STYLE_1&quot;}">
            <a:extLst>
              <a:ext uri="{FF2B5EF4-FFF2-40B4-BE49-F238E27FC236}">
                <a16:creationId xmlns:a16="http://schemas.microsoft.com/office/drawing/2014/main" id="{97FC1BED-2F18-024F-CEE8-737DFEC841EB}"/>
              </a:ext>
            </a:extLst>
          </p:cNvPr>
          <p:cNvSpPr>
            <a:spLocks noChangeAspect="1"/>
          </p:cNvSpPr>
          <p:nvPr/>
        </p:nvSpPr>
        <p:spPr>
          <a:xfrm rot="2700000">
            <a:off x="6613964" y="2057138"/>
            <a:ext cx="220700" cy="220338"/>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buClrTx/>
              <a:defRPr/>
            </a:pPr>
            <a:endParaRPr lang="en-US" sz="1350" kern="1200" dirty="0">
              <a:solidFill>
                <a:prstClr val="white"/>
              </a:solidFill>
              <a:latin typeface="Calibri" panose="020F0502020204030204"/>
            </a:endParaRPr>
          </a:p>
        </p:txBody>
      </p:sp>
      <p:sp>
        <p:nvSpPr>
          <p:cNvPr id="3" name="TextBox 2">
            <a:extLst>
              <a:ext uri="{FF2B5EF4-FFF2-40B4-BE49-F238E27FC236}">
                <a16:creationId xmlns:a16="http://schemas.microsoft.com/office/drawing/2014/main" id="{3748B251-7F00-511C-F764-AC7B4C6F5077}"/>
              </a:ext>
            </a:extLst>
          </p:cNvPr>
          <p:cNvSpPr txBox="1"/>
          <p:nvPr/>
        </p:nvSpPr>
        <p:spPr>
          <a:xfrm>
            <a:off x="212222" y="2894789"/>
            <a:ext cx="2262614" cy="507831"/>
          </a:xfrm>
          <a:prstGeom prst="rect">
            <a:avLst/>
          </a:prstGeom>
          <a:noFill/>
        </p:spPr>
        <p:txBody>
          <a:bodyPr wrap="square" rtlCol="0">
            <a:spAutoFit/>
          </a:bodyPr>
          <a:lstStyle/>
          <a:p>
            <a:pPr marL="228600" indent="-228600">
              <a:buAutoNum type="arabicPeriod"/>
            </a:pPr>
            <a:r>
              <a:rPr lang="en-US" sz="900" dirty="0" err="1">
                <a:latin typeface="Tahoma" panose="020B0604030504040204" pitchFamily="34" charset="0"/>
                <a:ea typeface="Tahoma" panose="020B0604030504040204" pitchFamily="34" charset="0"/>
                <a:cs typeface="Tahoma" panose="020B0604030504040204" pitchFamily="34" charset="0"/>
              </a:rPr>
              <a:t>fixDataType</a:t>
            </a:r>
            <a:r>
              <a:rPr lang="en-US" sz="900" dirty="0">
                <a:latin typeface="Tahoma" panose="020B0604030504040204" pitchFamily="34" charset="0"/>
                <a:ea typeface="Tahoma" panose="020B0604030504040204" pitchFamily="34" charset="0"/>
                <a:cs typeface="Tahoma" panose="020B0604030504040204" pitchFamily="34" charset="0"/>
              </a:rPr>
              <a:t>(), replace() , drop()</a:t>
            </a:r>
          </a:p>
          <a:p>
            <a:pPr marL="228600" indent="-228600">
              <a:buAutoNum type="arabicPeriod"/>
            </a:pPr>
            <a:r>
              <a:rPr lang="en-US" sz="900" dirty="0" err="1">
                <a:latin typeface="Tahoma" panose="020B0604030504040204" pitchFamily="34" charset="0"/>
                <a:ea typeface="Tahoma" panose="020B0604030504040204" pitchFamily="34" charset="0"/>
                <a:cs typeface="Tahoma" panose="020B0604030504040204" pitchFamily="34" charset="0"/>
              </a:rPr>
              <a:t>transformTargetLabel</a:t>
            </a:r>
            <a:r>
              <a:rPr lang="en-US" sz="900" dirty="0">
                <a:latin typeface="Tahoma" panose="020B0604030504040204" pitchFamily="34" charset="0"/>
                <a:ea typeface="Tahoma" panose="020B0604030504040204" pitchFamily="34" charset="0"/>
                <a:cs typeface="Tahoma" panose="020B0604030504040204" pitchFamily="34" charset="0"/>
              </a:rPr>
              <a:t>()</a:t>
            </a:r>
          </a:p>
          <a:p>
            <a:pPr marL="228600" indent="-228600">
              <a:buAutoNum type="arabicPeriod"/>
            </a:pPr>
            <a:r>
              <a:rPr lang="en-US" sz="900" dirty="0">
                <a:latin typeface="Tahoma" panose="020B0604030504040204" pitchFamily="34" charset="0"/>
                <a:ea typeface="Tahoma" panose="020B0604030504040204" pitchFamily="34" charset="0"/>
                <a:cs typeface="Tahoma" panose="020B0604030504040204" pitchFamily="34" charset="0"/>
              </a:rPr>
              <a:t>SMOTE</a:t>
            </a:r>
          </a:p>
        </p:txBody>
      </p:sp>
      <p:sp>
        <p:nvSpPr>
          <p:cNvPr id="4" name="TextBox 3">
            <a:extLst>
              <a:ext uri="{FF2B5EF4-FFF2-40B4-BE49-F238E27FC236}">
                <a16:creationId xmlns:a16="http://schemas.microsoft.com/office/drawing/2014/main" id="{430D9919-0D55-31A2-5FDA-3E2B44F4EB40}"/>
              </a:ext>
            </a:extLst>
          </p:cNvPr>
          <p:cNvSpPr txBox="1"/>
          <p:nvPr/>
        </p:nvSpPr>
        <p:spPr>
          <a:xfrm>
            <a:off x="2718998" y="3134275"/>
            <a:ext cx="2112081" cy="1477328"/>
          </a:xfrm>
          <a:prstGeom prst="rect">
            <a:avLst/>
          </a:prstGeom>
          <a:noFill/>
        </p:spPr>
        <p:txBody>
          <a:bodyPr wrap="square" rtlCol="0">
            <a:spAutoFit/>
          </a:bodyPr>
          <a:lstStyle/>
          <a:p>
            <a:r>
              <a:rPr lang="en-US" sz="900" dirty="0" err="1">
                <a:latin typeface="Tahoma" panose="020B0604030504040204" pitchFamily="34" charset="0"/>
                <a:ea typeface="Tahoma" panose="020B0604030504040204" pitchFamily="34" charset="0"/>
                <a:cs typeface="Tahoma" panose="020B0604030504040204" pitchFamily="34" charset="0"/>
              </a:rPr>
              <a:t>rf_model</a:t>
            </a:r>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solidFill>
                  <a:schemeClr val="accent1"/>
                </a:solidFill>
                <a:latin typeface="Tahoma" panose="020B0604030504040204" pitchFamily="34" charset="0"/>
                <a:ea typeface="Tahoma" panose="020B0604030504040204" pitchFamily="34" charset="0"/>
                <a:cs typeface="Tahoma" panose="020B0604030504040204" pitchFamily="34" charset="0"/>
              </a:rPr>
              <a:t>RandomForestClassifier</a:t>
            </a:r>
            <a:r>
              <a:rPr lang="en-US" sz="900" dirty="0">
                <a:latin typeface="Tahoma" panose="020B0604030504040204" pitchFamily="34" charset="0"/>
                <a:ea typeface="Tahoma" panose="020B0604030504040204" pitchFamily="34" charset="0"/>
                <a:cs typeface="Tahoma" panose="020B0604030504040204" pitchFamily="34" charset="0"/>
              </a:rPr>
              <a:t>(</a:t>
            </a:r>
          </a:p>
          <a:p>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n_estimators</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a:solidFill>
                  <a:schemeClr val="accent2"/>
                </a:solidFill>
                <a:latin typeface="Tahoma" panose="020B0604030504040204" pitchFamily="34" charset="0"/>
                <a:ea typeface="Tahoma" panose="020B0604030504040204" pitchFamily="34" charset="0"/>
                <a:cs typeface="Tahoma" panose="020B0604030504040204" pitchFamily="34" charset="0"/>
              </a:rPr>
              <a:t>100</a:t>
            </a:r>
            <a:r>
              <a:rPr lang="en-US" sz="900" dirty="0">
                <a:latin typeface="Tahoma" panose="020B0604030504040204" pitchFamily="34" charset="0"/>
                <a:ea typeface="Tahoma" panose="020B0604030504040204" pitchFamily="34" charset="0"/>
                <a:cs typeface="Tahoma" panose="020B0604030504040204" pitchFamily="34" charset="0"/>
              </a:rPr>
              <a:t>,</a:t>
            </a:r>
          </a:p>
          <a:p>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max_depth</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a:solidFill>
                  <a:schemeClr val="accent2"/>
                </a:solidFill>
                <a:latin typeface="Tahoma" panose="020B0604030504040204" pitchFamily="34" charset="0"/>
                <a:ea typeface="Tahoma" panose="020B0604030504040204" pitchFamily="34" charset="0"/>
                <a:cs typeface="Tahoma" panose="020B0604030504040204" pitchFamily="34" charset="0"/>
              </a:rPr>
              <a:t>15</a:t>
            </a:r>
            <a:r>
              <a:rPr lang="en-US" sz="900" dirty="0">
                <a:latin typeface="Tahoma" panose="020B0604030504040204" pitchFamily="34" charset="0"/>
                <a:ea typeface="Tahoma" panose="020B0604030504040204" pitchFamily="34" charset="0"/>
                <a:cs typeface="Tahoma" panose="020B0604030504040204" pitchFamily="34" charset="0"/>
              </a:rPr>
              <a:t>,  # Limiting tree depth to reduce overfitting</a:t>
            </a:r>
          </a:p>
          <a:p>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min_samples_split</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a:solidFill>
                  <a:schemeClr val="accent2"/>
                </a:solidFill>
                <a:latin typeface="Tahoma" panose="020B0604030504040204" pitchFamily="34" charset="0"/>
                <a:ea typeface="Tahoma" panose="020B0604030504040204" pitchFamily="34" charset="0"/>
                <a:cs typeface="Tahoma" panose="020B0604030504040204" pitchFamily="34" charset="0"/>
              </a:rPr>
              <a:t>10</a:t>
            </a:r>
            <a:r>
              <a:rPr lang="en-US" sz="900" dirty="0">
                <a:latin typeface="Tahoma" panose="020B0604030504040204" pitchFamily="34" charset="0"/>
                <a:ea typeface="Tahoma" panose="020B0604030504040204" pitchFamily="34" charset="0"/>
                <a:cs typeface="Tahoma" panose="020B0604030504040204" pitchFamily="34" charset="0"/>
              </a:rPr>
              <a:t>,  # Minimum samples to split a node</a:t>
            </a:r>
          </a:p>
          <a:p>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min_samples_leaf</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a:solidFill>
                  <a:schemeClr val="accent2"/>
                </a:solidFill>
                <a:latin typeface="Tahoma" panose="020B0604030504040204" pitchFamily="34" charset="0"/>
                <a:ea typeface="Tahoma" panose="020B0604030504040204" pitchFamily="34" charset="0"/>
                <a:cs typeface="Tahoma" panose="020B0604030504040204" pitchFamily="34" charset="0"/>
              </a:rPr>
              <a:t>5</a:t>
            </a:r>
            <a:r>
              <a:rPr lang="en-US" sz="900" dirty="0">
                <a:latin typeface="Tahoma" panose="020B0604030504040204" pitchFamily="34" charset="0"/>
                <a:ea typeface="Tahoma" panose="020B0604030504040204" pitchFamily="34" charset="0"/>
                <a:cs typeface="Tahoma" panose="020B0604030504040204" pitchFamily="34" charset="0"/>
              </a:rPr>
              <a:t>,    # Minimum samples in a leaf</a:t>
            </a:r>
          </a:p>
          <a:p>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random_state</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a:solidFill>
                  <a:schemeClr val="accent2"/>
                </a:solidFill>
                <a:latin typeface="Tahoma" panose="020B0604030504040204" pitchFamily="34" charset="0"/>
                <a:ea typeface="Tahoma" panose="020B0604030504040204" pitchFamily="34" charset="0"/>
                <a:cs typeface="Tahoma" panose="020B0604030504040204" pitchFamily="34" charset="0"/>
              </a:rPr>
              <a:t>42</a:t>
            </a:r>
          </a:p>
          <a:p>
            <a:r>
              <a:rPr lang="en-US" sz="900" dirty="0">
                <a:latin typeface="Tahoma" panose="020B0604030504040204" pitchFamily="34" charset="0"/>
                <a:ea typeface="Tahoma" panose="020B0604030504040204" pitchFamily="34" charset="0"/>
                <a:cs typeface="Tahoma" panose="020B0604030504040204" pitchFamily="34" charset="0"/>
              </a:rPr>
              <a:t>)</a:t>
            </a:r>
          </a:p>
        </p:txBody>
      </p:sp>
      <p:sp>
        <p:nvSpPr>
          <p:cNvPr id="5" name="TextBox 4">
            <a:extLst>
              <a:ext uri="{FF2B5EF4-FFF2-40B4-BE49-F238E27FC236}">
                <a16:creationId xmlns:a16="http://schemas.microsoft.com/office/drawing/2014/main" id="{30545D5B-47EA-31E9-F9BE-A3B0C85BA0C7}"/>
              </a:ext>
            </a:extLst>
          </p:cNvPr>
          <p:cNvSpPr txBox="1"/>
          <p:nvPr/>
        </p:nvSpPr>
        <p:spPr>
          <a:xfrm>
            <a:off x="4871312" y="3134275"/>
            <a:ext cx="1808888" cy="1061829"/>
          </a:xfrm>
          <a:prstGeom prst="rect">
            <a:avLst/>
          </a:prstGeom>
          <a:noFill/>
        </p:spPr>
        <p:txBody>
          <a:bodyPr wrap="square" rtlCol="0">
            <a:spAutoFit/>
          </a:bodyPr>
          <a:lstStyle/>
          <a:p>
            <a:r>
              <a:rPr lang="en-US" sz="900" dirty="0" err="1">
                <a:solidFill>
                  <a:schemeClr val="accent1"/>
                </a:solidFill>
                <a:latin typeface="Tahoma" panose="020B0604030504040204" pitchFamily="34" charset="0"/>
                <a:ea typeface="Tahoma" panose="020B0604030504040204" pitchFamily="34" charset="0"/>
                <a:cs typeface="Tahoma" panose="020B0604030504040204" pitchFamily="34" charset="0"/>
              </a:rPr>
              <a:t>cross_val_score</a:t>
            </a:r>
            <a:r>
              <a:rPr lang="en-US" sz="900" dirty="0">
                <a:latin typeface="Tahoma" panose="020B0604030504040204" pitchFamily="34" charset="0"/>
                <a:ea typeface="Tahoma" panose="020B0604030504040204" pitchFamily="34" charset="0"/>
                <a:cs typeface="Tahoma" panose="020B0604030504040204" pitchFamily="34" charset="0"/>
              </a:rPr>
              <a:t>(</a:t>
            </a:r>
            <a:r>
              <a:rPr lang="en-US" sz="900" dirty="0" err="1">
                <a:latin typeface="Tahoma" panose="020B0604030504040204" pitchFamily="34" charset="0"/>
                <a:ea typeface="Tahoma" panose="020B0604030504040204" pitchFamily="34" charset="0"/>
                <a:cs typeface="Tahoma" panose="020B0604030504040204" pitchFamily="34" charset="0"/>
              </a:rPr>
              <a:t>rf_model</a:t>
            </a:r>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X_train</a:t>
            </a:r>
            <a:r>
              <a:rPr lang="en-US" sz="900" dirty="0">
                <a:latin typeface="Tahoma" panose="020B0604030504040204" pitchFamily="34" charset="0"/>
                <a:ea typeface="Tahoma" panose="020B0604030504040204" pitchFamily="34" charset="0"/>
                <a:cs typeface="Tahoma" panose="020B0604030504040204" pitchFamily="34" charset="0"/>
              </a:rPr>
              <a:t>, </a:t>
            </a:r>
            <a:r>
              <a:rPr lang="en-US" sz="900" dirty="0" err="1">
                <a:latin typeface="Tahoma" panose="020B0604030504040204" pitchFamily="34" charset="0"/>
                <a:ea typeface="Tahoma" panose="020B0604030504040204" pitchFamily="34" charset="0"/>
                <a:cs typeface="Tahoma" panose="020B0604030504040204" pitchFamily="34" charset="0"/>
              </a:rPr>
              <a:t>y_train</a:t>
            </a:r>
            <a:r>
              <a:rPr lang="en-US" sz="900" dirty="0">
                <a:latin typeface="Tahoma" panose="020B0604030504040204" pitchFamily="34" charset="0"/>
                <a:ea typeface="Tahoma" panose="020B0604030504040204" pitchFamily="34" charset="0"/>
                <a:cs typeface="Tahoma" panose="020B0604030504040204" pitchFamily="34" charset="0"/>
              </a:rPr>
              <a:t>, cv=cv, scoring='</a:t>
            </a:r>
            <a:r>
              <a:rPr lang="en-US" sz="900" dirty="0">
                <a:solidFill>
                  <a:srgbClr val="92D050"/>
                </a:solidFill>
                <a:latin typeface="Tahoma" panose="020B0604030504040204" pitchFamily="34" charset="0"/>
                <a:ea typeface="Tahoma" panose="020B0604030504040204" pitchFamily="34" charset="0"/>
                <a:cs typeface="Tahoma" panose="020B0604030504040204" pitchFamily="34" charset="0"/>
              </a:rPr>
              <a:t>accuracy</a:t>
            </a:r>
            <a:r>
              <a:rPr lang="en-US" sz="900" dirty="0">
                <a:latin typeface="Tahoma" panose="020B0604030504040204" pitchFamily="34" charset="0"/>
                <a:ea typeface="Tahoma" panose="020B0604030504040204" pitchFamily="34" charset="0"/>
                <a:cs typeface="Tahoma" panose="020B0604030504040204" pitchFamily="34" charset="0"/>
              </a:rPr>
              <a:t>')</a:t>
            </a:r>
          </a:p>
          <a:p>
            <a:endParaRPr lang="en-US" sz="900" dirty="0">
              <a:latin typeface="Tahoma" panose="020B0604030504040204" pitchFamily="34" charset="0"/>
              <a:ea typeface="Tahoma" panose="020B0604030504040204" pitchFamily="34" charset="0"/>
              <a:cs typeface="Tahoma" panose="020B0604030504040204" pitchFamily="34" charset="0"/>
            </a:endParaRPr>
          </a:p>
          <a:p>
            <a:r>
              <a:rPr lang="en-US" sz="900" dirty="0">
                <a:latin typeface="Tahoma" panose="020B0604030504040204" pitchFamily="34" charset="0"/>
                <a:ea typeface="Tahoma" panose="020B0604030504040204" pitchFamily="34" charset="0"/>
                <a:cs typeface="Tahoma" panose="020B0604030504040204" pitchFamily="34" charset="0"/>
              </a:rPr>
              <a:t>classification report</a:t>
            </a:r>
          </a:p>
          <a:p>
            <a:endParaRPr lang="en-US" sz="900" dirty="0">
              <a:latin typeface="Tahoma" panose="020B0604030504040204" pitchFamily="34" charset="0"/>
              <a:ea typeface="Tahoma" panose="020B0604030504040204" pitchFamily="34" charset="0"/>
              <a:cs typeface="Tahoma" panose="020B0604030504040204" pitchFamily="34" charset="0"/>
            </a:endParaRPr>
          </a:p>
          <a:p>
            <a:r>
              <a:rPr lang="en-US" sz="900" dirty="0">
                <a:latin typeface="Tahoma" panose="020B0604030504040204" pitchFamily="34" charset="0"/>
                <a:ea typeface="Tahoma" panose="020B0604030504040204" pitchFamily="34" charset="0"/>
                <a:cs typeface="Tahoma" panose="020B0604030504040204" pitchFamily="34" charset="0"/>
              </a:rPr>
              <a:t>confusion matrix</a:t>
            </a:r>
          </a:p>
        </p:txBody>
      </p:sp>
      <p:sp>
        <p:nvSpPr>
          <p:cNvPr id="6" name="TextBox 5">
            <a:extLst>
              <a:ext uri="{FF2B5EF4-FFF2-40B4-BE49-F238E27FC236}">
                <a16:creationId xmlns:a16="http://schemas.microsoft.com/office/drawing/2014/main" id="{589C7E2B-DB69-64B1-C3D7-25245A04453B}"/>
              </a:ext>
            </a:extLst>
          </p:cNvPr>
          <p:cNvSpPr txBox="1"/>
          <p:nvPr/>
        </p:nvSpPr>
        <p:spPr>
          <a:xfrm>
            <a:off x="7100222" y="3129110"/>
            <a:ext cx="1553688" cy="230832"/>
          </a:xfrm>
          <a:prstGeom prst="rect">
            <a:avLst/>
          </a:prstGeom>
          <a:noFill/>
        </p:spPr>
        <p:txBody>
          <a:bodyPr wrap="square" rtlCol="0">
            <a:spAutoFit/>
          </a:bodyPr>
          <a:lstStyle/>
          <a:p>
            <a:r>
              <a:rPr lang="en-US" sz="900" dirty="0">
                <a:solidFill>
                  <a:schemeClr val="accent1"/>
                </a:solidFill>
                <a:latin typeface="Tahoma" panose="020B0604030504040204" pitchFamily="34" charset="0"/>
                <a:ea typeface="Tahoma" panose="020B0604030504040204" pitchFamily="34" charset="0"/>
                <a:cs typeface="Tahoma" panose="020B0604030504040204" pitchFamily="34" charset="0"/>
              </a:rPr>
              <a:t>FINAL_OF_FINAL.PKL</a:t>
            </a:r>
          </a:p>
        </p:txBody>
      </p:sp>
      <p:sp>
        <p:nvSpPr>
          <p:cNvPr id="25" name="Rectangle 45">
            <a:extLst>
              <a:ext uri="{FF2B5EF4-FFF2-40B4-BE49-F238E27FC236}">
                <a16:creationId xmlns:a16="http://schemas.microsoft.com/office/drawing/2014/main" id="{28B3BCE1-7D41-49BF-8298-9E7571616AC2}"/>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70"/>
              </a:solidFill>
              <a:effectLst/>
              <a:uLnTx/>
              <a:uFillTx/>
              <a:latin typeface="Arial" charset="0"/>
              <a:ea typeface="+mn-ea"/>
              <a:cs typeface="+mn-cs"/>
            </a:endParaRPr>
          </a:p>
        </p:txBody>
      </p:sp>
      <p:sp>
        <p:nvSpPr>
          <p:cNvPr id="26" name="Google Shape;412;p18">
            <a:extLst>
              <a:ext uri="{FF2B5EF4-FFF2-40B4-BE49-F238E27FC236}">
                <a16:creationId xmlns:a16="http://schemas.microsoft.com/office/drawing/2014/main" id="{5BBB6ABE-9567-4A49-AA07-489F9DD3BC03}"/>
              </a:ext>
            </a:extLst>
          </p:cNvPr>
          <p:cNvSpPr txBox="1">
            <a:spLocks noGrp="1"/>
          </p:cNvSpPr>
          <p:nvPr>
            <p:ph type="title"/>
          </p:nvPr>
        </p:nvSpPr>
        <p:spPr>
          <a:xfrm>
            <a:off x="424310" y="296800"/>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QUÁ TRÌNH TRAINING</a:t>
            </a:r>
          </a:p>
        </p:txBody>
      </p:sp>
    </p:spTree>
    <p:extLst>
      <p:ext uri="{BB962C8B-B14F-4D97-AF65-F5344CB8AC3E}">
        <p14:creationId xmlns:p14="http://schemas.microsoft.com/office/powerpoint/2010/main" val="111591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6"/>
          <a:srcRect b="5186"/>
          <a:stretch/>
        </p:blipFill>
        <p:spPr>
          <a:xfrm>
            <a:off x="2504436" y="454946"/>
            <a:ext cx="4135127" cy="4670928"/>
          </a:xfrm>
          <a:prstGeom prst="rect">
            <a:avLst/>
          </a:prstGeom>
          <a:ln w="19050" cmpd="dbl">
            <a:solidFill>
              <a:schemeClr val="accent2"/>
            </a:solidFill>
          </a:ln>
        </p:spPr>
      </p:pic>
      <p:sp>
        <p:nvSpPr>
          <p:cNvPr id="33" name="Rectangle 45">
            <a:extLst>
              <a:ext uri="{FF2B5EF4-FFF2-40B4-BE49-F238E27FC236}">
                <a16:creationId xmlns:a16="http://schemas.microsoft.com/office/drawing/2014/main" id="{28B3BCE1-7D41-49BF-8298-9E7571616AC2}"/>
              </a:ext>
            </a:extLst>
          </p:cNvPr>
          <p:cNvSpPr>
            <a:spLocks noChangeArrowheads="1"/>
          </p:cNvSpPr>
          <p:nvPr/>
        </p:nvSpPr>
        <p:spPr bwMode="gray">
          <a:xfrm>
            <a:off x="0" y="-189074"/>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70"/>
              </a:solidFill>
              <a:effectLst/>
              <a:uLnTx/>
              <a:uFillTx/>
              <a:latin typeface="Arial" charset="0"/>
              <a:ea typeface="+mn-ea"/>
              <a:cs typeface="+mn-cs"/>
            </a:endParaRPr>
          </a:p>
        </p:txBody>
      </p:sp>
      <p:sp>
        <p:nvSpPr>
          <p:cNvPr id="34" name="Google Shape;412;p18">
            <a:extLst>
              <a:ext uri="{FF2B5EF4-FFF2-40B4-BE49-F238E27FC236}">
                <a16:creationId xmlns:a16="http://schemas.microsoft.com/office/drawing/2014/main" id="{5BBB6ABE-9567-4A49-AA07-489F9DD3BC03}"/>
              </a:ext>
            </a:extLst>
          </p:cNvPr>
          <p:cNvSpPr txBox="1">
            <a:spLocks noGrp="1"/>
          </p:cNvSpPr>
          <p:nvPr>
            <p:ph type="title"/>
          </p:nvPr>
        </p:nvSpPr>
        <p:spPr>
          <a:xfrm>
            <a:off x="594354" y="-52764"/>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KẾT QUẢ</a:t>
            </a:r>
          </a:p>
        </p:txBody>
      </p:sp>
      <p:grpSp>
        <p:nvGrpSpPr>
          <p:cNvPr id="35" name="Dev"/>
          <p:cNvGrpSpPr>
            <a:grpSpLocks noChangeAspect="1"/>
          </p:cNvGrpSpPr>
          <p:nvPr>
            <p:custDataLst>
              <p:tags r:id="rId1"/>
            </p:custDataLst>
          </p:nvPr>
        </p:nvGrpSpPr>
        <p:grpSpPr>
          <a:xfrm>
            <a:off x="1990985" y="414176"/>
            <a:ext cx="478199" cy="478199"/>
            <a:chOff x="928688" y="3711575"/>
            <a:chExt cx="354013" cy="354013"/>
          </a:xfrm>
        </p:grpSpPr>
        <p:sp>
          <p:nvSpPr>
            <p:cNvPr id="36" name="Oval 371"/>
            <p:cNvSpPr>
              <a:spLocks noChangeArrowheads="1"/>
            </p:cNvSpPr>
            <p:nvPr/>
          </p:nvSpPr>
          <p:spPr bwMode="auto">
            <a:xfrm>
              <a:off x="928688" y="3711575"/>
              <a:ext cx="354013" cy="354013"/>
            </a:xfrm>
            <a:prstGeom prst="ellipse">
              <a:avLst/>
            </a:prstGeom>
            <a:solidFill>
              <a:srgbClr val="9E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2"/>
            <p:cNvSpPr>
              <a:spLocks/>
            </p:cNvSpPr>
            <p:nvPr/>
          </p:nvSpPr>
          <p:spPr bwMode="auto">
            <a:xfrm>
              <a:off x="1150938" y="3844925"/>
              <a:ext cx="85725" cy="109538"/>
            </a:xfrm>
            <a:custGeom>
              <a:avLst/>
              <a:gdLst>
                <a:gd name="T0" fmla="*/ 38 w 256"/>
                <a:gd name="T1" fmla="*/ 333 h 333"/>
                <a:gd name="T2" fmla="*/ 10 w 256"/>
                <a:gd name="T3" fmla="*/ 317 h 333"/>
                <a:gd name="T4" fmla="*/ 21 w 256"/>
                <a:gd name="T5" fmla="*/ 272 h 333"/>
                <a:gd name="T6" fmla="*/ 190 w 256"/>
                <a:gd name="T7" fmla="*/ 168 h 333"/>
                <a:gd name="T8" fmla="*/ 190 w 256"/>
                <a:gd name="T9" fmla="*/ 167 h 333"/>
                <a:gd name="T10" fmla="*/ 190 w 256"/>
                <a:gd name="T11" fmla="*/ 166 h 333"/>
                <a:gd name="T12" fmla="*/ 21 w 256"/>
                <a:gd name="T13" fmla="*/ 62 h 333"/>
                <a:gd name="T14" fmla="*/ 10 w 256"/>
                <a:gd name="T15" fmla="*/ 16 h 333"/>
                <a:gd name="T16" fmla="*/ 38 w 256"/>
                <a:gd name="T17" fmla="*/ 0 h 333"/>
                <a:gd name="T18" fmla="*/ 56 w 256"/>
                <a:gd name="T19" fmla="*/ 5 h 333"/>
                <a:gd name="T20" fmla="*/ 233 w 256"/>
                <a:gd name="T21" fmla="*/ 114 h 333"/>
                <a:gd name="T22" fmla="*/ 236 w 256"/>
                <a:gd name="T23" fmla="*/ 117 h 333"/>
                <a:gd name="T24" fmla="*/ 256 w 256"/>
                <a:gd name="T25" fmla="*/ 167 h 333"/>
                <a:gd name="T26" fmla="*/ 236 w 256"/>
                <a:gd name="T27" fmla="*/ 216 h 333"/>
                <a:gd name="T28" fmla="*/ 233 w 256"/>
                <a:gd name="T29" fmla="*/ 219 h 333"/>
                <a:gd name="T30" fmla="*/ 56 w 256"/>
                <a:gd name="T31" fmla="*/ 328 h 333"/>
                <a:gd name="T32" fmla="*/ 38 w 256"/>
                <a:gd name="T33"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333">
                  <a:moveTo>
                    <a:pt x="38" y="333"/>
                  </a:moveTo>
                  <a:cubicBezTo>
                    <a:pt x="27" y="333"/>
                    <a:pt x="16" y="328"/>
                    <a:pt x="10" y="317"/>
                  </a:cubicBezTo>
                  <a:cubicBezTo>
                    <a:pt x="0" y="302"/>
                    <a:pt x="5" y="281"/>
                    <a:pt x="21" y="272"/>
                  </a:cubicBezTo>
                  <a:lnTo>
                    <a:pt x="190" y="168"/>
                  </a:lnTo>
                  <a:lnTo>
                    <a:pt x="190" y="167"/>
                  </a:lnTo>
                  <a:lnTo>
                    <a:pt x="190" y="166"/>
                  </a:lnTo>
                  <a:lnTo>
                    <a:pt x="21" y="62"/>
                  </a:lnTo>
                  <a:cubicBezTo>
                    <a:pt x="5" y="52"/>
                    <a:pt x="0" y="32"/>
                    <a:pt x="10" y="16"/>
                  </a:cubicBezTo>
                  <a:cubicBezTo>
                    <a:pt x="16" y="6"/>
                    <a:pt x="27" y="0"/>
                    <a:pt x="38" y="0"/>
                  </a:cubicBezTo>
                  <a:cubicBezTo>
                    <a:pt x="44" y="0"/>
                    <a:pt x="50" y="2"/>
                    <a:pt x="56" y="5"/>
                  </a:cubicBezTo>
                  <a:lnTo>
                    <a:pt x="233" y="114"/>
                  </a:lnTo>
                  <a:lnTo>
                    <a:pt x="236" y="117"/>
                  </a:lnTo>
                  <a:cubicBezTo>
                    <a:pt x="249" y="130"/>
                    <a:pt x="256" y="148"/>
                    <a:pt x="256" y="167"/>
                  </a:cubicBezTo>
                  <a:cubicBezTo>
                    <a:pt x="256" y="185"/>
                    <a:pt x="249" y="203"/>
                    <a:pt x="236" y="216"/>
                  </a:cubicBezTo>
                  <a:lnTo>
                    <a:pt x="233" y="219"/>
                  </a:lnTo>
                  <a:lnTo>
                    <a:pt x="56" y="328"/>
                  </a:lnTo>
                  <a:cubicBezTo>
                    <a:pt x="50" y="332"/>
                    <a:pt x="44" y="333"/>
                    <a:pt x="38" y="333"/>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3"/>
            <p:cNvSpPr>
              <a:spLocks/>
            </p:cNvSpPr>
            <p:nvPr/>
          </p:nvSpPr>
          <p:spPr bwMode="auto">
            <a:xfrm>
              <a:off x="976313" y="3844925"/>
              <a:ext cx="84138" cy="109538"/>
            </a:xfrm>
            <a:custGeom>
              <a:avLst/>
              <a:gdLst>
                <a:gd name="T0" fmla="*/ 218 w 256"/>
                <a:gd name="T1" fmla="*/ 333 h 333"/>
                <a:gd name="T2" fmla="*/ 200 w 256"/>
                <a:gd name="T3" fmla="*/ 328 h 333"/>
                <a:gd name="T4" fmla="*/ 23 w 256"/>
                <a:gd name="T5" fmla="*/ 219 h 333"/>
                <a:gd name="T6" fmla="*/ 20 w 256"/>
                <a:gd name="T7" fmla="*/ 216 h 333"/>
                <a:gd name="T8" fmla="*/ 0 w 256"/>
                <a:gd name="T9" fmla="*/ 167 h 333"/>
                <a:gd name="T10" fmla="*/ 20 w 256"/>
                <a:gd name="T11" fmla="*/ 117 h 333"/>
                <a:gd name="T12" fmla="*/ 23 w 256"/>
                <a:gd name="T13" fmla="*/ 114 h 333"/>
                <a:gd name="T14" fmla="*/ 200 w 256"/>
                <a:gd name="T15" fmla="*/ 5 h 333"/>
                <a:gd name="T16" fmla="*/ 218 w 256"/>
                <a:gd name="T17" fmla="*/ 0 h 333"/>
                <a:gd name="T18" fmla="*/ 246 w 256"/>
                <a:gd name="T19" fmla="*/ 16 h 333"/>
                <a:gd name="T20" fmla="*/ 235 w 256"/>
                <a:gd name="T21" fmla="*/ 62 h 333"/>
                <a:gd name="T22" fmla="*/ 67 w 256"/>
                <a:gd name="T23" fmla="*/ 166 h 333"/>
                <a:gd name="T24" fmla="*/ 66 w 256"/>
                <a:gd name="T25" fmla="*/ 167 h 333"/>
                <a:gd name="T26" fmla="*/ 67 w 256"/>
                <a:gd name="T27" fmla="*/ 168 h 333"/>
                <a:gd name="T28" fmla="*/ 235 w 256"/>
                <a:gd name="T29" fmla="*/ 272 h 333"/>
                <a:gd name="T30" fmla="*/ 246 w 256"/>
                <a:gd name="T31" fmla="*/ 317 h 333"/>
                <a:gd name="T32" fmla="*/ 218 w 256"/>
                <a:gd name="T33"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333">
                  <a:moveTo>
                    <a:pt x="218" y="333"/>
                  </a:moveTo>
                  <a:cubicBezTo>
                    <a:pt x="212" y="333"/>
                    <a:pt x="206" y="332"/>
                    <a:pt x="200" y="328"/>
                  </a:cubicBezTo>
                  <a:lnTo>
                    <a:pt x="23" y="219"/>
                  </a:lnTo>
                  <a:lnTo>
                    <a:pt x="20" y="216"/>
                  </a:lnTo>
                  <a:cubicBezTo>
                    <a:pt x="7" y="203"/>
                    <a:pt x="0" y="185"/>
                    <a:pt x="0" y="167"/>
                  </a:cubicBezTo>
                  <a:cubicBezTo>
                    <a:pt x="0" y="148"/>
                    <a:pt x="7" y="130"/>
                    <a:pt x="20" y="117"/>
                  </a:cubicBezTo>
                  <a:lnTo>
                    <a:pt x="23" y="114"/>
                  </a:lnTo>
                  <a:lnTo>
                    <a:pt x="200" y="5"/>
                  </a:lnTo>
                  <a:cubicBezTo>
                    <a:pt x="206" y="2"/>
                    <a:pt x="212" y="0"/>
                    <a:pt x="218" y="0"/>
                  </a:cubicBezTo>
                  <a:cubicBezTo>
                    <a:pt x="229" y="0"/>
                    <a:pt x="240" y="6"/>
                    <a:pt x="246" y="16"/>
                  </a:cubicBezTo>
                  <a:cubicBezTo>
                    <a:pt x="256" y="32"/>
                    <a:pt x="251" y="52"/>
                    <a:pt x="235" y="62"/>
                  </a:cubicBezTo>
                  <a:lnTo>
                    <a:pt x="67" y="166"/>
                  </a:lnTo>
                  <a:lnTo>
                    <a:pt x="66" y="167"/>
                  </a:lnTo>
                  <a:lnTo>
                    <a:pt x="67" y="168"/>
                  </a:lnTo>
                  <a:lnTo>
                    <a:pt x="235" y="272"/>
                  </a:lnTo>
                  <a:cubicBezTo>
                    <a:pt x="251" y="281"/>
                    <a:pt x="256" y="302"/>
                    <a:pt x="246" y="317"/>
                  </a:cubicBezTo>
                  <a:cubicBezTo>
                    <a:pt x="240" y="328"/>
                    <a:pt x="229" y="333"/>
                    <a:pt x="218" y="333"/>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4"/>
            <p:cNvSpPr>
              <a:spLocks/>
            </p:cNvSpPr>
            <p:nvPr/>
          </p:nvSpPr>
          <p:spPr bwMode="auto">
            <a:xfrm>
              <a:off x="1057276" y="3794125"/>
              <a:ext cx="96838" cy="211138"/>
            </a:xfrm>
            <a:custGeom>
              <a:avLst/>
              <a:gdLst>
                <a:gd name="T0" fmla="*/ 38 w 292"/>
                <a:gd name="T1" fmla="*/ 633 h 633"/>
                <a:gd name="T2" fmla="*/ 26 w 292"/>
                <a:gd name="T3" fmla="*/ 631 h 633"/>
                <a:gd name="T4" fmla="*/ 7 w 292"/>
                <a:gd name="T5" fmla="*/ 588 h 633"/>
                <a:gd name="T6" fmla="*/ 223 w 292"/>
                <a:gd name="T7" fmla="*/ 21 h 633"/>
                <a:gd name="T8" fmla="*/ 254 w 292"/>
                <a:gd name="T9" fmla="*/ 0 h 633"/>
                <a:gd name="T10" fmla="*/ 266 w 292"/>
                <a:gd name="T11" fmla="*/ 2 h 633"/>
                <a:gd name="T12" fmla="*/ 286 w 292"/>
                <a:gd name="T13" fmla="*/ 45 h 633"/>
                <a:gd name="T14" fmla="*/ 69 w 292"/>
                <a:gd name="T15" fmla="*/ 612 h 633"/>
                <a:gd name="T16" fmla="*/ 38 w 29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633">
                  <a:moveTo>
                    <a:pt x="38" y="633"/>
                  </a:moveTo>
                  <a:cubicBezTo>
                    <a:pt x="34" y="633"/>
                    <a:pt x="30" y="633"/>
                    <a:pt x="26" y="631"/>
                  </a:cubicBezTo>
                  <a:cubicBezTo>
                    <a:pt x="9" y="625"/>
                    <a:pt x="0" y="605"/>
                    <a:pt x="7" y="588"/>
                  </a:cubicBezTo>
                  <a:lnTo>
                    <a:pt x="223" y="21"/>
                  </a:lnTo>
                  <a:cubicBezTo>
                    <a:pt x="228" y="8"/>
                    <a:pt x="241" y="0"/>
                    <a:pt x="254" y="0"/>
                  </a:cubicBezTo>
                  <a:cubicBezTo>
                    <a:pt x="258" y="0"/>
                    <a:pt x="262" y="1"/>
                    <a:pt x="266" y="2"/>
                  </a:cubicBezTo>
                  <a:cubicBezTo>
                    <a:pt x="284" y="9"/>
                    <a:pt x="292" y="28"/>
                    <a:pt x="286" y="45"/>
                  </a:cubicBezTo>
                  <a:lnTo>
                    <a:pt x="69" y="612"/>
                  </a:lnTo>
                  <a:cubicBezTo>
                    <a:pt x="64" y="625"/>
                    <a:pt x="51" y="633"/>
                    <a:pt x="38" y="633"/>
                  </a:cubicBezTo>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75"/>
            <p:cNvSpPr>
              <a:spLocks/>
            </p:cNvSpPr>
            <p:nvPr/>
          </p:nvSpPr>
          <p:spPr bwMode="auto">
            <a:xfrm>
              <a:off x="1150938" y="3832225"/>
              <a:ext cx="87313" cy="111125"/>
            </a:xfrm>
            <a:custGeom>
              <a:avLst/>
              <a:gdLst>
                <a:gd name="T0" fmla="*/ 38 w 263"/>
                <a:gd name="T1" fmla="*/ 338 h 338"/>
                <a:gd name="T2" fmla="*/ 10 w 263"/>
                <a:gd name="T3" fmla="*/ 322 h 338"/>
                <a:gd name="T4" fmla="*/ 21 w 263"/>
                <a:gd name="T5" fmla="*/ 276 h 338"/>
                <a:gd name="T6" fmla="*/ 190 w 263"/>
                <a:gd name="T7" fmla="*/ 172 h 338"/>
                <a:gd name="T8" fmla="*/ 190 w 263"/>
                <a:gd name="T9" fmla="*/ 170 h 338"/>
                <a:gd name="T10" fmla="*/ 21 w 263"/>
                <a:gd name="T11" fmla="*/ 66 h 338"/>
                <a:gd name="T12" fmla="*/ 10 w 263"/>
                <a:gd name="T13" fmla="*/ 20 h 338"/>
                <a:gd name="T14" fmla="*/ 56 w 263"/>
                <a:gd name="T15" fmla="*/ 10 h 338"/>
                <a:gd name="T16" fmla="*/ 233 w 263"/>
                <a:gd name="T17" fmla="*/ 119 h 338"/>
                <a:gd name="T18" fmla="*/ 236 w 263"/>
                <a:gd name="T19" fmla="*/ 122 h 338"/>
                <a:gd name="T20" fmla="*/ 236 w 263"/>
                <a:gd name="T21" fmla="*/ 221 h 338"/>
                <a:gd name="T22" fmla="*/ 233 w 263"/>
                <a:gd name="T23" fmla="*/ 224 h 338"/>
                <a:gd name="T24" fmla="*/ 56 w 263"/>
                <a:gd name="T25" fmla="*/ 333 h 338"/>
                <a:gd name="T26" fmla="*/ 38 w 263"/>
                <a:gd name="T2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 h="338">
                  <a:moveTo>
                    <a:pt x="38" y="338"/>
                  </a:moveTo>
                  <a:cubicBezTo>
                    <a:pt x="27" y="338"/>
                    <a:pt x="16" y="332"/>
                    <a:pt x="10" y="322"/>
                  </a:cubicBezTo>
                  <a:cubicBezTo>
                    <a:pt x="0" y="306"/>
                    <a:pt x="5" y="286"/>
                    <a:pt x="21" y="276"/>
                  </a:cubicBezTo>
                  <a:lnTo>
                    <a:pt x="190" y="172"/>
                  </a:lnTo>
                  <a:lnTo>
                    <a:pt x="190" y="170"/>
                  </a:lnTo>
                  <a:lnTo>
                    <a:pt x="21" y="66"/>
                  </a:lnTo>
                  <a:cubicBezTo>
                    <a:pt x="5" y="57"/>
                    <a:pt x="0" y="36"/>
                    <a:pt x="10" y="20"/>
                  </a:cubicBezTo>
                  <a:cubicBezTo>
                    <a:pt x="20" y="5"/>
                    <a:pt x="40" y="0"/>
                    <a:pt x="56" y="10"/>
                  </a:cubicBezTo>
                  <a:lnTo>
                    <a:pt x="233" y="119"/>
                  </a:lnTo>
                  <a:lnTo>
                    <a:pt x="236" y="122"/>
                  </a:lnTo>
                  <a:cubicBezTo>
                    <a:pt x="263" y="149"/>
                    <a:pt x="263" y="194"/>
                    <a:pt x="236" y="221"/>
                  </a:cubicBezTo>
                  <a:lnTo>
                    <a:pt x="233" y="224"/>
                  </a:lnTo>
                  <a:lnTo>
                    <a:pt x="56" y="333"/>
                  </a:lnTo>
                  <a:cubicBezTo>
                    <a:pt x="50" y="336"/>
                    <a:pt x="44" y="338"/>
                    <a:pt x="38" y="3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76"/>
            <p:cNvSpPr>
              <a:spLocks/>
            </p:cNvSpPr>
            <p:nvPr/>
          </p:nvSpPr>
          <p:spPr bwMode="auto">
            <a:xfrm>
              <a:off x="973138" y="3832225"/>
              <a:ext cx="87313" cy="111125"/>
            </a:xfrm>
            <a:custGeom>
              <a:avLst/>
              <a:gdLst>
                <a:gd name="T0" fmla="*/ 225 w 263"/>
                <a:gd name="T1" fmla="*/ 338 h 338"/>
                <a:gd name="T2" fmla="*/ 207 w 263"/>
                <a:gd name="T3" fmla="*/ 333 h 338"/>
                <a:gd name="T4" fmla="*/ 30 w 263"/>
                <a:gd name="T5" fmla="*/ 224 h 338"/>
                <a:gd name="T6" fmla="*/ 27 w 263"/>
                <a:gd name="T7" fmla="*/ 221 h 338"/>
                <a:gd name="T8" fmla="*/ 27 w 263"/>
                <a:gd name="T9" fmla="*/ 122 h 338"/>
                <a:gd name="T10" fmla="*/ 30 w 263"/>
                <a:gd name="T11" fmla="*/ 119 h 338"/>
                <a:gd name="T12" fmla="*/ 207 w 263"/>
                <a:gd name="T13" fmla="*/ 10 h 338"/>
                <a:gd name="T14" fmla="*/ 253 w 263"/>
                <a:gd name="T15" fmla="*/ 20 h 338"/>
                <a:gd name="T16" fmla="*/ 242 w 263"/>
                <a:gd name="T17" fmla="*/ 66 h 338"/>
                <a:gd name="T18" fmla="*/ 74 w 263"/>
                <a:gd name="T19" fmla="*/ 170 h 338"/>
                <a:gd name="T20" fmla="*/ 74 w 263"/>
                <a:gd name="T21" fmla="*/ 172 h 338"/>
                <a:gd name="T22" fmla="*/ 242 w 263"/>
                <a:gd name="T23" fmla="*/ 276 h 338"/>
                <a:gd name="T24" fmla="*/ 253 w 263"/>
                <a:gd name="T25" fmla="*/ 322 h 338"/>
                <a:gd name="T26" fmla="*/ 225 w 263"/>
                <a:gd name="T2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 h="338">
                  <a:moveTo>
                    <a:pt x="225" y="338"/>
                  </a:moveTo>
                  <a:cubicBezTo>
                    <a:pt x="219" y="338"/>
                    <a:pt x="213" y="336"/>
                    <a:pt x="207" y="333"/>
                  </a:cubicBezTo>
                  <a:lnTo>
                    <a:pt x="30" y="224"/>
                  </a:lnTo>
                  <a:lnTo>
                    <a:pt x="27" y="221"/>
                  </a:lnTo>
                  <a:cubicBezTo>
                    <a:pt x="0" y="194"/>
                    <a:pt x="0" y="149"/>
                    <a:pt x="27" y="122"/>
                  </a:cubicBezTo>
                  <a:lnTo>
                    <a:pt x="30" y="119"/>
                  </a:lnTo>
                  <a:lnTo>
                    <a:pt x="207" y="10"/>
                  </a:lnTo>
                  <a:cubicBezTo>
                    <a:pt x="223" y="0"/>
                    <a:pt x="244" y="5"/>
                    <a:pt x="253" y="20"/>
                  </a:cubicBezTo>
                  <a:cubicBezTo>
                    <a:pt x="263" y="36"/>
                    <a:pt x="258" y="57"/>
                    <a:pt x="242" y="66"/>
                  </a:cubicBezTo>
                  <a:lnTo>
                    <a:pt x="74" y="170"/>
                  </a:lnTo>
                  <a:lnTo>
                    <a:pt x="74" y="172"/>
                  </a:lnTo>
                  <a:lnTo>
                    <a:pt x="242" y="276"/>
                  </a:lnTo>
                  <a:cubicBezTo>
                    <a:pt x="258" y="286"/>
                    <a:pt x="263" y="306"/>
                    <a:pt x="253" y="322"/>
                  </a:cubicBezTo>
                  <a:cubicBezTo>
                    <a:pt x="247" y="332"/>
                    <a:pt x="236" y="338"/>
                    <a:pt x="225" y="3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377"/>
            <p:cNvSpPr>
              <a:spLocks/>
            </p:cNvSpPr>
            <p:nvPr/>
          </p:nvSpPr>
          <p:spPr bwMode="auto">
            <a:xfrm>
              <a:off x="1057276" y="3783013"/>
              <a:ext cx="96838" cy="211138"/>
            </a:xfrm>
            <a:custGeom>
              <a:avLst/>
              <a:gdLst>
                <a:gd name="T0" fmla="*/ 38 w 292"/>
                <a:gd name="T1" fmla="*/ 638 h 638"/>
                <a:gd name="T2" fmla="*/ 26 w 292"/>
                <a:gd name="T3" fmla="*/ 636 h 638"/>
                <a:gd name="T4" fmla="*/ 7 w 292"/>
                <a:gd name="T5" fmla="*/ 593 h 638"/>
                <a:gd name="T6" fmla="*/ 223 w 292"/>
                <a:gd name="T7" fmla="*/ 26 h 638"/>
                <a:gd name="T8" fmla="*/ 266 w 292"/>
                <a:gd name="T9" fmla="*/ 7 h 638"/>
                <a:gd name="T10" fmla="*/ 286 w 292"/>
                <a:gd name="T11" fmla="*/ 50 h 638"/>
                <a:gd name="T12" fmla="*/ 69 w 292"/>
                <a:gd name="T13" fmla="*/ 617 h 638"/>
                <a:gd name="T14" fmla="*/ 38 w 292"/>
                <a:gd name="T15" fmla="*/ 638 h 6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638">
                  <a:moveTo>
                    <a:pt x="38" y="638"/>
                  </a:moveTo>
                  <a:cubicBezTo>
                    <a:pt x="34" y="638"/>
                    <a:pt x="30" y="637"/>
                    <a:pt x="26" y="636"/>
                  </a:cubicBezTo>
                  <a:cubicBezTo>
                    <a:pt x="9" y="629"/>
                    <a:pt x="0" y="610"/>
                    <a:pt x="7" y="593"/>
                  </a:cubicBezTo>
                  <a:lnTo>
                    <a:pt x="223" y="26"/>
                  </a:lnTo>
                  <a:cubicBezTo>
                    <a:pt x="230" y="9"/>
                    <a:pt x="249" y="0"/>
                    <a:pt x="266" y="7"/>
                  </a:cubicBezTo>
                  <a:cubicBezTo>
                    <a:pt x="284" y="13"/>
                    <a:pt x="292" y="33"/>
                    <a:pt x="286" y="50"/>
                  </a:cubicBezTo>
                  <a:lnTo>
                    <a:pt x="69" y="617"/>
                  </a:lnTo>
                  <a:cubicBezTo>
                    <a:pt x="64" y="630"/>
                    <a:pt x="51" y="638"/>
                    <a:pt x="38" y="6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51" name="Dev"/>
          <p:cNvGrpSpPr>
            <a:grpSpLocks noChangeAspect="1"/>
          </p:cNvGrpSpPr>
          <p:nvPr>
            <p:custDataLst>
              <p:tags r:id="rId2"/>
            </p:custDataLst>
          </p:nvPr>
        </p:nvGrpSpPr>
        <p:grpSpPr>
          <a:xfrm>
            <a:off x="6669699" y="4666117"/>
            <a:ext cx="478199" cy="478199"/>
            <a:chOff x="928688" y="3711575"/>
            <a:chExt cx="354013" cy="354013"/>
          </a:xfrm>
        </p:grpSpPr>
        <p:sp>
          <p:nvSpPr>
            <p:cNvPr id="52" name="Oval 371"/>
            <p:cNvSpPr>
              <a:spLocks noChangeArrowheads="1"/>
            </p:cNvSpPr>
            <p:nvPr/>
          </p:nvSpPr>
          <p:spPr bwMode="auto">
            <a:xfrm>
              <a:off x="928688" y="3711575"/>
              <a:ext cx="354013" cy="354013"/>
            </a:xfrm>
            <a:prstGeom prst="ellipse">
              <a:avLst/>
            </a:prstGeom>
            <a:solidFill>
              <a:srgbClr val="9E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372"/>
            <p:cNvSpPr>
              <a:spLocks/>
            </p:cNvSpPr>
            <p:nvPr/>
          </p:nvSpPr>
          <p:spPr bwMode="auto">
            <a:xfrm>
              <a:off x="1150938" y="3844925"/>
              <a:ext cx="85725" cy="109538"/>
            </a:xfrm>
            <a:custGeom>
              <a:avLst/>
              <a:gdLst>
                <a:gd name="T0" fmla="*/ 38 w 256"/>
                <a:gd name="T1" fmla="*/ 333 h 333"/>
                <a:gd name="T2" fmla="*/ 10 w 256"/>
                <a:gd name="T3" fmla="*/ 317 h 333"/>
                <a:gd name="T4" fmla="*/ 21 w 256"/>
                <a:gd name="T5" fmla="*/ 272 h 333"/>
                <a:gd name="T6" fmla="*/ 190 w 256"/>
                <a:gd name="T7" fmla="*/ 168 h 333"/>
                <a:gd name="T8" fmla="*/ 190 w 256"/>
                <a:gd name="T9" fmla="*/ 167 h 333"/>
                <a:gd name="T10" fmla="*/ 190 w 256"/>
                <a:gd name="T11" fmla="*/ 166 h 333"/>
                <a:gd name="T12" fmla="*/ 21 w 256"/>
                <a:gd name="T13" fmla="*/ 62 h 333"/>
                <a:gd name="T14" fmla="*/ 10 w 256"/>
                <a:gd name="T15" fmla="*/ 16 h 333"/>
                <a:gd name="T16" fmla="*/ 38 w 256"/>
                <a:gd name="T17" fmla="*/ 0 h 333"/>
                <a:gd name="T18" fmla="*/ 56 w 256"/>
                <a:gd name="T19" fmla="*/ 5 h 333"/>
                <a:gd name="T20" fmla="*/ 233 w 256"/>
                <a:gd name="T21" fmla="*/ 114 h 333"/>
                <a:gd name="T22" fmla="*/ 236 w 256"/>
                <a:gd name="T23" fmla="*/ 117 h 333"/>
                <a:gd name="T24" fmla="*/ 256 w 256"/>
                <a:gd name="T25" fmla="*/ 167 h 333"/>
                <a:gd name="T26" fmla="*/ 236 w 256"/>
                <a:gd name="T27" fmla="*/ 216 h 333"/>
                <a:gd name="T28" fmla="*/ 233 w 256"/>
                <a:gd name="T29" fmla="*/ 219 h 333"/>
                <a:gd name="T30" fmla="*/ 56 w 256"/>
                <a:gd name="T31" fmla="*/ 328 h 333"/>
                <a:gd name="T32" fmla="*/ 38 w 256"/>
                <a:gd name="T33"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333">
                  <a:moveTo>
                    <a:pt x="38" y="333"/>
                  </a:moveTo>
                  <a:cubicBezTo>
                    <a:pt x="27" y="333"/>
                    <a:pt x="16" y="328"/>
                    <a:pt x="10" y="317"/>
                  </a:cubicBezTo>
                  <a:cubicBezTo>
                    <a:pt x="0" y="302"/>
                    <a:pt x="5" y="281"/>
                    <a:pt x="21" y="272"/>
                  </a:cubicBezTo>
                  <a:lnTo>
                    <a:pt x="190" y="168"/>
                  </a:lnTo>
                  <a:lnTo>
                    <a:pt x="190" y="167"/>
                  </a:lnTo>
                  <a:lnTo>
                    <a:pt x="190" y="166"/>
                  </a:lnTo>
                  <a:lnTo>
                    <a:pt x="21" y="62"/>
                  </a:lnTo>
                  <a:cubicBezTo>
                    <a:pt x="5" y="52"/>
                    <a:pt x="0" y="32"/>
                    <a:pt x="10" y="16"/>
                  </a:cubicBezTo>
                  <a:cubicBezTo>
                    <a:pt x="16" y="6"/>
                    <a:pt x="27" y="0"/>
                    <a:pt x="38" y="0"/>
                  </a:cubicBezTo>
                  <a:cubicBezTo>
                    <a:pt x="44" y="0"/>
                    <a:pt x="50" y="2"/>
                    <a:pt x="56" y="5"/>
                  </a:cubicBezTo>
                  <a:lnTo>
                    <a:pt x="233" y="114"/>
                  </a:lnTo>
                  <a:lnTo>
                    <a:pt x="236" y="117"/>
                  </a:lnTo>
                  <a:cubicBezTo>
                    <a:pt x="249" y="130"/>
                    <a:pt x="256" y="148"/>
                    <a:pt x="256" y="167"/>
                  </a:cubicBezTo>
                  <a:cubicBezTo>
                    <a:pt x="256" y="185"/>
                    <a:pt x="249" y="203"/>
                    <a:pt x="236" y="216"/>
                  </a:cubicBezTo>
                  <a:lnTo>
                    <a:pt x="233" y="219"/>
                  </a:lnTo>
                  <a:lnTo>
                    <a:pt x="56" y="328"/>
                  </a:lnTo>
                  <a:cubicBezTo>
                    <a:pt x="50" y="332"/>
                    <a:pt x="44" y="333"/>
                    <a:pt x="38" y="333"/>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373"/>
            <p:cNvSpPr>
              <a:spLocks/>
            </p:cNvSpPr>
            <p:nvPr/>
          </p:nvSpPr>
          <p:spPr bwMode="auto">
            <a:xfrm>
              <a:off x="976313" y="3844925"/>
              <a:ext cx="84138" cy="109538"/>
            </a:xfrm>
            <a:custGeom>
              <a:avLst/>
              <a:gdLst>
                <a:gd name="T0" fmla="*/ 218 w 256"/>
                <a:gd name="T1" fmla="*/ 333 h 333"/>
                <a:gd name="T2" fmla="*/ 200 w 256"/>
                <a:gd name="T3" fmla="*/ 328 h 333"/>
                <a:gd name="T4" fmla="*/ 23 w 256"/>
                <a:gd name="T5" fmla="*/ 219 h 333"/>
                <a:gd name="T6" fmla="*/ 20 w 256"/>
                <a:gd name="T7" fmla="*/ 216 h 333"/>
                <a:gd name="T8" fmla="*/ 0 w 256"/>
                <a:gd name="T9" fmla="*/ 167 h 333"/>
                <a:gd name="T10" fmla="*/ 20 w 256"/>
                <a:gd name="T11" fmla="*/ 117 h 333"/>
                <a:gd name="T12" fmla="*/ 23 w 256"/>
                <a:gd name="T13" fmla="*/ 114 h 333"/>
                <a:gd name="T14" fmla="*/ 200 w 256"/>
                <a:gd name="T15" fmla="*/ 5 h 333"/>
                <a:gd name="T16" fmla="*/ 218 w 256"/>
                <a:gd name="T17" fmla="*/ 0 h 333"/>
                <a:gd name="T18" fmla="*/ 246 w 256"/>
                <a:gd name="T19" fmla="*/ 16 h 333"/>
                <a:gd name="T20" fmla="*/ 235 w 256"/>
                <a:gd name="T21" fmla="*/ 62 h 333"/>
                <a:gd name="T22" fmla="*/ 67 w 256"/>
                <a:gd name="T23" fmla="*/ 166 h 333"/>
                <a:gd name="T24" fmla="*/ 66 w 256"/>
                <a:gd name="T25" fmla="*/ 167 h 333"/>
                <a:gd name="T26" fmla="*/ 67 w 256"/>
                <a:gd name="T27" fmla="*/ 168 h 333"/>
                <a:gd name="T28" fmla="*/ 235 w 256"/>
                <a:gd name="T29" fmla="*/ 272 h 333"/>
                <a:gd name="T30" fmla="*/ 246 w 256"/>
                <a:gd name="T31" fmla="*/ 317 h 333"/>
                <a:gd name="T32" fmla="*/ 218 w 256"/>
                <a:gd name="T33"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333">
                  <a:moveTo>
                    <a:pt x="218" y="333"/>
                  </a:moveTo>
                  <a:cubicBezTo>
                    <a:pt x="212" y="333"/>
                    <a:pt x="206" y="332"/>
                    <a:pt x="200" y="328"/>
                  </a:cubicBezTo>
                  <a:lnTo>
                    <a:pt x="23" y="219"/>
                  </a:lnTo>
                  <a:lnTo>
                    <a:pt x="20" y="216"/>
                  </a:lnTo>
                  <a:cubicBezTo>
                    <a:pt x="7" y="203"/>
                    <a:pt x="0" y="185"/>
                    <a:pt x="0" y="167"/>
                  </a:cubicBezTo>
                  <a:cubicBezTo>
                    <a:pt x="0" y="148"/>
                    <a:pt x="7" y="130"/>
                    <a:pt x="20" y="117"/>
                  </a:cubicBezTo>
                  <a:lnTo>
                    <a:pt x="23" y="114"/>
                  </a:lnTo>
                  <a:lnTo>
                    <a:pt x="200" y="5"/>
                  </a:lnTo>
                  <a:cubicBezTo>
                    <a:pt x="206" y="2"/>
                    <a:pt x="212" y="0"/>
                    <a:pt x="218" y="0"/>
                  </a:cubicBezTo>
                  <a:cubicBezTo>
                    <a:pt x="229" y="0"/>
                    <a:pt x="240" y="6"/>
                    <a:pt x="246" y="16"/>
                  </a:cubicBezTo>
                  <a:cubicBezTo>
                    <a:pt x="256" y="32"/>
                    <a:pt x="251" y="52"/>
                    <a:pt x="235" y="62"/>
                  </a:cubicBezTo>
                  <a:lnTo>
                    <a:pt x="67" y="166"/>
                  </a:lnTo>
                  <a:lnTo>
                    <a:pt x="66" y="167"/>
                  </a:lnTo>
                  <a:lnTo>
                    <a:pt x="67" y="168"/>
                  </a:lnTo>
                  <a:lnTo>
                    <a:pt x="235" y="272"/>
                  </a:lnTo>
                  <a:cubicBezTo>
                    <a:pt x="251" y="281"/>
                    <a:pt x="256" y="302"/>
                    <a:pt x="246" y="317"/>
                  </a:cubicBezTo>
                  <a:cubicBezTo>
                    <a:pt x="240" y="328"/>
                    <a:pt x="229" y="333"/>
                    <a:pt x="218" y="333"/>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374"/>
            <p:cNvSpPr>
              <a:spLocks/>
            </p:cNvSpPr>
            <p:nvPr/>
          </p:nvSpPr>
          <p:spPr bwMode="auto">
            <a:xfrm>
              <a:off x="1057276" y="3794125"/>
              <a:ext cx="96838" cy="211138"/>
            </a:xfrm>
            <a:custGeom>
              <a:avLst/>
              <a:gdLst>
                <a:gd name="T0" fmla="*/ 38 w 292"/>
                <a:gd name="T1" fmla="*/ 633 h 633"/>
                <a:gd name="T2" fmla="*/ 26 w 292"/>
                <a:gd name="T3" fmla="*/ 631 h 633"/>
                <a:gd name="T4" fmla="*/ 7 w 292"/>
                <a:gd name="T5" fmla="*/ 588 h 633"/>
                <a:gd name="T6" fmla="*/ 223 w 292"/>
                <a:gd name="T7" fmla="*/ 21 h 633"/>
                <a:gd name="T8" fmla="*/ 254 w 292"/>
                <a:gd name="T9" fmla="*/ 0 h 633"/>
                <a:gd name="T10" fmla="*/ 266 w 292"/>
                <a:gd name="T11" fmla="*/ 2 h 633"/>
                <a:gd name="T12" fmla="*/ 286 w 292"/>
                <a:gd name="T13" fmla="*/ 45 h 633"/>
                <a:gd name="T14" fmla="*/ 69 w 292"/>
                <a:gd name="T15" fmla="*/ 612 h 633"/>
                <a:gd name="T16" fmla="*/ 38 w 29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633">
                  <a:moveTo>
                    <a:pt x="38" y="633"/>
                  </a:moveTo>
                  <a:cubicBezTo>
                    <a:pt x="34" y="633"/>
                    <a:pt x="30" y="633"/>
                    <a:pt x="26" y="631"/>
                  </a:cubicBezTo>
                  <a:cubicBezTo>
                    <a:pt x="9" y="625"/>
                    <a:pt x="0" y="605"/>
                    <a:pt x="7" y="588"/>
                  </a:cubicBezTo>
                  <a:lnTo>
                    <a:pt x="223" y="21"/>
                  </a:lnTo>
                  <a:cubicBezTo>
                    <a:pt x="228" y="8"/>
                    <a:pt x="241" y="0"/>
                    <a:pt x="254" y="0"/>
                  </a:cubicBezTo>
                  <a:cubicBezTo>
                    <a:pt x="258" y="0"/>
                    <a:pt x="262" y="1"/>
                    <a:pt x="266" y="2"/>
                  </a:cubicBezTo>
                  <a:cubicBezTo>
                    <a:pt x="284" y="9"/>
                    <a:pt x="292" y="28"/>
                    <a:pt x="286" y="45"/>
                  </a:cubicBezTo>
                  <a:lnTo>
                    <a:pt x="69" y="612"/>
                  </a:lnTo>
                  <a:cubicBezTo>
                    <a:pt x="64" y="625"/>
                    <a:pt x="51" y="633"/>
                    <a:pt x="38" y="633"/>
                  </a:cubicBezTo>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375"/>
            <p:cNvSpPr>
              <a:spLocks/>
            </p:cNvSpPr>
            <p:nvPr/>
          </p:nvSpPr>
          <p:spPr bwMode="auto">
            <a:xfrm>
              <a:off x="1150938" y="3832225"/>
              <a:ext cx="87313" cy="111125"/>
            </a:xfrm>
            <a:custGeom>
              <a:avLst/>
              <a:gdLst>
                <a:gd name="T0" fmla="*/ 38 w 263"/>
                <a:gd name="T1" fmla="*/ 338 h 338"/>
                <a:gd name="T2" fmla="*/ 10 w 263"/>
                <a:gd name="T3" fmla="*/ 322 h 338"/>
                <a:gd name="T4" fmla="*/ 21 w 263"/>
                <a:gd name="T5" fmla="*/ 276 h 338"/>
                <a:gd name="T6" fmla="*/ 190 w 263"/>
                <a:gd name="T7" fmla="*/ 172 h 338"/>
                <a:gd name="T8" fmla="*/ 190 w 263"/>
                <a:gd name="T9" fmla="*/ 170 h 338"/>
                <a:gd name="T10" fmla="*/ 21 w 263"/>
                <a:gd name="T11" fmla="*/ 66 h 338"/>
                <a:gd name="T12" fmla="*/ 10 w 263"/>
                <a:gd name="T13" fmla="*/ 20 h 338"/>
                <a:gd name="T14" fmla="*/ 56 w 263"/>
                <a:gd name="T15" fmla="*/ 10 h 338"/>
                <a:gd name="T16" fmla="*/ 233 w 263"/>
                <a:gd name="T17" fmla="*/ 119 h 338"/>
                <a:gd name="T18" fmla="*/ 236 w 263"/>
                <a:gd name="T19" fmla="*/ 122 h 338"/>
                <a:gd name="T20" fmla="*/ 236 w 263"/>
                <a:gd name="T21" fmla="*/ 221 h 338"/>
                <a:gd name="T22" fmla="*/ 233 w 263"/>
                <a:gd name="T23" fmla="*/ 224 h 338"/>
                <a:gd name="T24" fmla="*/ 56 w 263"/>
                <a:gd name="T25" fmla="*/ 333 h 338"/>
                <a:gd name="T26" fmla="*/ 38 w 263"/>
                <a:gd name="T2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 h="338">
                  <a:moveTo>
                    <a:pt x="38" y="338"/>
                  </a:moveTo>
                  <a:cubicBezTo>
                    <a:pt x="27" y="338"/>
                    <a:pt x="16" y="332"/>
                    <a:pt x="10" y="322"/>
                  </a:cubicBezTo>
                  <a:cubicBezTo>
                    <a:pt x="0" y="306"/>
                    <a:pt x="5" y="286"/>
                    <a:pt x="21" y="276"/>
                  </a:cubicBezTo>
                  <a:lnTo>
                    <a:pt x="190" y="172"/>
                  </a:lnTo>
                  <a:lnTo>
                    <a:pt x="190" y="170"/>
                  </a:lnTo>
                  <a:lnTo>
                    <a:pt x="21" y="66"/>
                  </a:lnTo>
                  <a:cubicBezTo>
                    <a:pt x="5" y="57"/>
                    <a:pt x="0" y="36"/>
                    <a:pt x="10" y="20"/>
                  </a:cubicBezTo>
                  <a:cubicBezTo>
                    <a:pt x="20" y="5"/>
                    <a:pt x="40" y="0"/>
                    <a:pt x="56" y="10"/>
                  </a:cubicBezTo>
                  <a:lnTo>
                    <a:pt x="233" y="119"/>
                  </a:lnTo>
                  <a:lnTo>
                    <a:pt x="236" y="122"/>
                  </a:lnTo>
                  <a:cubicBezTo>
                    <a:pt x="263" y="149"/>
                    <a:pt x="263" y="194"/>
                    <a:pt x="236" y="221"/>
                  </a:cubicBezTo>
                  <a:lnTo>
                    <a:pt x="233" y="224"/>
                  </a:lnTo>
                  <a:lnTo>
                    <a:pt x="56" y="333"/>
                  </a:lnTo>
                  <a:cubicBezTo>
                    <a:pt x="50" y="336"/>
                    <a:pt x="44" y="338"/>
                    <a:pt x="38" y="3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7" name="Freeform 376"/>
            <p:cNvSpPr>
              <a:spLocks/>
            </p:cNvSpPr>
            <p:nvPr/>
          </p:nvSpPr>
          <p:spPr bwMode="auto">
            <a:xfrm>
              <a:off x="973138" y="3832225"/>
              <a:ext cx="87313" cy="111125"/>
            </a:xfrm>
            <a:custGeom>
              <a:avLst/>
              <a:gdLst>
                <a:gd name="T0" fmla="*/ 225 w 263"/>
                <a:gd name="T1" fmla="*/ 338 h 338"/>
                <a:gd name="T2" fmla="*/ 207 w 263"/>
                <a:gd name="T3" fmla="*/ 333 h 338"/>
                <a:gd name="T4" fmla="*/ 30 w 263"/>
                <a:gd name="T5" fmla="*/ 224 h 338"/>
                <a:gd name="T6" fmla="*/ 27 w 263"/>
                <a:gd name="T7" fmla="*/ 221 h 338"/>
                <a:gd name="T8" fmla="*/ 27 w 263"/>
                <a:gd name="T9" fmla="*/ 122 h 338"/>
                <a:gd name="T10" fmla="*/ 30 w 263"/>
                <a:gd name="T11" fmla="*/ 119 h 338"/>
                <a:gd name="T12" fmla="*/ 207 w 263"/>
                <a:gd name="T13" fmla="*/ 10 h 338"/>
                <a:gd name="T14" fmla="*/ 253 w 263"/>
                <a:gd name="T15" fmla="*/ 20 h 338"/>
                <a:gd name="T16" fmla="*/ 242 w 263"/>
                <a:gd name="T17" fmla="*/ 66 h 338"/>
                <a:gd name="T18" fmla="*/ 74 w 263"/>
                <a:gd name="T19" fmla="*/ 170 h 338"/>
                <a:gd name="T20" fmla="*/ 74 w 263"/>
                <a:gd name="T21" fmla="*/ 172 h 338"/>
                <a:gd name="T22" fmla="*/ 242 w 263"/>
                <a:gd name="T23" fmla="*/ 276 h 338"/>
                <a:gd name="T24" fmla="*/ 253 w 263"/>
                <a:gd name="T25" fmla="*/ 322 h 338"/>
                <a:gd name="T26" fmla="*/ 225 w 263"/>
                <a:gd name="T27"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 h="338">
                  <a:moveTo>
                    <a:pt x="225" y="338"/>
                  </a:moveTo>
                  <a:cubicBezTo>
                    <a:pt x="219" y="338"/>
                    <a:pt x="213" y="336"/>
                    <a:pt x="207" y="333"/>
                  </a:cubicBezTo>
                  <a:lnTo>
                    <a:pt x="30" y="224"/>
                  </a:lnTo>
                  <a:lnTo>
                    <a:pt x="27" y="221"/>
                  </a:lnTo>
                  <a:cubicBezTo>
                    <a:pt x="0" y="194"/>
                    <a:pt x="0" y="149"/>
                    <a:pt x="27" y="122"/>
                  </a:cubicBezTo>
                  <a:lnTo>
                    <a:pt x="30" y="119"/>
                  </a:lnTo>
                  <a:lnTo>
                    <a:pt x="207" y="10"/>
                  </a:lnTo>
                  <a:cubicBezTo>
                    <a:pt x="223" y="0"/>
                    <a:pt x="244" y="5"/>
                    <a:pt x="253" y="20"/>
                  </a:cubicBezTo>
                  <a:cubicBezTo>
                    <a:pt x="263" y="36"/>
                    <a:pt x="258" y="57"/>
                    <a:pt x="242" y="66"/>
                  </a:cubicBezTo>
                  <a:lnTo>
                    <a:pt x="74" y="170"/>
                  </a:lnTo>
                  <a:lnTo>
                    <a:pt x="74" y="172"/>
                  </a:lnTo>
                  <a:lnTo>
                    <a:pt x="242" y="276"/>
                  </a:lnTo>
                  <a:cubicBezTo>
                    <a:pt x="258" y="286"/>
                    <a:pt x="263" y="306"/>
                    <a:pt x="253" y="322"/>
                  </a:cubicBezTo>
                  <a:cubicBezTo>
                    <a:pt x="247" y="332"/>
                    <a:pt x="236" y="338"/>
                    <a:pt x="225" y="3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8" name="Freeform 377"/>
            <p:cNvSpPr>
              <a:spLocks/>
            </p:cNvSpPr>
            <p:nvPr/>
          </p:nvSpPr>
          <p:spPr bwMode="auto">
            <a:xfrm>
              <a:off x="1057276" y="3783013"/>
              <a:ext cx="96838" cy="211138"/>
            </a:xfrm>
            <a:custGeom>
              <a:avLst/>
              <a:gdLst>
                <a:gd name="T0" fmla="*/ 38 w 292"/>
                <a:gd name="T1" fmla="*/ 638 h 638"/>
                <a:gd name="T2" fmla="*/ 26 w 292"/>
                <a:gd name="T3" fmla="*/ 636 h 638"/>
                <a:gd name="T4" fmla="*/ 7 w 292"/>
                <a:gd name="T5" fmla="*/ 593 h 638"/>
                <a:gd name="T6" fmla="*/ 223 w 292"/>
                <a:gd name="T7" fmla="*/ 26 h 638"/>
                <a:gd name="T8" fmla="*/ 266 w 292"/>
                <a:gd name="T9" fmla="*/ 7 h 638"/>
                <a:gd name="T10" fmla="*/ 286 w 292"/>
                <a:gd name="T11" fmla="*/ 50 h 638"/>
                <a:gd name="T12" fmla="*/ 69 w 292"/>
                <a:gd name="T13" fmla="*/ 617 h 638"/>
                <a:gd name="T14" fmla="*/ 38 w 292"/>
                <a:gd name="T15" fmla="*/ 638 h 6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638">
                  <a:moveTo>
                    <a:pt x="38" y="638"/>
                  </a:moveTo>
                  <a:cubicBezTo>
                    <a:pt x="34" y="638"/>
                    <a:pt x="30" y="637"/>
                    <a:pt x="26" y="636"/>
                  </a:cubicBezTo>
                  <a:cubicBezTo>
                    <a:pt x="9" y="629"/>
                    <a:pt x="0" y="610"/>
                    <a:pt x="7" y="593"/>
                  </a:cubicBezTo>
                  <a:lnTo>
                    <a:pt x="223" y="26"/>
                  </a:lnTo>
                  <a:cubicBezTo>
                    <a:pt x="230" y="9"/>
                    <a:pt x="249" y="0"/>
                    <a:pt x="266" y="7"/>
                  </a:cubicBezTo>
                  <a:cubicBezTo>
                    <a:pt x="284" y="13"/>
                    <a:pt x="292" y="33"/>
                    <a:pt x="286" y="50"/>
                  </a:cubicBezTo>
                  <a:lnTo>
                    <a:pt x="69" y="617"/>
                  </a:lnTo>
                  <a:cubicBezTo>
                    <a:pt x="64" y="630"/>
                    <a:pt x="51" y="638"/>
                    <a:pt x="38" y="6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59" name="Presentation"/>
          <p:cNvGrpSpPr>
            <a:grpSpLocks noChangeAspect="1"/>
          </p:cNvGrpSpPr>
          <p:nvPr>
            <p:custDataLst>
              <p:tags r:id="rId3"/>
            </p:custDataLst>
          </p:nvPr>
        </p:nvGrpSpPr>
        <p:grpSpPr>
          <a:xfrm>
            <a:off x="0" y="2368153"/>
            <a:ext cx="762000" cy="762000"/>
            <a:chOff x="1997075" y="5499100"/>
            <a:chExt cx="823913" cy="823913"/>
          </a:xfrm>
        </p:grpSpPr>
        <p:sp>
          <p:nvSpPr>
            <p:cNvPr id="60" name="Oval 1299"/>
            <p:cNvSpPr>
              <a:spLocks noChangeArrowheads="1"/>
            </p:cNvSpPr>
            <p:nvPr/>
          </p:nvSpPr>
          <p:spPr bwMode="auto">
            <a:xfrm>
              <a:off x="1997075" y="5499100"/>
              <a:ext cx="823913" cy="823913"/>
            </a:xfrm>
            <a:prstGeom prst="ellipse">
              <a:avLst/>
            </a:prstGeom>
            <a:solidFill>
              <a:srgbClr val="9E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1" name="Freeform 1318"/>
            <p:cNvSpPr>
              <a:spLocks/>
            </p:cNvSpPr>
            <p:nvPr/>
          </p:nvSpPr>
          <p:spPr bwMode="auto">
            <a:xfrm>
              <a:off x="2589213" y="5978525"/>
              <a:ext cx="227013" cy="303213"/>
            </a:xfrm>
            <a:custGeom>
              <a:avLst/>
              <a:gdLst>
                <a:gd name="T0" fmla="*/ 0 w 527"/>
                <a:gd name="T1" fmla="*/ 706 h 706"/>
                <a:gd name="T2" fmla="*/ 527 w 527"/>
                <a:gd name="T3" fmla="*/ 0 h 706"/>
                <a:gd name="T4" fmla="*/ 0 w 527"/>
                <a:gd name="T5" fmla="*/ 706 h 706"/>
              </a:gdLst>
              <a:ahLst/>
              <a:cxnLst>
                <a:cxn ang="0">
                  <a:pos x="T0" y="T1"/>
                </a:cxn>
                <a:cxn ang="0">
                  <a:pos x="T2" y="T3"/>
                </a:cxn>
                <a:cxn ang="0">
                  <a:pos x="T4" y="T5"/>
                </a:cxn>
              </a:cxnLst>
              <a:rect l="0" t="0" r="r" b="b"/>
              <a:pathLst>
                <a:path w="527" h="706">
                  <a:moveTo>
                    <a:pt x="0" y="706"/>
                  </a:moveTo>
                  <a:cubicBezTo>
                    <a:pt x="275" y="572"/>
                    <a:pt x="476" y="311"/>
                    <a:pt x="527" y="0"/>
                  </a:cubicBezTo>
                  <a:cubicBezTo>
                    <a:pt x="480" y="305"/>
                    <a:pt x="276" y="592"/>
                    <a:pt x="0" y="706"/>
                  </a:cubicBezTo>
                  <a:close/>
                </a:path>
              </a:pathLst>
            </a:custGeom>
            <a:solidFill>
              <a:srgbClr val="96C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2" name="Freeform 1319"/>
            <p:cNvSpPr>
              <a:spLocks/>
            </p:cNvSpPr>
            <p:nvPr/>
          </p:nvSpPr>
          <p:spPr bwMode="auto">
            <a:xfrm>
              <a:off x="2366963" y="5753100"/>
              <a:ext cx="450850" cy="536575"/>
            </a:xfrm>
            <a:custGeom>
              <a:avLst/>
              <a:gdLst>
                <a:gd name="T0" fmla="*/ 475 w 1050"/>
                <a:gd name="T1" fmla="*/ 1246 h 1246"/>
                <a:gd name="T2" fmla="*/ 52 w 1050"/>
                <a:gd name="T3" fmla="*/ 871 h 1246"/>
                <a:gd name="T4" fmla="*/ 21 w 1050"/>
                <a:gd name="T5" fmla="*/ 544 h 1246"/>
                <a:gd name="T6" fmla="*/ 0 w 1050"/>
                <a:gd name="T7" fmla="*/ 154 h 1246"/>
                <a:gd name="T8" fmla="*/ 453 w 1050"/>
                <a:gd name="T9" fmla="*/ 0 h 1246"/>
                <a:gd name="T10" fmla="*/ 1050 w 1050"/>
                <a:gd name="T11" fmla="*/ 485 h 1246"/>
                <a:gd name="T12" fmla="*/ 1045 w 1050"/>
                <a:gd name="T13" fmla="*/ 524 h 1246"/>
                <a:gd name="T14" fmla="*/ 518 w 1050"/>
                <a:gd name="T15" fmla="*/ 1230 h 1246"/>
                <a:gd name="T16" fmla="*/ 475 w 1050"/>
                <a:gd name="T17" fmla="*/ 1246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0" h="1246">
                  <a:moveTo>
                    <a:pt x="475" y="1246"/>
                  </a:moveTo>
                  <a:lnTo>
                    <a:pt x="52" y="871"/>
                  </a:lnTo>
                  <a:lnTo>
                    <a:pt x="21" y="544"/>
                  </a:lnTo>
                  <a:lnTo>
                    <a:pt x="0" y="154"/>
                  </a:lnTo>
                  <a:lnTo>
                    <a:pt x="453" y="0"/>
                  </a:lnTo>
                  <a:lnTo>
                    <a:pt x="1050" y="485"/>
                  </a:lnTo>
                  <a:cubicBezTo>
                    <a:pt x="1049" y="498"/>
                    <a:pt x="1047" y="511"/>
                    <a:pt x="1045" y="524"/>
                  </a:cubicBezTo>
                  <a:cubicBezTo>
                    <a:pt x="994" y="835"/>
                    <a:pt x="793" y="1096"/>
                    <a:pt x="518" y="1230"/>
                  </a:cubicBezTo>
                  <a:cubicBezTo>
                    <a:pt x="504" y="1236"/>
                    <a:pt x="490" y="1241"/>
                    <a:pt x="475" y="1246"/>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3" name="Rectangle 1536"/>
            <p:cNvSpPr>
              <a:spLocks noChangeArrowheads="1"/>
            </p:cNvSpPr>
            <p:nvPr/>
          </p:nvSpPr>
          <p:spPr bwMode="auto">
            <a:xfrm>
              <a:off x="2217737" y="5802312"/>
              <a:ext cx="393700" cy="265113"/>
            </a:xfrm>
            <a:prstGeom prst="rect">
              <a:avLst/>
            </a:prstGeom>
            <a:solidFill>
              <a:srgbClr val="54B5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4" name="Freeform 1537"/>
            <p:cNvSpPr>
              <a:spLocks noEditPoints="1"/>
            </p:cNvSpPr>
            <p:nvPr/>
          </p:nvSpPr>
          <p:spPr bwMode="auto">
            <a:xfrm>
              <a:off x="2184400" y="5727700"/>
              <a:ext cx="461963" cy="360363"/>
            </a:xfrm>
            <a:custGeom>
              <a:avLst/>
              <a:gdLst>
                <a:gd name="T0" fmla="*/ 996 w 1075"/>
                <a:gd name="T1" fmla="*/ 670 h 838"/>
                <a:gd name="T2" fmla="*/ 928 w 1075"/>
                <a:gd name="T3" fmla="*/ 746 h 838"/>
                <a:gd name="T4" fmla="*/ 148 w 1075"/>
                <a:gd name="T5" fmla="*/ 746 h 838"/>
                <a:gd name="T6" fmla="*/ 79 w 1075"/>
                <a:gd name="T7" fmla="*/ 670 h 838"/>
                <a:gd name="T8" fmla="*/ 79 w 1075"/>
                <a:gd name="T9" fmla="*/ 174 h 838"/>
                <a:gd name="T10" fmla="*/ 996 w 1075"/>
                <a:gd name="T11" fmla="*/ 174 h 838"/>
                <a:gd name="T12" fmla="*/ 996 w 1075"/>
                <a:gd name="T13" fmla="*/ 670 h 838"/>
                <a:gd name="T14" fmla="*/ 0 w 1075"/>
                <a:gd name="T15" fmla="*/ 0 h 838"/>
                <a:gd name="T16" fmla="*/ 0 w 1075"/>
                <a:gd name="T17" fmla="*/ 749 h 838"/>
                <a:gd name="T18" fmla="*/ 80 w 1075"/>
                <a:gd name="T19" fmla="*/ 838 h 838"/>
                <a:gd name="T20" fmla="*/ 995 w 1075"/>
                <a:gd name="T21" fmla="*/ 838 h 838"/>
                <a:gd name="T22" fmla="*/ 1075 w 1075"/>
                <a:gd name="T23" fmla="*/ 749 h 838"/>
                <a:gd name="T24" fmla="*/ 1075 w 1075"/>
                <a:gd name="T25" fmla="*/ 0 h 838"/>
                <a:gd name="T26" fmla="*/ 0 w 1075"/>
                <a:gd name="T27"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5" h="838">
                  <a:moveTo>
                    <a:pt x="996" y="670"/>
                  </a:moveTo>
                  <a:cubicBezTo>
                    <a:pt x="996" y="712"/>
                    <a:pt x="965" y="746"/>
                    <a:pt x="928" y="746"/>
                  </a:cubicBezTo>
                  <a:lnTo>
                    <a:pt x="148" y="746"/>
                  </a:lnTo>
                  <a:cubicBezTo>
                    <a:pt x="110" y="746"/>
                    <a:pt x="79" y="712"/>
                    <a:pt x="79" y="670"/>
                  </a:cubicBezTo>
                  <a:lnTo>
                    <a:pt x="79" y="174"/>
                  </a:lnTo>
                  <a:lnTo>
                    <a:pt x="996" y="174"/>
                  </a:lnTo>
                  <a:lnTo>
                    <a:pt x="996" y="670"/>
                  </a:lnTo>
                  <a:close/>
                  <a:moveTo>
                    <a:pt x="0" y="0"/>
                  </a:moveTo>
                  <a:lnTo>
                    <a:pt x="0" y="749"/>
                  </a:lnTo>
                  <a:cubicBezTo>
                    <a:pt x="0" y="798"/>
                    <a:pt x="36" y="838"/>
                    <a:pt x="80" y="838"/>
                  </a:cubicBezTo>
                  <a:lnTo>
                    <a:pt x="995" y="838"/>
                  </a:lnTo>
                  <a:cubicBezTo>
                    <a:pt x="1039" y="838"/>
                    <a:pt x="1075" y="798"/>
                    <a:pt x="1075" y="749"/>
                  </a:cubicBezTo>
                  <a:lnTo>
                    <a:pt x="1075" y="0"/>
                  </a:lnTo>
                  <a:lnTo>
                    <a:pt x="0"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5" name="Freeform 1538"/>
            <p:cNvSpPr>
              <a:spLocks/>
            </p:cNvSpPr>
            <p:nvPr/>
          </p:nvSpPr>
          <p:spPr bwMode="auto">
            <a:xfrm>
              <a:off x="2308225" y="6067425"/>
              <a:ext cx="214313" cy="123825"/>
            </a:xfrm>
            <a:custGeom>
              <a:avLst/>
              <a:gdLst>
                <a:gd name="T0" fmla="*/ 486 w 497"/>
                <a:gd name="T1" fmla="*/ 223 h 286"/>
                <a:gd name="T2" fmla="*/ 271 w 497"/>
                <a:gd name="T3" fmla="*/ 8 h 286"/>
                <a:gd name="T4" fmla="*/ 250 w 497"/>
                <a:gd name="T5" fmla="*/ 0 h 286"/>
                <a:gd name="T6" fmla="*/ 249 w 497"/>
                <a:gd name="T7" fmla="*/ 0 h 286"/>
                <a:gd name="T8" fmla="*/ 247 w 497"/>
                <a:gd name="T9" fmla="*/ 0 h 286"/>
                <a:gd name="T10" fmla="*/ 226 w 497"/>
                <a:gd name="T11" fmla="*/ 8 h 286"/>
                <a:gd name="T12" fmla="*/ 11 w 497"/>
                <a:gd name="T13" fmla="*/ 223 h 286"/>
                <a:gd name="T14" fmla="*/ 11 w 497"/>
                <a:gd name="T15" fmla="*/ 262 h 286"/>
                <a:gd name="T16" fmla="*/ 50 w 497"/>
                <a:gd name="T17" fmla="*/ 262 h 286"/>
                <a:gd name="T18" fmla="*/ 221 w 497"/>
                <a:gd name="T19" fmla="*/ 92 h 286"/>
                <a:gd name="T20" fmla="*/ 221 w 497"/>
                <a:gd name="T21" fmla="*/ 258 h 286"/>
                <a:gd name="T22" fmla="*/ 249 w 497"/>
                <a:gd name="T23" fmla="*/ 286 h 286"/>
                <a:gd name="T24" fmla="*/ 276 w 497"/>
                <a:gd name="T25" fmla="*/ 258 h 286"/>
                <a:gd name="T26" fmla="*/ 276 w 497"/>
                <a:gd name="T27" fmla="*/ 92 h 286"/>
                <a:gd name="T28" fmla="*/ 447 w 497"/>
                <a:gd name="T29" fmla="*/ 262 h 286"/>
                <a:gd name="T30" fmla="*/ 486 w 497"/>
                <a:gd name="T31" fmla="*/ 262 h 286"/>
                <a:gd name="T32" fmla="*/ 486 w 497"/>
                <a:gd name="T33" fmla="*/ 2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7" h="286">
                  <a:moveTo>
                    <a:pt x="486" y="223"/>
                  </a:moveTo>
                  <a:lnTo>
                    <a:pt x="271" y="8"/>
                  </a:lnTo>
                  <a:cubicBezTo>
                    <a:pt x="265" y="2"/>
                    <a:pt x="258" y="0"/>
                    <a:pt x="250" y="0"/>
                  </a:cubicBezTo>
                  <a:lnTo>
                    <a:pt x="249" y="0"/>
                  </a:lnTo>
                  <a:lnTo>
                    <a:pt x="247" y="0"/>
                  </a:lnTo>
                  <a:cubicBezTo>
                    <a:pt x="240" y="0"/>
                    <a:pt x="232" y="2"/>
                    <a:pt x="226" y="8"/>
                  </a:cubicBezTo>
                  <a:lnTo>
                    <a:pt x="11" y="223"/>
                  </a:lnTo>
                  <a:cubicBezTo>
                    <a:pt x="0" y="234"/>
                    <a:pt x="0" y="252"/>
                    <a:pt x="11" y="262"/>
                  </a:cubicBezTo>
                  <a:cubicBezTo>
                    <a:pt x="22" y="273"/>
                    <a:pt x="39" y="273"/>
                    <a:pt x="50" y="262"/>
                  </a:cubicBezTo>
                  <a:lnTo>
                    <a:pt x="221" y="92"/>
                  </a:lnTo>
                  <a:lnTo>
                    <a:pt x="221" y="258"/>
                  </a:lnTo>
                  <a:cubicBezTo>
                    <a:pt x="221" y="273"/>
                    <a:pt x="233" y="286"/>
                    <a:pt x="249" y="286"/>
                  </a:cubicBezTo>
                  <a:cubicBezTo>
                    <a:pt x="264" y="286"/>
                    <a:pt x="276" y="273"/>
                    <a:pt x="276" y="258"/>
                  </a:cubicBezTo>
                  <a:lnTo>
                    <a:pt x="276" y="92"/>
                  </a:lnTo>
                  <a:lnTo>
                    <a:pt x="447" y="262"/>
                  </a:lnTo>
                  <a:cubicBezTo>
                    <a:pt x="458" y="273"/>
                    <a:pt x="475" y="273"/>
                    <a:pt x="486" y="262"/>
                  </a:cubicBezTo>
                  <a:cubicBezTo>
                    <a:pt x="497" y="252"/>
                    <a:pt x="497" y="234"/>
                    <a:pt x="486" y="223"/>
                  </a:cubicBezTo>
                </a:path>
              </a:pathLst>
            </a:custGeom>
            <a:solidFill>
              <a:srgbClr val="3335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6" name="Freeform 1539"/>
            <p:cNvSpPr>
              <a:spLocks/>
            </p:cNvSpPr>
            <p:nvPr/>
          </p:nvSpPr>
          <p:spPr bwMode="auto">
            <a:xfrm>
              <a:off x="2244725" y="5837237"/>
              <a:ext cx="163513" cy="174625"/>
            </a:xfrm>
            <a:custGeom>
              <a:avLst/>
              <a:gdLst>
                <a:gd name="T0" fmla="*/ 198 w 381"/>
                <a:gd name="T1" fmla="*/ 202 h 405"/>
                <a:gd name="T2" fmla="*/ 381 w 381"/>
                <a:gd name="T3" fmla="*/ 177 h 405"/>
                <a:gd name="T4" fmla="*/ 341 w 381"/>
                <a:gd name="T5" fmla="*/ 87 h 405"/>
                <a:gd name="T6" fmla="*/ 87 w 381"/>
                <a:gd name="T7" fmla="*/ 65 h 405"/>
                <a:gd name="T8" fmla="*/ 64 w 381"/>
                <a:gd name="T9" fmla="*/ 319 h 405"/>
                <a:gd name="T10" fmla="*/ 316 w 381"/>
                <a:gd name="T11" fmla="*/ 343 h 405"/>
                <a:gd name="T12" fmla="*/ 198 w 381"/>
                <a:gd name="T13" fmla="*/ 202 h 405"/>
              </a:gdLst>
              <a:ahLst/>
              <a:cxnLst>
                <a:cxn ang="0">
                  <a:pos x="T0" y="T1"/>
                </a:cxn>
                <a:cxn ang="0">
                  <a:pos x="T2" y="T3"/>
                </a:cxn>
                <a:cxn ang="0">
                  <a:pos x="T4" y="T5"/>
                </a:cxn>
                <a:cxn ang="0">
                  <a:pos x="T6" y="T7"/>
                </a:cxn>
                <a:cxn ang="0">
                  <a:pos x="T8" y="T9"/>
                </a:cxn>
                <a:cxn ang="0">
                  <a:pos x="T10" y="T11"/>
                </a:cxn>
                <a:cxn ang="0">
                  <a:pos x="T12" y="T13"/>
                </a:cxn>
              </a:cxnLst>
              <a:rect l="0" t="0" r="r" b="b"/>
              <a:pathLst>
                <a:path w="381" h="405">
                  <a:moveTo>
                    <a:pt x="198" y="202"/>
                  </a:moveTo>
                  <a:lnTo>
                    <a:pt x="381" y="177"/>
                  </a:lnTo>
                  <a:cubicBezTo>
                    <a:pt x="377" y="145"/>
                    <a:pt x="363" y="113"/>
                    <a:pt x="341" y="87"/>
                  </a:cubicBezTo>
                  <a:cubicBezTo>
                    <a:pt x="277" y="10"/>
                    <a:pt x="163" y="0"/>
                    <a:pt x="87" y="65"/>
                  </a:cubicBezTo>
                  <a:cubicBezTo>
                    <a:pt x="10" y="129"/>
                    <a:pt x="0" y="242"/>
                    <a:pt x="64" y="319"/>
                  </a:cubicBezTo>
                  <a:cubicBezTo>
                    <a:pt x="128" y="394"/>
                    <a:pt x="240" y="405"/>
                    <a:pt x="316" y="343"/>
                  </a:cubicBezTo>
                  <a:lnTo>
                    <a:pt x="198" y="202"/>
                  </a:lnTo>
                </a:path>
              </a:pathLst>
            </a:custGeom>
            <a:solidFill>
              <a:srgbClr val="F09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7" name="Rectangle 1540"/>
            <p:cNvSpPr>
              <a:spLocks noChangeArrowheads="1"/>
            </p:cNvSpPr>
            <p:nvPr/>
          </p:nvSpPr>
          <p:spPr bwMode="auto">
            <a:xfrm>
              <a:off x="2441575" y="5880100"/>
              <a:ext cx="136525"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8" name="Rectangle 1541"/>
            <p:cNvSpPr>
              <a:spLocks noChangeArrowheads="1"/>
            </p:cNvSpPr>
            <p:nvPr/>
          </p:nvSpPr>
          <p:spPr bwMode="auto">
            <a:xfrm>
              <a:off x="2441575" y="5919787"/>
              <a:ext cx="136525"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9" name="Rectangle 1542"/>
            <p:cNvSpPr>
              <a:spLocks noChangeArrowheads="1"/>
            </p:cNvSpPr>
            <p:nvPr/>
          </p:nvSpPr>
          <p:spPr bwMode="auto">
            <a:xfrm>
              <a:off x="2441575" y="5957887"/>
              <a:ext cx="87313"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4288228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1985">
            <a:extLst>
              <a:ext uri="{FF2B5EF4-FFF2-40B4-BE49-F238E27FC236}">
                <a16:creationId xmlns:a16="http://schemas.microsoft.com/office/drawing/2014/main" id="{AE721744-7FD9-4A23-9D69-16BE8E47CF2F}"/>
              </a:ext>
            </a:extLst>
          </p:cNvPr>
          <p:cNvSpPr>
            <a:spLocks/>
          </p:cNvSpPr>
          <p:nvPr/>
        </p:nvSpPr>
        <p:spPr bwMode="auto">
          <a:xfrm>
            <a:off x="5295390" y="1624154"/>
            <a:ext cx="2169160" cy="2680732"/>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pPr defTabSz="685800">
              <a:buClrTx/>
              <a:defRPr/>
            </a:pPr>
            <a:endParaRPr lang="en-US" sz="1350" kern="1200" dirty="0">
              <a:solidFill>
                <a:prstClr val="black"/>
              </a:solidFill>
              <a:ea typeface="+mn-ea"/>
              <a:cs typeface="+mn-cs"/>
            </a:endParaRPr>
          </a:p>
        </p:txBody>
      </p:sp>
      <p:sp>
        <p:nvSpPr>
          <p:cNvPr id="6" name="Freeform 2233">
            <a:extLst>
              <a:ext uri="{FF2B5EF4-FFF2-40B4-BE49-F238E27FC236}">
                <a16:creationId xmlns:a16="http://schemas.microsoft.com/office/drawing/2014/main" id="{ADFF7861-968E-43EF-A532-0B037B66F0B5}"/>
              </a:ext>
            </a:extLst>
          </p:cNvPr>
          <p:cNvSpPr>
            <a:spLocks/>
          </p:cNvSpPr>
          <p:nvPr/>
        </p:nvSpPr>
        <p:spPr bwMode="auto">
          <a:xfrm>
            <a:off x="5677891" y="1080700"/>
            <a:ext cx="1404158" cy="429634"/>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solidFill>
            <a:srgbClr val="7F7F7F"/>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7" name="Rectangle 2234">
            <a:extLst>
              <a:ext uri="{FF2B5EF4-FFF2-40B4-BE49-F238E27FC236}">
                <a16:creationId xmlns:a16="http://schemas.microsoft.com/office/drawing/2014/main" id="{B7E34238-4359-42E8-93A4-86D6A38D77A8}"/>
              </a:ext>
            </a:extLst>
          </p:cNvPr>
          <p:cNvSpPr>
            <a:spLocks noChangeArrowheads="1"/>
          </p:cNvSpPr>
          <p:nvPr/>
        </p:nvSpPr>
        <p:spPr bwMode="auto">
          <a:xfrm>
            <a:off x="5677891" y="1508883"/>
            <a:ext cx="1404158" cy="115271"/>
          </a:xfrm>
          <a:prstGeom prst="rect">
            <a:avLst/>
          </a:pr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8" name="Freeform 2235">
            <a:extLst>
              <a:ext uri="{FF2B5EF4-FFF2-40B4-BE49-F238E27FC236}">
                <a16:creationId xmlns:a16="http://schemas.microsoft.com/office/drawing/2014/main" id="{54F9002D-1A5F-4D2D-9C47-C2D8E4B6008A}"/>
              </a:ext>
            </a:extLst>
          </p:cNvPr>
          <p:cNvSpPr>
            <a:spLocks noEditPoints="1"/>
          </p:cNvSpPr>
          <p:nvPr/>
        </p:nvSpPr>
        <p:spPr bwMode="auto">
          <a:xfrm>
            <a:off x="6191351" y="900866"/>
            <a:ext cx="377237" cy="366761"/>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solidFill>
            <a:srgbClr val="7F7F7F"/>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9" name="Rectangle 2236">
            <a:extLst>
              <a:ext uri="{FF2B5EF4-FFF2-40B4-BE49-F238E27FC236}">
                <a16:creationId xmlns:a16="http://schemas.microsoft.com/office/drawing/2014/main" id="{FEAE216B-4657-4416-BCE0-741B549F9786}"/>
              </a:ext>
            </a:extLst>
          </p:cNvPr>
          <p:cNvSpPr>
            <a:spLocks noChangeArrowheads="1"/>
          </p:cNvSpPr>
          <p:nvPr/>
        </p:nvSpPr>
        <p:spPr bwMode="auto">
          <a:xfrm>
            <a:off x="5677891" y="1056804"/>
            <a:ext cx="1404158" cy="31439"/>
          </a:xfrm>
          <a:prstGeom prst="rect">
            <a:avLst/>
          </a:pr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0" name="Rectangle 2237">
            <a:extLst>
              <a:ext uri="{FF2B5EF4-FFF2-40B4-BE49-F238E27FC236}">
                <a16:creationId xmlns:a16="http://schemas.microsoft.com/office/drawing/2014/main" id="{6AEE5AC7-E68B-4357-8558-11C8D95D994A}"/>
              </a:ext>
            </a:extLst>
          </p:cNvPr>
          <p:cNvSpPr>
            <a:spLocks noChangeArrowheads="1"/>
          </p:cNvSpPr>
          <p:nvPr/>
        </p:nvSpPr>
        <p:spPr bwMode="auto">
          <a:xfrm>
            <a:off x="6003215" y="1005879"/>
            <a:ext cx="241016" cy="62873"/>
          </a:xfrm>
          <a:prstGeom prst="rect">
            <a:avLst/>
          </a:prstGeom>
          <a:solidFill>
            <a:srgbClr val="7F7F7F"/>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1" name="Rectangle 2238">
            <a:extLst>
              <a:ext uri="{FF2B5EF4-FFF2-40B4-BE49-F238E27FC236}">
                <a16:creationId xmlns:a16="http://schemas.microsoft.com/office/drawing/2014/main" id="{8E5F94DC-FB85-4BC0-8EB6-92EF7D164AF2}"/>
              </a:ext>
            </a:extLst>
          </p:cNvPr>
          <p:cNvSpPr>
            <a:spLocks noChangeArrowheads="1"/>
          </p:cNvSpPr>
          <p:nvPr/>
        </p:nvSpPr>
        <p:spPr bwMode="auto">
          <a:xfrm>
            <a:off x="6526593" y="1011827"/>
            <a:ext cx="241016" cy="52397"/>
          </a:xfrm>
          <a:prstGeom prst="rect">
            <a:avLst/>
          </a:prstGeom>
          <a:solidFill>
            <a:srgbClr val="7F7F7F"/>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nvGrpSpPr>
          <p:cNvPr id="49" name="Group 48">
            <a:extLst>
              <a:ext uri="{FF2B5EF4-FFF2-40B4-BE49-F238E27FC236}">
                <a16:creationId xmlns:a16="http://schemas.microsoft.com/office/drawing/2014/main" id="{A7A0F540-1F92-82B8-3F71-3FEB0A218934}"/>
              </a:ext>
            </a:extLst>
          </p:cNvPr>
          <p:cNvGrpSpPr/>
          <p:nvPr/>
        </p:nvGrpSpPr>
        <p:grpSpPr>
          <a:xfrm>
            <a:off x="5480526" y="1908575"/>
            <a:ext cx="1711268" cy="789414"/>
            <a:chOff x="2309459" y="2712086"/>
            <a:chExt cx="1215543" cy="628731"/>
          </a:xfrm>
        </p:grpSpPr>
        <p:sp>
          <p:nvSpPr>
            <p:cNvPr id="13" name="Rectangle 2240">
              <a:extLst>
                <a:ext uri="{FF2B5EF4-FFF2-40B4-BE49-F238E27FC236}">
                  <a16:creationId xmlns:a16="http://schemas.microsoft.com/office/drawing/2014/main" id="{39D64B28-F430-4FB9-8D87-EC954BE0E24C}"/>
                </a:ext>
              </a:extLst>
            </p:cNvPr>
            <p:cNvSpPr>
              <a:spLocks noChangeArrowheads="1"/>
            </p:cNvSpPr>
            <p:nvPr/>
          </p:nvSpPr>
          <p:spPr bwMode="auto">
            <a:xfrm>
              <a:off x="2309459" y="2712086"/>
              <a:ext cx="461072"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4" name="Rectangle 2241">
              <a:extLst>
                <a:ext uri="{FF2B5EF4-FFF2-40B4-BE49-F238E27FC236}">
                  <a16:creationId xmlns:a16="http://schemas.microsoft.com/office/drawing/2014/main" id="{5D48DE15-7372-42F0-B247-3F9BD99B11A1}"/>
                </a:ext>
              </a:extLst>
            </p:cNvPr>
            <p:cNvSpPr>
              <a:spLocks noChangeArrowheads="1"/>
            </p:cNvSpPr>
            <p:nvPr/>
          </p:nvSpPr>
          <p:spPr bwMode="auto">
            <a:xfrm>
              <a:off x="2309459" y="2893722"/>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5" name="Rectangle 2242">
              <a:extLst>
                <a:ext uri="{FF2B5EF4-FFF2-40B4-BE49-F238E27FC236}">
                  <a16:creationId xmlns:a16="http://schemas.microsoft.com/office/drawing/2014/main" id="{FCDAC809-BCAF-422A-AEF4-AC355CC5FDBC}"/>
                </a:ext>
              </a:extLst>
            </p:cNvPr>
            <p:cNvSpPr>
              <a:spLocks noChangeArrowheads="1"/>
            </p:cNvSpPr>
            <p:nvPr/>
          </p:nvSpPr>
          <p:spPr bwMode="auto">
            <a:xfrm>
              <a:off x="2309459" y="3075351"/>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6" name="Rectangle 2243">
              <a:extLst>
                <a:ext uri="{FF2B5EF4-FFF2-40B4-BE49-F238E27FC236}">
                  <a16:creationId xmlns:a16="http://schemas.microsoft.com/office/drawing/2014/main" id="{4DED901B-0B36-46FC-86CD-3A43EE8D27C8}"/>
                </a:ext>
              </a:extLst>
            </p:cNvPr>
            <p:cNvSpPr>
              <a:spLocks noChangeArrowheads="1"/>
            </p:cNvSpPr>
            <p:nvPr/>
          </p:nvSpPr>
          <p:spPr bwMode="auto">
            <a:xfrm>
              <a:off x="2309459" y="3256987"/>
              <a:ext cx="1215543" cy="83830"/>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grpSp>
        <p:nvGrpSpPr>
          <p:cNvPr id="2" name="Group 1">
            <a:extLst>
              <a:ext uri="{FF2B5EF4-FFF2-40B4-BE49-F238E27FC236}">
                <a16:creationId xmlns:a16="http://schemas.microsoft.com/office/drawing/2014/main" id="{80CAF9D3-694C-072F-818F-DFE9B4D3C7DA}"/>
              </a:ext>
            </a:extLst>
          </p:cNvPr>
          <p:cNvGrpSpPr>
            <a:grpSpLocks noChangeAspect="1"/>
          </p:cNvGrpSpPr>
          <p:nvPr/>
        </p:nvGrpSpPr>
        <p:grpSpPr>
          <a:xfrm>
            <a:off x="1050980" y="1345214"/>
            <a:ext cx="440000" cy="432000"/>
            <a:chOff x="1401304" y="2642231"/>
            <a:chExt cx="768448" cy="754474"/>
          </a:xfrm>
        </p:grpSpPr>
        <p:sp>
          <p:nvSpPr>
            <p:cNvPr id="12" name="Freeform 2239">
              <a:extLst>
                <a:ext uri="{FF2B5EF4-FFF2-40B4-BE49-F238E27FC236}">
                  <a16:creationId xmlns:a16="http://schemas.microsoft.com/office/drawing/2014/main" id="{F5DAEBB6-5091-443B-91FC-BD9D0690E36F}"/>
                </a:ext>
              </a:extLst>
            </p:cNvPr>
            <p:cNvSpPr>
              <a:spLocks noEditPoints="1"/>
            </p:cNvSpPr>
            <p:nvPr/>
          </p:nvSpPr>
          <p:spPr bwMode="auto">
            <a:xfrm>
              <a:off x="1401304" y="2642231"/>
              <a:ext cx="768448" cy="754474"/>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7" name="Freeform 2244">
              <a:extLst>
                <a:ext uri="{FF2B5EF4-FFF2-40B4-BE49-F238E27FC236}">
                  <a16:creationId xmlns:a16="http://schemas.microsoft.com/office/drawing/2014/main" id="{B1790A10-A007-4416-9583-45077D2E14DF}"/>
                </a:ext>
              </a:extLst>
            </p:cNvPr>
            <p:cNvSpPr>
              <a:spLocks/>
            </p:cNvSpPr>
            <p:nvPr/>
          </p:nvSpPr>
          <p:spPr bwMode="auto">
            <a:xfrm>
              <a:off x="1541021" y="2837834"/>
              <a:ext cx="502983" cy="335321"/>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grpSp>
        <p:nvGrpSpPr>
          <p:cNvPr id="50" name="Group 49">
            <a:extLst>
              <a:ext uri="{FF2B5EF4-FFF2-40B4-BE49-F238E27FC236}">
                <a16:creationId xmlns:a16="http://schemas.microsoft.com/office/drawing/2014/main" id="{C9B8F3D7-71D5-AEF4-0ECC-54FE284BC0A3}"/>
              </a:ext>
            </a:extLst>
          </p:cNvPr>
          <p:cNvGrpSpPr/>
          <p:nvPr/>
        </p:nvGrpSpPr>
        <p:grpSpPr>
          <a:xfrm>
            <a:off x="5480527" y="2843560"/>
            <a:ext cx="1817000" cy="589071"/>
            <a:chOff x="2309459" y="3557376"/>
            <a:chExt cx="1215543" cy="628733"/>
          </a:xfrm>
        </p:grpSpPr>
        <p:sp>
          <p:nvSpPr>
            <p:cNvPr id="19" name="Rectangle 2246">
              <a:extLst>
                <a:ext uri="{FF2B5EF4-FFF2-40B4-BE49-F238E27FC236}">
                  <a16:creationId xmlns:a16="http://schemas.microsoft.com/office/drawing/2014/main" id="{376101E8-8D1E-4BF1-B968-DE4D7060E22B}"/>
                </a:ext>
              </a:extLst>
            </p:cNvPr>
            <p:cNvSpPr>
              <a:spLocks noChangeArrowheads="1"/>
            </p:cNvSpPr>
            <p:nvPr/>
          </p:nvSpPr>
          <p:spPr bwMode="auto">
            <a:xfrm>
              <a:off x="2309459" y="3557376"/>
              <a:ext cx="461072" cy="83830"/>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20" name="Rectangle 2247">
              <a:extLst>
                <a:ext uri="{FF2B5EF4-FFF2-40B4-BE49-F238E27FC236}">
                  <a16:creationId xmlns:a16="http://schemas.microsoft.com/office/drawing/2014/main" id="{E5B4C060-F8B1-4DC1-9846-A106C69722CA}"/>
                </a:ext>
              </a:extLst>
            </p:cNvPr>
            <p:cNvSpPr>
              <a:spLocks noChangeArrowheads="1"/>
            </p:cNvSpPr>
            <p:nvPr/>
          </p:nvSpPr>
          <p:spPr bwMode="auto">
            <a:xfrm>
              <a:off x="2309459" y="3739003"/>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21" name="Rectangle 2248">
              <a:extLst>
                <a:ext uri="{FF2B5EF4-FFF2-40B4-BE49-F238E27FC236}">
                  <a16:creationId xmlns:a16="http://schemas.microsoft.com/office/drawing/2014/main" id="{ECA03F2C-26DB-4413-8A76-7292C6A0B87E}"/>
                </a:ext>
              </a:extLst>
            </p:cNvPr>
            <p:cNvSpPr>
              <a:spLocks noChangeArrowheads="1"/>
            </p:cNvSpPr>
            <p:nvPr/>
          </p:nvSpPr>
          <p:spPr bwMode="auto">
            <a:xfrm>
              <a:off x="2309459" y="3920641"/>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22" name="Rectangle 2249">
              <a:extLst>
                <a:ext uri="{FF2B5EF4-FFF2-40B4-BE49-F238E27FC236}">
                  <a16:creationId xmlns:a16="http://schemas.microsoft.com/office/drawing/2014/main" id="{35C278D8-6D86-4903-BCD3-345BE1E2DA3B}"/>
                </a:ext>
              </a:extLst>
            </p:cNvPr>
            <p:cNvSpPr>
              <a:spLocks noChangeArrowheads="1"/>
            </p:cNvSpPr>
            <p:nvPr/>
          </p:nvSpPr>
          <p:spPr bwMode="auto">
            <a:xfrm>
              <a:off x="2309459" y="4088303"/>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sp>
        <p:nvSpPr>
          <p:cNvPr id="24" name="Freeform 2251">
            <a:extLst>
              <a:ext uri="{FF2B5EF4-FFF2-40B4-BE49-F238E27FC236}">
                <a16:creationId xmlns:a16="http://schemas.microsoft.com/office/drawing/2014/main" id="{E10E24C8-3114-422A-91EC-47898F34DC43}"/>
              </a:ext>
            </a:extLst>
          </p:cNvPr>
          <p:cNvSpPr>
            <a:spLocks noEditPoints="1"/>
          </p:cNvSpPr>
          <p:nvPr/>
        </p:nvSpPr>
        <p:spPr bwMode="auto">
          <a:xfrm>
            <a:off x="1050980" y="3599260"/>
            <a:ext cx="440000" cy="43200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nvGrpSpPr>
          <p:cNvPr id="52" name="Group 51">
            <a:extLst>
              <a:ext uri="{FF2B5EF4-FFF2-40B4-BE49-F238E27FC236}">
                <a16:creationId xmlns:a16="http://schemas.microsoft.com/office/drawing/2014/main" id="{4DC6252C-B2E1-5DCC-0110-8877B8223681}"/>
              </a:ext>
            </a:extLst>
          </p:cNvPr>
          <p:cNvGrpSpPr/>
          <p:nvPr/>
        </p:nvGrpSpPr>
        <p:grpSpPr>
          <a:xfrm>
            <a:off x="5480526" y="3546451"/>
            <a:ext cx="1798854" cy="379609"/>
            <a:chOff x="2309459" y="5206029"/>
            <a:chExt cx="1215543" cy="628734"/>
          </a:xfrm>
        </p:grpSpPr>
        <p:sp>
          <p:nvSpPr>
            <p:cNvPr id="36" name="Rectangle 2252">
              <a:extLst>
                <a:ext uri="{FF2B5EF4-FFF2-40B4-BE49-F238E27FC236}">
                  <a16:creationId xmlns:a16="http://schemas.microsoft.com/office/drawing/2014/main" id="{37997F96-1A61-F1E6-E3B8-6A16318AE7E9}"/>
                </a:ext>
              </a:extLst>
            </p:cNvPr>
            <p:cNvSpPr>
              <a:spLocks noChangeArrowheads="1"/>
            </p:cNvSpPr>
            <p:nvPr/>
          </p:nvSpPr>
          <p:spPr bwMode="auto">
            <a:xfrm>
              <a:off x="2309459" y="5206029"/>
              <a:ext cx="461072"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37" name="Rectangle 2253">
              <a:extLst>
                <a:ext uri="{FF2B5EF4-FFF2-40B4-BE49-F238E27FC236}">
                  <a16:creationId xmlns:a16="http://schemas.microsoft.com/office/drawing/2014/main" id="{12E5AE51-844A-A3C1-3317-18710470041A}"/>
                </a:ext>
              </a:extLst>
            </p:cNvPr>
            <p:cNvSpPr>
              <a:spLocks noChangeArrowheads="1"/>
            </p:cNvSpPr>
            <p:nvPr/>
          </p:nvSpPr>
          <p:spPr bwMode="auto">
            <a:xfrm>
              <a:off x="2309459" y="5387667"/>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38" name="Rectangle 2254">
              <a:extLst>
                <a:ext uri="{FF2B5EF4-FFF2-40B4-BE49-F238E27FC236}">
                  <a16:creationId xmlns:a16="http://schemas.microsoft.com/office/drawing/2014/main" id="{F137DF7B-D2D2-18E6-CB38-A48FD3C5E953}"/>
                </a:ext>
              </a:extLst>
            </p:cNvPr>
            <p:cNvSpPr>
              <a:spLocks noChangeArrowheads="1"/>
            </p:cNvSpPr>
            <p:nvPr/>
          </p:nvSpPr>
          <p:spPr bwMode="auto">
            <a:xfrm>
              <a:off x="2309459" y="5569294"/>
              <a:ext cx="1215543" cy="97806"/>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39" name="Rectangle 2255">
              <a:extLst>
                <a:ext uri="{FF2B5EF4-FFF2-40B4-BE49-F238E27FC236}">
                  <a16:creationId xmlns:a16="http://schemas.microsoft.com/office/drawing/2014/main" id="{3212FCC6-4401-B103-F419-24CEDED4E695}"/>
                </a:ext>
              </a:extLst>
            </p:cNvPr>
            <p:cNvSpPr>
              <a:spLocks noChangeArrowheads="1"/>
            </p:cNvSpPr>
            <p:nvPr/>
          </p:nvSpPr>
          <p:spPr bwMode="auto">
            <a:xfrm>
              <a:off x="2309459" y="5750933"/>
              <a:ext cx="1215543" cy="83830"/>
            </a:xfrm>
            <a:prstGeom prst="rect">
              <a:avLst/>
            </a:pr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grpSp>
        <p:nvGrpSpPr>
          <p:cNvPr id="85" name="Pencil"/>
          <p:cNvGrpSpPr>
            <a:grpSpLocks noChangeAspect="1"/>
          </p:cNvGrpSpPr>
          <p:nvPr>
            <p:custDataLst>
              <p:tags r:id="rId1"/>
            </p:custDataLst>
          </p:nvPr>
        </p:nvGrpSpPr>
        <p:grpSpPr>
          <a:xfrm rot="2897382">
            <a:off x="7117081" y="2034493"/>
            <a:ext cx="883920" cy="879957"/>
            <a:chOff x="1857376" y="2784475"/>
            <a:chExt cx="354013" cy="352425"/>
          </a:xfrm>
        </p:grpSpPr>
        <p:sp>
          <p:nvSpPr>
            <p:cNvPr id="86" name="Oval 243"/>
            <p:cNvSpPr>
              <a:spLocks noChangeArrowheads="1"/>
            </p:cNvSpPr>
            <p:nvPr/>
          </p:nvSpPr>
          <p:spPr bwMode="auto">
            <a:xfrm>
              <a:off x="1857376" y="2784475"/>
              <a:ext cx="354013" cy="352425"/>
            </a:xfrm>
            <a:prstGeom prst="ellipse">
              <a:avLst/>
            </a:prstGeom>
            <a:solidFill>
              <a:srgbClr val="9E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7" name="Freeform 244"/>
            <p:cNvSpPr>
              <a:spLocks/>
            </p:cNvSpPr>
            <p:nvPr/>
          </p:nvSpPr>
          <p:spPr bwMode="auto">
            <a:xfrm>
              <a:off x="1990726" y="2860675"/>
              <a:ext cx="87313" cy="244475"/>
            </a:xfrm>
            <a:custGeom>
              <a:avLst/>
              <a:gdLst>
                <a:gd name="T0" fmla="*/ 133 w 266"/>
                <a:gd name="T1" fmla="*/ 734 h 734"/>
                <a:gd name="T2" fmla="*/ 89 w 266"/>
                <a:gd name="T3" fmla="*/ 667 h 734"/>
                <a:gd name="T4" fmla="*/ 0 w 266"/>
                <a:gd name="T5" fmla="*/ 534 h 734"/>
                <a:gd name="T6" fmla="*/ 0 w 266"/>
                <a:gd name="T7" fmla="*/ 50 h 734"/>
                <a:gd name="T8" fmla="*/ 50 w 266"/>
                <a:gd name="T9" fmla="*/ 0 h 734"/>
                <a:gd name="T10" fmla="*/ 216 w 266"/>
                <a:gd name="T11" fmla="*/ 0 h 734"/>
                <a:gd name="T12" fmla="*/ 266 w 266"/>
                <a:gd name="T13" fmla="*/ 50 h 734"/>
                <a:gd name="T14" fmla="*/ 266 w 266"/>
                <a:gd name="T15" fmla="*/ 134 h 734"/>
                <a:gd name="T16" fmla="*/ 266 w 266"/>
                <a:gd name="T17" fmla="*/ 150 h 734"/>
                <a:gd name="T18" fmla="*/ 266 w 266"/>
                <a:gd name="T19" fmla="*/ 534 h 734"/>
                <a:gd name="T20" fmla="*/ 178 w 266"/>
                <a:gd name="T21" fmla="*/ 667 h 734"/>
                <a:gd name="T22" fmla="*/ 133 w 266"/>
                <a:gd name="T23" fmla="*/ 73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734">
                  <a:moveTo>
                    <a:pt x="133" y="734"/>
                  </a:moveTo>
                  <a:lnTo>
                    <a:pt x="89" y="667"/>
                  </a:lnTo>
                  <a:lnTo>
                    <a:pt x="0" y="534"/>
                  </a:lnTo>
                  <a:lnTo>
                    <a:pt x="0" y="50"/>
                  </a:lnTo>
                  <a:cubicBezTo>
                    <a:pt x="0" y="23"/>
                    <a:pt x="22" y="0"/>
                    <a:pt x="50" y="0"/>
                  </a:cubicBezTo>
                  <a:lnTo>
                    <a:pt x="216" y="0"/>
                  </a:lnTo>
                  <a:cubicBezTo>
                    <a:pt x="244" y="0"/>
                    <a:pt x="266" y="23"/>
                    <a:pt x="266" y="50"/>
                  </a:cubicBezTo>
                  <a:lnTo>
                    <a:pt x="266" y="134"/>
                  </a:lnTo>
                  <a:lnTo>
                    <a:pt x="266" y="150"/>
                  </a:lnTo>
                  <a:lnTo>
                    <a:pt x="266" y="534"/>
                  </a:lnTo>
                  <a:lnTo>
                    <a:pt x="178" y="667"/>
                  </a:lnTo>
                  <a:lnTo>
                    <a:pt x="133" y="734"/>
                  </a:ln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8" name="Freeform 245"/>
            <p:cNvSpPr>
              <a:spLocks/>
            </p:cNvSpPr>
            <p:nvPr/>
          </p:nvSpPr>
          <p:spPr bwMode="auto">
            <a:xfrm>
              <a:off x="1990726" y="2849563"/>
              <a:ext cx="87313" cy="66675"/>
            </a:xfrm>
            <a:custGeom>
              <a:avLst/>
              <a:gdLst>
                <a:gd name="T0" fmla="*/ 266 w 266"/>
                <a:gd name="T1" fmla="*/ 150 h 200"/>
                <a:gd name="T2" fmla="*/ 216 w 266"/>
                <a:gd name="T3" fmla="*/ 200 h 200"/>
                <a:gd name="T4" fmla="*/ 50 w 266"/>
                <a:gd name="T5" fmla="*/ 200 h 200"/>
                <a:gd name="T6" fmla="*/ 0 w 266"/>
                <a:gd name="T7" fmla="*/ 150 h 200"/>
                <a:gd name="T8" fmla="*/ 0 w 266"/>
                <a:gd name="T9" fmla="*/ 50 h 200"/>
                <a:gd name="T10" fmla="*/ 50 w 266"/>
                <a:gd name="T11" fmla="*/ 0 h 200"/>
                <a:gd name="T12" fmla="*/ 216 w 266"/>
                <a:gd name="T13" fmla="*/ 0 h 200"/>
                <a:gd name="T14" fmla="*/ 266 w 266"/>
                <a:gd name="T15" fmla="*/ 50 h 200"/>
                <a:gd name="T16" fmla="*/ 266 w 266"/>
                <a:gd name="T17" fmla="*/ 1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200">
                  <a:moveTo>
                    <a:pt x="266" y="150"/>
                  </a:moveTo>
                  <a:cubicBezTo>
                    <a:pt x="266" y="178"/>
                    <a:pt x="244" y="200"/>
                    <a:pt x="216" y="200"/>
                  </a:cubicBezTo>
                  <a:lnTo>
                    <a:pt x="50" y="200"/>
                  </a:lnTo>
                  <a:cubicBezTo>
                    <a:pt x="22" y="200"/>
                    <a:pt x="0" y="178"/>
                    <a:pt x="0" y="150"/>
                  </a:cubicBezTo>
                  <a:lnTo>
                    <a:pt x="0" y="50"/>
                  </a:lnTo>
                  <a:cubicBezTo>
                    <a:pt x="0" y="22"/>
                    <a:pt x="22" y="0"/>
                    <a:pt x="50" y="0"/>
                  </a:cubicBezTo>
                  <a:lnTo>
                    <a:pt x="216" y="0"/>
                  </a:lnTo>
                  <a:cubicBezTo>
                    <a:pt x="244" y="0"/>
                    <a:pt x="266" y="22"/>
                    <a:pt x="266" y="50"/>
                  </a:cubicBezTo>
                  <a:lnTo>
                    <a:pt x="266" y="150"/>
                  </a:lnTo>
                  <a:close/>
                </a:path>
              </a:pathLst>
            </a:custGeom>
            <a:solidFill>
              <a:srgbClr val="C847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9" name="Rectangle 246"/>
            <p:cNvSpPr>
              <a:spLocks noChangeArrowheads="1"/>
            </p:cNvSpPr>
            <p:nvPr/>
          </p:nvSpPr>
          <p:spPr bwMode="auto">
            <a:xfrm>
              <a:off x="1990726" y="2894013"/>
              <a:ext cx="20638" cy="133350"/>
            </a:xfrm>
            <a:prstGeom prst="rect">
              <a:avLst/>
            </a:prstGeom>
            <a:solidFill>
              <a:srgbClr val="E08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0" name="Rectangle 247"/>
            <p:cNvSpPr>
              <a:spLocks noChangeArrowheads="1"/>
            </p:cNvSpPr>
            <p:nvPr/>
          </p:nvSpPr>
          <p:spPr bwMode="auto">
            <a:xfrm>
              <a:off x="2011363" y="2894013"/>
              <a:ext cx="44450" cy="144463"/>
            </a:xfrm>
            <a:prstGeom prst="rect">
              <a:avLst/>
            </a:prstGeom>
            <a:solidFill>
              <a:srgbClr val="F3CC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1" name="Rectangle 248"/>
            <p:cNvSpPr>
              <a:spLocks noChangeArrowheads="1"/>
            </p:cNvSpPr>
            <p:nvPr/>
          </p:nvSpPr>
          <p:spPr bwMode="auto">
            <a:xfrm>
              <a:off x="2055813" y="2894013"/>
              <a:ext cx="22225" cy="133350"/>
            </a:xfrm>
            <a:prstGeom prst="rect">
              <a:avLst/>
            </a:prstGeom>
            <a:solidFill>
              <a:srgbClr val="E08E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2" name="Freeform 249"/>
            <p:cNvSpPr>
              <a:spLocks/>
            </p:cNvSpPr>
            <p:nvPr/>
          </p:nvSpPr>
          <p:spPr bwMode="auto">
            <a:xfrm>
              <a:off x="2019301" y="3071813"/>
              <a:ext cx="30163" cy="20638"/>
            </a:xfrm>
            <a:custGeom>
              <a:avLst/>
              <a:gdLst>
                <a:gd name="T0" fmla="*/ 44 w 89"/>
                <a:gd name="T1" fmla="*/ 66 h 66"/>
                <a:gd name="T2" fmla="*/ 89 w 89"/>
                <a:gd name="T3" fmla="*/ 0 h 66"/>
                <a:gd name="T4" fmla="*/ 0 w 89"/>
                <a:gd name="T5" fmla="*/ 0 h 66"/>
                <a:gd name="T6" fmla="*/ 44 w 89"/>
                <a:gd name="T7" fmla="*/ 66 h 66"/>
              </a:gdLst>
              <a:ahLst/>
              <a:cxnLst>
                <a:cxn ang="0">
                  <a:pos x="T0" y="T1"/>
                </a:cxn>
                <a:cxn ang="0">
                  <a:pos x="T2" y="T3"/>
                </a:cxn>
                <a:cxn ang="0">
                  <a:pos x="T4" y="T5"/>
                </a:cxn>
                <a:cxn ang="0">
                  <a:pos x="T6" y="T7"/>
                </a:cxn>
              </a:cxnLst>
              <a:rect l="0" t="0" r="r" b="b"/>
              <a:pathLst>
                <a:path w="89" h="66">
                  <a:moveTo>
                    <a:pt x="44" y="66"/>
                  </a:moveTo>
                  <a:lnTo>
                    <a:pt x="89" y="0"/>
                  </a:lnTo>
                  <a:lnTo>
                    <a:pt x="0" y="0"/>
                  </a:lnTo>
                  <a:lnTo>
                    <a:pt x="44" y="66"/>
                  </a:lnTo>
                  <a:close/>
                </a:path>
              </a:pathLst>
            </a:custGeom>
            <a:solidFill>
              <a:srgbClr val="4956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3" name="Freeform 250"/>
            <p:cNvSpPr>
              <a:spLocks/>
            </p:cNvSpPr>
            <p:nvPr/>
          </p:nvSpPr>
          <p:spPr bwMode="auto">
            <a:xfrm>
              <a:off x="1990726" y="3016250"/>
              <a:ext cx="87313" cy="55563"/>
            </a:xfrm>
            <a:custGeom>
              <a:avLst/>
              <a:gdLst>
                <a:gd name="T0" fmla="*/ 0 w 55"/>
                <a:gd name="T1" fmla="*/ 7 h 35"/>
                <a:gd name="T2" fmla="*/ 18 w 55"/>
                <a:gd name="T3" fmla="*/ 35 h 35"/>
                <a:gd name="T4" fmla="*/ 37 w 55"/>
                <a:gd name="T5" fmla="*/ 35 h 35"/>
                <a:gd name="T6" fmla="*/ 55 w 55"/>
                <a:gd name="T7" fmla="*/ 7 h 35"/>
                <a:gd name="T8" fmla="*/ 48 w 55"/>
                <a:gd name="T9" fmla="*/ 7 h 35"/>
                <a:gd name="T10" fmla="*/ 41 w 55"/>
                <a:gd name="T11" fmla="*/ 0 h 35"/>
                <a:gd name="T12" fmla="*/ 27 w 55"/>
                <a:gd name="T13" fmla="*/ 14 h 35"/>
                <a:gd name="T14" fmla="*/ 13 w 55"/>
                <a:gd name="T15" fmla="*/ 0 h 35"/>
                <a:gd name="T16" fmla="*/ 6 w 55"/>
                <a:gd name="T17" fmla="*/ 7 h 35"/>
                <a:gd name="T18" fmla="*/ 0 w 55"/>
                <a:gd name="T1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5">
                  <a:moveTo>
                    <a:pt x="0" y="7"/>
                  </a:moveTo>
                  <a:lnTo>
                    <a:pt x="18" y="35"/>
                  </a:lnTo>
                  <a:lnTo>
                    <a:pt x="37" y="35"/>
                  </a:lnTo>
                  <a:lnTo>
                    <a:pt x="55" y="7"/>
                  </a:lnTo>
                  <a:lnTo>
                    <a:pt x="48" y="7"/>
                  </a:lnTo>
                  <a:lnTo>
                    <a:pt x="41" y="0"/>
                  </a:lnTo>
                  <a:lnTo>
                    <a:pt x="27" y="14"/>
                  </a:lnTo>
                  <a:lnTo>
                    <a:pt x="13" y="0"/>
                  </a:lnTo>
                  <a:lnTo>
                    <a:pt x="6" y="7"/>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94" name="Stop"/>
          <p:cNvGrpSpPr>
            <a:grpSpLocks noChangeAspect="1"/>
          </p:cNvGrpSpPr>
          <p:nvPr>
            <p:custDataLst>
              <p:tags r:id="rId2"/>
            </p:custDataLst>
          </p:nvPr>
        </p:nvGrpSpPr>
        <p:grpSpPr>
          <a:xfrm>
            <a:off x="1094640" y="3656500"/>
            <a:ext cx="354013" cy="354013"/>
            <a:chOff x="3729038" y="5229225"/>
            <a:chExt cx="220663" cy="220663"/>
          </a:xfrm>
        </p:grpSpPr>
        <p:sp>
          <p:nvSpPr>
            <p:cNvPr id="95" name="Oval 1882"/>
            <p:cNvSpPr>
              <a:spLocks noChangeArrowheads="1"/>
            </p:cNvSpPr>
            <p:nvPr/>
          </p:nvSpPr>
          <p:spPr bwMode="auto">
            <a:xfrm>
              <a:off x="3729038" y="5229225"/>
              <a:ext cx="220663" cy="220663"/>
            </a:xfrm>
            <a:prstGeom prst="ellipse">
              <a:avLst/>
            </a:prstGeom>
            <a:solidFill>
              <a:srgbClr val="9ED5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6" name="Freeform 1883"/>
            <p:cNvSpPr>
              <a:spLocks/>
            </p:cNvSpPr>
            <p:nvPr/>
          </p:nvSpPr>
          <p:spPr bwMode="auto">
            <a:xfrm>
              <a:off x="3767138" y="5273675"/>
              <a:ext cx="144463" cy="146050"/>
            </a:xfrm>
            <a:custGeom>
              <a:avLst/>
              <a:gdLst>
                <a:gd name="T0" fmla="*/ 445 w 700"/>
                <a:gd name="T1" fmla="*/ 700 h 700"/>
                <a:gd name="T2" fmla="*/ 255 w 700"/>
                <a:gd name="T3" fmla="*/ 700 h 700"/>
                <a:gd name="T4" fmla="*/ 170 w 700"/>
                <a:gd name="T5" fmla="*/ 665 h 700"/>
                <a:gd name="T6" fmla="*/ 35 w 700"/>
                <a:gd name="T7" fmla="*/ 531 h 700"/>
                <a:gd name="T8" fmla="*/ 0 w 700"/>
                <a:gd name="T9" fmla="*/ 445 h 700"/>
                <a:gd name="T10" fmla="*/ 0 w 700"/>
                <a:gd name="T11" fmla="*/ 255 h 700"/>
                <a:gd name="T12" fmla="*/ 35 w 700"/>
                <a:gd name="T13" fmla="*/ 170 h 700"/>
                <a:gd name="T14" fmla="*/ 170 w 700"/>
                <a:gd name="T15" fmla="*/ 36 h 700"/>
                <a:gd name="T16" fmla="*/ 255 w 700"/>
                <a:gd name="T17" fmla="*/ 0 h 700"/>
                <a:gd name="T18" fmla="*/ 445 w 700"/>
                <a:gd name="T19" fmla="*/ 0 h 700"/>
                <a:gd name="T20" fmla="*/ 530 w 700"/>
                <a:gd name="T21" fmla="*/ 36 h 700"/>
                <a:gd name="T22" fmla="*/ 665 w 700"/>
                <a:gd name="T23" fmla="*/ 170 h 700"/>
                <a:gd name="T24" fmla="*/ 700 w 700"/>
                <a:gd name="T25" fmla="*/ 255 h 700"/>
                <a:gd name="T26" fmla="*/ 700 w 700"/>
                <a:gd name="T27" fmla="*/ 445 h 700"/>
                <a:gd name="T28" fmla="*/ 665 w 700"/>
                <a:gd name="T29" fmla="*/ 531 h 700"/>
                <a:gd name="T30" fmla="*/ 530 w 700"/>
                <a:gd name="T31" fmla="*/ 665 h 700"/>
                <a:gd name="T32" fmla="*/ 445 w 700"/>
                <a:gd name="T33"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0" h="700">
                  <a:moveTo>
                    <a:pt x="445" y="700"/>
                  </a:moveTo>
                  <a:lnTo>
                    <a:pt x="255" y="700"/>
                  </a:lnTo>
                  <a:cubicBezTo>
                    <a:pt x="228" y="700"/>
                    <a:pt x="189" y="684"/>
                    <a:pt x="170" y="665"/>
                  </a:cubicBezTo>
                  <a:lnTo>
                    <a:pt x="35" y="531"/>
                  </a:lnTo>
                  <a:cubicBezTo>
                    <a:pt x="16" y="511"/>
                    <a:pt x="0" y="473"/>
                    <a:pt x="0" y="445"/>
                  </a:cubicBezTo>
                  <a:lnTo>
                    <a:pt x="0" y="255"/>
                  </a:lnTo>
                  <a:cubicBezTo>
                    <a:pt x="0" y="228"/>
                    <a:pt x="16" y="189"/>
                    <a:pt x="35" y="170"/>
                  </a:cubicBezTo>
                  <a:lnTo>
                    <a:pt x="170" y="36"/>
                  </a:lnTo>
                  <a:cubicBezTo>
                    <a:pt x="189" y="16"/>
                    <a:pt x="228" y="0"/>
                    <a:pt x="255" y="0"/>
                  </a:cubicBezTo>
                  <a:lnTo>
                    <a:pt x="445" y="0"/>
                  </a:lnTo>
                  <a:cubicBezTo>
                    <a:pt x="472" y="0"/>
                    <a:pt x="511" y="16"/>
                    <a:pt x="530" y="36"/>
                  </a:cubicBezTo>
                  <a:lnTo>
                    <a:pt x="665" y="170"/>
                  </a:lnTo>
                  <a:cubicBezTo>
                    <a:pt x="684" y="189"/>
                    <a:pt x="700" y="228"/>
                    <a:pt x="700" y="255"/>
                  </a:cubicBezTo>
                  <a:lnTo>
                    <a:pt x="700" y="445"/>
                  </a:lnTo>
                  <a:cubicBezTo>
                    <a:pt x="700" y="473"/>
                    <a:pt x="684" y="511"/>
                    <a:pt x="665" y="531"/>
                  </a:cubicBezTo>
                  <a:lnTo>
                    <a:pt x="530" y="665"/>
                  </a:lnTo>
                  <a:cubicBezTo>
                    <a:pt x="511" y="684"/>
                    <a:pt x="472" y="700"/>
                    <a:pt x="445" y="700"/>
                  </a:cubicBezTo>
                  <a:close/>
                </a:path>
              </a:pathLst>
            </a:custGeom>
            <a:solidFill>
              <a:srgbClr val="54B5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7" name="Freeform 1884"/>
            <p:cNvSpPr>
              <a:spLocks/>
            </p:cNvSpPr>
            <p:nvPr/>
          </p:nvSpPr>
          <p:spPr bwMode="auto">
            <a:xfrm>
              <a:off x="3767138" y="5267325"/>
              <a:ext cx="144463" cy="144463"/>
            </a:xfrm>
            <a:custGeom>
              <a:avLst/>
              <a:gdLst>
                <a:gd name="T0" fmla="*/ 255 w 700"/>
                <a:gd name="T1" fmla="*/ 700 h 700"/>
                <a:gd name="T2" fmla="*/ 170 w 700"/>
                <a:gd name="T3" fmla="*/ 665 h 700"/>
                <a:gd name="T4" fmla="*/ 35 w 700"/>
                <a:gd name="T5" fmla="*/ 530 h 700"/>
                <a:gd name="T6" fmla="*/ 0 w 700"/>
                <a:gd name="T7" fmla="*/ 445 h 700"/>
                <a:gd name="T8" fmla="*/ 0 w 700"/>
                <a:gd name="T9" fmla="*/ 255 h 700"/>
                <a:gd name="T10" fmla="*/ 35 w 700"/>
                <a:gd name="T11" fmla="*/ 170 h 700"/>
                <a:gd name="T12" fmla="*/ 170 w 700"/>
                <a:gd name="T13" fmla="*/ 35 h 700"/>
                <a:gd name="T14" fmla="*/ 255 w 700"/>
                <a:gd name="T15" fmla="*/ 0 h 700"/>
                <a:gd name="T16" fmla="*/ 445 w 700"/>
                <a:gd name="T17" fmla="*/ 0 h 700"/>
                <a:gd name="T18" fmla="*/ 530 w 700"/>
                <a:gd name="T19" fmla="*/ 35 h 700"/>
                <a:gd name="T20" fmla="*/ 665 w 700"/>
                <a:gd name="T21" fmla="*/ 170 h 700"/>
                <a:gd name="T22" fmla="*/ 700 w 700"/>
                <a:gd name="T23" fmla="*/ 255 h 700"/>
                <a:gd name="T24" fmla="*/ 700 w 700"/>
                <a:gd name="T25" fmla="*/ 445 h 700"/>
                <a:gd name="T26" fmla="*/ 665 w 700"/>
                <a:gd name="T27" fmla="*/ 530 h 700"/>
                <a:gd name="T28" fmla="*/ 530 w 700"/>
                <a:gd name="T29" fmla="*/ 665 h 700"/>
                <a:gd name="T30" fmla="*/ 445 w 700"/>
                <a:gd name="T31" fmla="*/ 700 h 700"/>
                <a:gd name="T32" fmla="*/ 255 w 700"/>
                <a:gd name="T33"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0" h="700">
                  <a:moveTo>
                    <a:pt x="255" y="700"/>
                  </a:moveTo>
                  <a:cubicBezTo>
                    <a:pt x="228" y="700"/>
                    <a:pt x="189" y="684"/>
                    <a:pt x="170" y="665"/>
                  </a:cubicBezTo>
                  <a:lnTo>
                    <a:pt x="35" y="530"/>
                  </a:lnTo>
                  <a:cubicBezTo>
                    <a:pt x="16" y="511"/>
                    <a:pt x="0" y="472"/>
                    <a:pt x="0" y="445"/>
                  </a:cubicBezTo>
                  <a:lnTo>
                    <a:pt x="0" y="255"/>
                  </a:lnTo>
                  <a:cubicBezTo>
                    <a:pt x="0" y="227"/>
                    <a:pt x="16" y="189"/>
                    <a:pt x="35" y="170"/>
                  </a:cubicBezTo>
                  <a:lnTo>
                    <a:pt x="170" y="35"/>
                  </a:lnTo>
                  <a:cubicBezTo>
                    <a:pt x="189" y="16"/>
                    <a:pt x="228" y="0"/>
                    <a:pt x="255" y="0"/>
                  </a:cubicBezTo>
                  <a:lnTo>
                    <a:pt x="445" y="0"/>
                  </a:lnTo>
                  <a:cubicBezTo>
                    <a:pt x="472" y="0"/>
                    <a:pt x="511" y="16"/>
                    <a:pt x="530" y="35"/>
                  </a:cubicBezTo>
                  <a:lnTo>
                    <a:pt x="665" y="170"/>
                  </a:lnTo>
                  <a:cubicBezTo>
                    <a:pt x="684" y="189"/>
                    <a:pt x="700" y="227"/>
                    <a:pt x="700" y="255"/>
                  </a:cubicBezTo>
                  <a:lnTo>
                    <a:pt x="700" y="445"/>
                  </a:lnTo>
                  <a:cubicBezTo>
                    <a:pt x="700" y="472"/>
                    <a:pt x="684" y="511"/>
                    <a:pt x="665" y="530"/>
                  </a:cubicBezTo>
                  <a:lnTo>
                    <a:pt x="530" y="665"/>
                  </a:lnTo>
                  <a:cubicBezTo>
                    <a:pt x="511" y="684"/>
                    <a:pt x="472" y="700"/>
                    <a:pt x="445" y="700"/>
                  </a:cubicBezTo>
                  <a:lnTo>
                    <a:pt x="255" y="700"/>
                  </a:lnTo>
                  <a:close/>
                </a:path>
              </a:pathLst>
            </a:custGeom>
            <a:solidFill>
              <a:srgbClr val="C847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8" name="Freeform 1885"/>
            <p:cNvSpPr>
              <a:spLocks/>
            </p:cNvSpPr>
            <p:nvPr/>
          </p:nvSpPr>
          <p:spPr bwMode="auto">
            <a:xfrm>
              <a:off x="3794126" y="5319713"/>
              <a:ext cx="90488" cy="41275"/>
            </a:xfrm>
            <a:custGeom>
              <a:avLst/>
              <a:gdLst>
                <a:gd name="T0" fmla="*/ 434 w 434"/>
                <a:gd name="T1" fmla="*/ 133 h 200"/>
                <a:gd name="T2" fmla="*/ 367 w 434"/>
                <a:gd name="T3" fmla="*/ 200 h 200"/>
                <a:gd name="T4" fmla="*/ 67 w 434"/>
                <a:gd name="T5" fmla="*/ 200 h 200"/>
                <a:gd name="T6" fmla="*/ 0 w 434"/>
                <a:gd name="T7" fmla="*/ 133 h 200"/>
                <a:gd name="T8" fmla="*/ 0 w 434"/>
                <a:gd name="T9" fmla="*/ 67 h 200"/>
                <a:gd name="T10" fmla="*/ 67 w 434"/>
                <a:gd name="T11" fmla="*/ 0 h 200"/>
                <a:gd name="T12" fmla="*/ 367 w 434"/>
                <a:gd name="T13" fmla="*/ 0 h 200"/>
                <a:gd name="T14" fmla="*/ 434 w 434"/>
                <a:gd name="T15" fmla="*/ 67 h 200"/>
                <a:gd name="T16" fmla="*/ 434 w 434"/>
                <a:gd name="T17"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4" h="200">
                  <a:moveTo>
                    <a:pt x="434" y="133"/>
                  </a:moveTo>
                  <a:cubicBezTo>
                    <a:pt x="434" y="170"/>
                    <a:pt x="404" y="200"/>
                    <a:pt x="367" y="200"/>
                  </a:cubicBezTo>
                  <a:lnTo>
                    <a:pt x="67" y="200"/>
                  </a:lnTo>
                  <a:cubicBezTo>
                    <a:pt x="30" y="200"/>
                    <a:pt x="0" y="170"/>
                    <a:pt x="0" y="133"/>
                  </a:cubicBezTo>
                  <a:lnTo>
                    <a:pt x="0" y="67"/>
                  </a:lnTo>
                  <a:cubicBezTo>
                    <a:pt x="0" y="30"/>
                    <a:pt x="30" y="0"/>
                    <a:pt x="67" y="0"/>
                  </a:cubicBezTo>
                  <a:lnTo>
                    <a:pt x="367" y="0"/>
                  </a:lnTo>
                  <a:cubicBezTo>
                    <a:pt x="404" y="0"/>
                    <a:pt x="434" y="30"/>
                    <a:pt x="434" y="67"/>
                  </a:cubicBezTo>
                  <a:lnTo>
                    <a:pt x="434"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99" name="TextBox 98">
            <a:extLst>
              <a:ext uri="{FF2B5EF4-FFF2-40B4-BE49-F238E27FC236}">
                <a16:creationId xmlns:a16="http://schemas.microsoft.com/office/drawing/2014/main" id="{A75ACF56-4A68-5030-DB14-393A3D969F75}"/>
              </a:ext>
            </a:extLst>
          </p:cNvPr>
          <p:cNvSpPr txBox="1"/>
          <p:nvPr/>
        </p:nvSpPr>
        <p:spPr>
          <a:xfrm>
            <a:off x="1490980" y="3575977"/>
            <a:ext cx="2802900" cy="830997"/>
          </a:xfrm>
          <a:prstGeom prst="rect">
            <a:avLst/>
          </a:prstGeom>
        </p:spPr>
        <p:txBody>
          <a:bodyPr wrap="square">
            <a:spAutoFit/>
          </a:bodyPr>
          <a:lstStyle>
            <a:defPPr marR="0" lvl="0" algn="l" rtl="0">
              <a:lnSpc>
                <a:spcPct val="100000"/>
              </a:lnSpc>
              <a:spcBef>
                <a:spcPts val="0"/>
              </a:spcBef>
              <a:spcAft>
                <a:spcPts val="0"/>
              </a:spcAft>
            </a:defPPr>
          </a:lstStyle>
          <a:p>
            <a:r>
              <a:rPr lang="en-US" sz="1600" dirty="0"/>
              <a:t>Overfitting</a:t>
            </a:r>
          </a:p>
          <a:p>
            <a:r>
              <a:rPr lang="en-US" sz="1600" dirty="0"/>
              <a:t>ROC AUC.</a:t>
            </a:r>
          </a:p>
          <a:p>
            <a:endParaRPr lang="en-US" sz="1600" dirty="0"/>
          </a:p>
        </p:txBody>
      </p:sp>
      <p:grpSp>
        <p:nvGrpSpPr>
          <p:cNvPr id="100" name="Group 99">
            <a:extLst>
              <a:ext uri="{FF2B5EF4-FFF2-40B4-BE49-F238E27FC236}">
                <a16:creationId xmlns:a16="http://schemas.microsoft.com/office/drawing/2014/main" id="{80CAF9D3-694C-072F-818F-DFE9B4D3C7DA}"/>
              </a:ext>
            </a:extLst>
          </p:cNvPr>
          <p:cNvGrpSpPr>
            <a:grpSpLocks noChangeAspect="1"/>
          </p:cNvGrpSpPr>
          <p:nvPr/>
        </p:nvGrpSpPr>
        <p:grpSpPr>
          <a:xfrm>
            <a:off x="1050980" y="2396932"/>
            <a:ext cx="440000" cy="432000"/>
            <a:chOff x="1401304" y="2642231"/>
            <a:chExt cx="768448" cy="754474"/>
          </a:xfrm>
        </p:grpSpPr>
        <p:sp>
          <p:nvSpPr>
            <p:cNvPr id="101" name="Freeform 2239">
              <a:extLst>
                <a:ext uri="{FF2B5EF4-FFF2-40B4-BE49-F238E27FC236}">
                  <a16:creationId xmlns:a16="http://schemas.microsoft.com/office/drawing/2014/main" id="{F5DAEBB6-5091-443B-91FC-BD9D0690E36F}"/>
                </a:ext>
              </a:extLst>
            </p:cNvPr>
            <p:cNvSpPr>
              <a:spLocks noEditPoints="1"/>
            </p:cNvSpPr>
            <p:nvPr/>
          </p:nvSpPr>
          <p:spPr bwMode="auto">
            <a:xfrm>
              <a:off x="1401304" y="2642231"/>
              <a:ext cx="768448" cy="754474"/>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solidFill>
              <a:srgbClr val="D9D9D9"/>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sp>
          <p:nvSpPr>
            <p:cNvPr id="102" name="Freeform 2244">
              <a:extLst>
                <a:ext uri="{FF2B5EF4-FFF2-40B4-BE49-F238E27FC236}">
                  <a16:creationId xmlns:a16="http://schemas.microsoft.com/office/drawing/2014/main" id="{B1790A10-A007-4416-9583-45077D2E14DF}"/>
                </a:ext>
              </a:extLst>
            </p:cNvPr>
            <p:cNvSpPr>
              <a:spLocks/>
            </p:cNvSpPr>
            <p:nvPr/>
          </p:nvSpPr>
          <p:spPr bwMode="auto">
            <a:xfrm>
              <a:off x="1541021" y="2837834"/>
              <a:ext cx="502983" cy="335321"/>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ea typeface="+mn-ea"/>
                <a:cs typeface="+mn-cs"/>
              </a:endParaRPr>
            </a:p>
          </p:txBody>
        </p:sp>
      </p:grpSp>
      <p:sp>
        <p:nvSpPr>
          <p:cNvPr id="103" name="Rectangle 102"/>
          <p:cNvSpPr/>
          <p:nvPr/>
        </p:nvSpPr>
        <p:spPr>
          <a:xfrm>
            <a:off x="1532342" y="1949026"/>
            <a:ext cx="3222537" cy="1077218"/>
          </a:xfrm>
          <a:prstGeom prst="rect">
            <a:avLst/>
          </a:prstGeom>
        </p:spPr>
        <p:txBody>
          <a:bodyPr wrap="square">
            <a:spAutoFit/>
          </a:bodyPr>
          <a:lstStyle/>
          <a:p>
            <a:r>
              <a:rPr lang="en-US" sz="1600" dirty="0"/>
              <a:t>Cross-validation scores: [0.99998386 1.         0.99998924 1.         1.        ]</a:t>
            </a:r>
          </a:p>
          <a:p>
            <a:r>
              <a:rPr lang="en-US" sz="1600" dirty="0"/>
              <a:t>Mean CV accuracy: 1.0000</a:t>
            </a:r>
          </a:p>
        </p:txBody>
      </p:sp>
      <p:sp>
        <p:nvSpPr>
          <p:cNvPr id="104" name="TextBox 103">
            <a:extLst>
              <a:ext uri="{FF2B5EF4-FFF2-40B4-BE49-F238E27FC236}">
                <a16:creationId xmlns:a16="http://schemas.microsoft.com/office/drawing/2014/main" id="{A75ACF56-4A68-5030-DB14-393A3D969F75}"/>
              </a:ext>
            </a:extLst>
          </p:cNvPr>
          <p:cNvSpPr txBox="1"/>
          <p:nvPr/>
        </p:nvSpPr>
        <p:spPr>
          <a:xfrm>
            <a:off x="1548140" y="1383936"/>
            <a:ext cx="2802900" cy="338554"/>
          </a:xfrm>
          <a:prstGeom prst="rect">
            <a:avLst/>
          </a:prstGeom>
          <a:noFill/>
        </p:spPr>
        <p:txBody>
          <a:bodyPr wrap="square">
            <a:spAutoFit/>
          </a:bodyPr>
          <a:lstStyle/>
          <a:p>
            <a:pPr algn="just"/>
            <a:r>
              <a:rPr lang="en-US" sz="1600" dirty="0"/>
              <a:t>Precision, recall </a:t>
            </a:r>
            <a:r>
              <a:rPr lang="en-US" sz="1600" dirty="0" err="1"/>
              <a:t>và</a:t>
            </a:r>
            <a:r>
              <a:rPr lang="en-US" sz="1600" dirty="0"/>
              <a:t> F1-score</a:t>
            </a:r>
          </a:p>
        </p:txBody>
      </p:sp>
      <p:cxnSp>
        <p:nvCxnSpPr>
          <p:cNvPr id="106" name="Google Shape;996;p26"/>
          <p:cNvCxnSpPr>
            <a:cxnSpLocks/>
          </p:cNvCxnSpPr>
          <p:nvPr/>
        </p:nvCxnSpPr>
        <p:spPr>
          <a:xfrm flipH="1" flipV="1">
            <a:off x="4150360" y="1649213"/>
            <a:ext cx="2756290" cy="809863"/>
          </a:xfrm>
          <a:prstGeom prst="straightConnector1">
            <a:avLst/>
          </a:prstGeom>
          <a:noFill/>
          <a:ln w="9525" cap="flat" cmpd="sng">
            <a:solidFill>
              <a:schemeClr val="lt2"/>
            </a:solidFill>
            <a:prstDash val="solid"/>
            <a:round/>
            <a:headEnd type="none" w="med" len="med"/>
            <a:tailEnd type="none" w="med" len="med"/>
          </a:ln>
        </p:spPr>
      </p:cxnSp>
      <p:cxnSp>
        <p:nvCxnSpPr>
          <p:cNvPr id="108" name="Google Shape;996;p26"/>
          <p:cNvCxnSpPr>
            <a:cxnSpLocks/>
          </p:cNvCxnSpPr>
          <p:nvPr/>
        </p:nvCxnSpPr>
        <p:spPr>
          <a:xfrm flipH="1">
            <a:off x="4293880" y="2611477"/>
            <a:ext cx="2765170" cy="19498"/>
          </a:xfrm>
          <a:prstGeom prst="straightConnector1">
            <a:avLst/>
          </a:prstGeom>
          <a:noFill/>
          <a:ln w="9525" cap="flat" cmpd="sng">
            <a:solidFill>
              <a:schemeClr val="lt2"/>
            </a:solidFill>
            <a:prstDash val="solid"/>
            <a:round/>
            <a:headEnd type="none" w="med" len="med"/>
            <a:tailEnd type="none" w="med" len="med"/>
          </a:ln>
        </p:spPr>
      </p:cxnSp>
      <p:cxnSp>
        <p:nvCxnSpPr>
          <p:cNvPr id="110" name="Google Shape;996;p26"/>
          <p:cNvCxnSpPr>
            <a:cxnSpLocks/>
          </p:cNvCxnSpPr>
          <p:nvPr/>
        </p:nvCxnSpPr>
        <p:spPr>
          <a:xfrm flipH="1">
            <a:off x="2661920" y="2763877"/>
            <a:ext cx="4549530" cy="1162183"/>
          </a:xfrm>
          <a:prstGeom prst="straightConnector1">
            <a:avLst/>
          </a:prstGeom>
          <a:noFill/>
          <a:ln w="9525" cap="flat" cmpd="sng">
            <a:solidFill>
              <a:schemeClr val="lt2"/>
            </a:solidFill>
            <a:prstDash val="solid"/>
            <a:round/>
            <a:headEnd type="none" w="med" len="med"/>
            <a:tailEnd type="none" w="med" len="med"/>
          </a:ln>
        </p:spPr>
      </p:cxnSp>
      <p:sp>
        <p:nvSpPr>
          <p:cNvPr id="114" name="Rectangle 45">
            <a:extLst>
              <a:ext uri="{FF2B5EF4-FFF2-40B4-BE49-F238E27FC236}">
                <a16:creationId xmlns:a16="http://schemas.microsoft.com/office/drawing/2014/main" id="{28B3BCE1-7D41-49BF-8298-9E7571616AC2}"/>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1A1A70"/>
              </a:solidFill>
              <a:effectLst/>
              <a:uLnTx/>
              <a:uFillTx/>
              <a:latin typeface="Arial" charset="0"/>
              <a:ea typeface="+mn-ea"/>
              <a:cs typeface="+mn-cs"/>
            </a:endParaRPr>
          </a:p>
        </p:txBody>
      </p:sp>
      <p:sp>
        <p:nvSpPr>
          <p:cNvPr id="116" name="Google Shape;412;p18">
            <a:extLst>
              <a:ext uri="{FF2B5EF4-FFF2-40B4-BE49-F238E27FC236}">
                <a16:creationId xmlns:a16="http://schemas.microsoft.com/office/drawing/2014/main" id="{5BBB6ABE-9567-4A49-AA07-489F9DD3BC03}"/>
              </a:ext>
            </a:extLst>
          </p:cNvPr>
          <p:cNvSpPr txBox="1">
            <a:spLocks noGrp="1"/>
          </p:cNvSpPr>
          <p:nvPr>
            <p:ph type="title"/>
          </p:nvPr>
        </p:nvSpPr>
        <p:spPr>
          <a:xfrm>
            <a:off x="457200" y="411475"/>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KẾT LUẬN</a:t>
            </a:r>
          </a:p>
        </p:txBody>
      </p:sp>
    </p:spTree>
    <p:extLst>
      <p:ext uri="{BB962C8B-B14F-4D97-AF65-F5344CB8AC3E}">
        <p14:creationId xmlns:p14="http://schemas.microsoft.com/office/powerpoint/2010/main" val="149173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wipe(left)">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11"/>
        <p:cNvGrpSpPr/>
        <p:nvPr/>
      </p:nvGrpSpPr>
      <p:grpSpPr>
        <a:xfrm>
          <a:off x="0" y="0"/>
          <a:ext cx="0" cy="0"/>
          <a:chOff x="0" y="0"/>
          <a:chExt cx="0" cy="0"/>
        </a:xfrm>
      </p:grpSpPr>
      <p:sp>
        <p:nvSpPr>
          <p:cNvPr id="2313" name="Google Shape;2313;p45"/>
          <p:cNvSpPr/>
          <p:nvPr/>
        </p:nvSpPr>
        <p:spPr>
          <a:xfrm>
            <a:off x="6619875" y="1162050"/>
            <a:ext cx="2057400" cy="1038300"/>
          </a:xfrm>
          <a:prstGeom prst="roundRect">
            <a:avLst>
              <a:gd name="adj" fmla="val 16667"/>
            </a:avLst>
          </a:prstGeom>
          <a:solidFill>
            <a:srgbClr val="EA4827">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4" name="Google Shape;2314;p45"/>
          <p:cNvSpPr/>
          <p:nvPr/>
        </p:nvSpPr>
        <p:spPr>
          <a:xfrm>
            <a:off x="466725" y="1162050"/>
            <a:ext cx="2057400" cy="1038300"/>
          </a:xfrm>
          <a:prstGeom prst="roundRect">
            <a:avLst>
              <a:gd name="adj" fmla="val 16667"/>
            </a:avLst>
          </a:prstGeom>
          <a:solidFill>
            <a:srgbClr val="E4EA27">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16" name="Google Shape;2316;p45"/>
          <p:cNvGrpSpPr/>
          <p:nvPr/>
        </p:nvGrpSpPr>
        <p:grpSpPr>
          <a:xfrm>
            <a:off x="6629400" y="934075"/>
            <a:ext cx="2057400" cy="742225"/>
            <a:chOff x="6629400" y="934075"/>
            <a:chExt cx="2057400" cy="742225"/>
          </a:xfrm>
        </p:grpSpPr>
        <p:sp>
          <p:nvSpPr>
            <p:cNvPr id="2317" name="Google Shape;2317;p45"/>
            <p:cNvSpPr/>
            <p:nvPr/>
          </p:nvSpPr>
          <p:spPr>
            <a:xfrm>
              <a:off x="7379250" y="934075"/>
              <a:ext cx="519600" cy="371400"/>
            </a:xfrm>
            <a:prstGeom prst="roundRect">
              <a:avLst>
                <a:gd name="adj" fmla="val 16667"/>
              </a:avLst>
            </a:prstGeom>
            <a:solidFill>
              <a:schemeClr val="accent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2</a:t>
              </a:r>
              <a:endParaRPr sz="1800" b="1">
                <a:solidFill>
                  <a:schemeClr val="lt1"/>
                </a:solidFill>
                <a:latin typeface="Fira Sans Extra Condensed"/>
                <a:ea typeface="Fira Sans Extra Condensed"/>
                <a:cs typeface="Fira Sans Extra Condensed"/>
                <a:sym typeface="Fira Sans Extra Condensed"/>
              </a:endParaRPr>
            </a:p>
          </p:txBody>
        </p:sp>
        <p:sp>
          <p:nvSpPr>
            <p:cNvPr id="2318" name="Google Shape;2318;p45"/>
            <p:cNvSpPr txBox="1"/>
            <p:nvPr/>
          </p:nvSpPr>
          <p:spPr>
            <a:xfrm>
              <a:off x="6629400" y="1344500"/>
              <a:ext cx="20574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solidFill>
                    <a:srgbClr val="000000"/>
                  </a:solidFill>
                  <a:latin typeface="Fira Sans Extra Condensed"/>
                  <a:ea typeface="Fira Sans Extra Condensed"/>
                  <a:cs typeface="Fira Sans Extra Condensed"/>
                  <a:sym typeface="Fira Sans Extra Condensed"/>
                </a:rPr>
                <a:t>C</a:t>
              </a:r>
              <a:r>
                <a:rPr lang="en" sz="1800" b="1">
                  <a:latin typeface="Fira Sans Extra Condensed"/>
                  <a:ea typeface="Fira Sans Extra Condensed"/>
                  <a:cs typeface="Fira Sans Extra Condensed"/>
                  <a:sym typeface="Fira Sans Extra Condensed"/>
                </a:rPr>
                <a:t>ách hoạt động</a:t>
              </a:r>
              <a:endParaRPr sz="1800" b="1">
                <a:solidFill>
                  <a:srgbClr val="000000"/>
                </a:solidFill>
                <a:latin typeface="Fira Sans Extra Condensed"/>
                <a:ea typeface="Fira Sans Extra Condensed"/>
                <a:cs typeface="Fira Sans Extra Condensed"/>
                <a:sym typeface="Fira Sans Extra Condensed"/>
              </a:endParaRPr>
            </a:p>
          </p:txBody>
        </p:sp>
      </p:grpSp>
      <p:grpSp>
        <p:nvGrpSpPr>
          <p:cNvPr id="2324" name="Google Shape;2324;p45"/>
          <p:cNvGrpSpPr/>
          <p:nvPr/>
        </p:nvGrpSpPr>
        <p:grpSpPr>
          <a:xfrm>
            <a:off x="457201" y="934075"/>
            <a:ext cx="2057400" cy="742225"/>
            <a:chOff x="457201" y="934075"/>
            <a:chExt cx="2057400" cy="742225"/>
          </a:xfrm>
        </p:grpSpPr>
        <p:sp>
          <p:nvSpPr>
            <p:cNvPr id="2325" name="Google Shape;2325;p45"/>
            <p:cNvSpPr txBox="1"/>
            <p:nvPr/>
          </p:nvSpPr>
          <p:spPr>
            <a:xfrm>
              <a:off x="457201" y="1344500"/>
              <a:ext cx="20574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Giới thiệu</a:t>
              </a:r>
              <a:endParaRPr sz="1800" b="1">
                <a:solidFill>
                  <a:srgbClr val="000000"/>
                </a:solidFill>
                <a:latin typeface="Fira Sans Extra Condensed"/>
                <a:ea typeface="Fira Sans Extra Condensed"/>
                <a:cs typeface="Fira Sans Extra Condensed"/>
                <a:sym typeface="Fira Sans Extra Condensed"/>
              </a:endParaRPr>
            </a:p>
          </p:txBody>
        </p:sp>
        <p:sp>
          <p:nvSpPr>
            <p:cNvPr id="2327" name="Google Shape;2327;p45"/>
            <p:cNvSpPr/>
            <p:nvPr/>
          </p:nvSpPr>
          <p:spPr>
            <a:xfrm>
              <a:off x="1226100" y="934075"/>
              <a:ext cx="519600" cy="371400"/>
            </a:xfrm>
            <a:prstGeom prst="roundRect">
              <a:avLst>
                <a:gd name="adj" fmla="val 16667"/>
              </a:avLst>
            </a:pr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1</a:t>
              </a:r>
              <a:endParaRPr sz="1800" b="1">
                <a:solidFill>
                  <a:schemeClr val="lt1"/>
                </a:solidFill>
                <a:latin typeface="Fira Sans Extra Condensed"/>
                <a:ea typeface="Fira Sans Extra Condensed"/>
                <a:cs typeface="Fira Sans Extra Condensed"/>
                <a:sym typeface="Fira Sans Extra Condensed"/>
              </a:endParaRPr>
            </a:p>
          </p:txBody>
        </p:sp>
      </p:grpSp>
      <p:sp>
        <p:nvSpPr>
          <p:cNvPr id="2328" name="Google Shape;2328;p45"/>
          <p:cNvSpPr/>
          <p:nvPr/>
        </p:nvSpPr>
        <p:spPr>
          <a:xfrm>
            <a:off x="6619875" y="3233600"/>
            <a:ext cx="2057400" cy="1038300"/>
          </a:xfrm>
          <a:prstGeom prst="roundRect">
            <a:avLst>
              <a:gd name="adj" fmla="val 16667"/>
            </a:avLst>
          </a:prstGeom>
          <a:solidFill>
            <a:srgbClr val="2776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9" name="Google Shape;2329;p45"/>
          <p:cNvSpPr/>
          <p:nvPr/>
        </p:nvSpPr>
        <p:spPr>
          <a:xfrm>
            <a:off x="466725" y="3233600"/>
            <a:ext cx="2057400" cy="1038300"/>
          </a:xfrm>
          <a:prstGeom prst="roundRect">
            <a:avLst>
              <a:gd name="adj" fmla="val 16667"/>
            </a:avLst>
          </a:prstGeom>
          <a:solidFill>
            <a:srgbClr val="8027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30" name="Google Shape;2330;p45"/>
          <p:cNvGrpSpPr/>
          <p:nvPr/>
        </p:nvGrpSpPr>
        <p:grpSpPr>
          <a:xfrm>
            <a:off x="6629400" y="3005625"/>
            <a:ext cx="2057400" cy="742225"/>
            <a:chOff x="6629400" y="3005625"/>
            <a:chExt cx="2057400" cy="742225"/>
          </a:xfrm>
        </p:grpSpPr>
        <p:sp>
          <p:nvSpPr>
            <p:cNvPr id="2331" name="Google Shape;2331;p45"/>
            <p:cNvSpPr/>
            <p:nvPr/>
          </p:nvSpPr>
          <p:spPr>
            <a:xfrm>
              <a:off x="7379250" y="3005625"/>
              <a:ext cx="519600" cy="371400"/>
            </a:xfrm>
            <a:prstGeom prst="roundRect">
              <a:avLst>
                <a:gd name="adj" fmla="val 16667"/>
              </a:avLst>
            </a:prstGeom>
            <a:solidFill>
              <a:schemeClr val="accent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3</a:t>
              </a:r>
              <a:endParaRPr sz="1800" b="1">
                <a:solidFill>
                  <a:schemeClr val="lt1"/>
                </a:solidFill>
                <a:latin typeface="Fira Sans Extra Condensed"/>
                <a:ea typeface="Fira Sans Extra Condensed"/>
                <a:cs typeface="Fira Sans Extra Condensed"/>
                <a:sym typeface="Fira Sans Extra Condensed"/>
              </a:endParaRPr>
            </a:p>
          </p:txBody>
        </p:sp>
        <p:sp>
          <p:nvSpPr>
            <p:cNvPr id="2332" name="Google Shape;2332;p45"/>
            <p:cNvSpPr txBox="1"/>
            <p:nvPr/>
          </p:nvSpPr>
          <p:spPr>
            <a:xfrm>
              <a:off x="6629400" y="3416050"/>
              <a:ext cx="20574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vi-VN" sz="1800" b="1">
                  <a:latin typeface="Fira Sans Extra Condensed"/>
                  <a:ea typeface="Fira Sans Extra Condensed"/>
                  <a:cs typeface="Fira Sans Extra Condensed"/>
                  <a:sym typeface="Fira Sans Extra Condensed"/>
                </a:rPr>
                <a:t>Ư</a:t>
              </a:r>
              <a:r>
                <a:rPr lang="en" sz="1800" b="1">
                  <a:latin typeface="Fira Sans Extra Condensed"/>
                  <a:ea typeface="Fira Sans Extra Condensed"/>
                  <a:cs typeface="Fira Sans Extra Condensed"/>
                  <a:sym typeface="Fira Sans Extra Condensed"/>
                </a:rPr>
                <a:t>u điểm</a:t>
              </a:r>
              <a:endParaRPr sz="1800" b="1">
                <a:latin typeface="Fira Sans Extra Condensed"/>
                <a:ea typeface="Fira Sans Extra Condensed"/>
                <a:cs typeface="Fira Sans Extra Condensed"/>
                <a:sym typeface="Fira Sans Extra Condensed"/>
              </a:endParaRPr>
            </a:p>
          </p:txBody>
        </p:sp>
      </p:grpSp>
      <p:grpSp>
        <p:nvGrpSpPr>
          <p:cNvPr id="2334" name="Google Shape;2334;p45"/>
          <p:cNvGrpSpPr/>
          <p:nvPr/>
        </p:nvGrpSpPr>
        <p:grpSpPr>
          <a:xfrm>
            <a:off x="457201" y="3005625"/>
            <a:ext cx="2057400" cy="742225"/>
            <a:chOff x="457201" y="3005625"/>
            <a:chExt cx="2057400" cy="742225"/>
          </a:xfrm>
        </p:grpSpPr>
        <p:sp>
          <p:nvSpPr>
            <p:cNvPr id="2335" name="Google Shape;2335;p45"/>
            <p:cNvSpPr txBox="1"/>
            <p:nvPr/>
          </p:nvSpPr>
          <p:spPr>
            <a:xfrm>
              <a:off x="457201" y="3416050"/>
              <a:ext cx="20574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solidFill>
                    <a:srgbClr val="000000"/>
                  </a:solidFill>
                  <a:latin typeface="Fira Sans Extra Condensed"/>
                  <a:ea typeface="Fira Sans Extra Condensed"/>
                  <a:cs typeface="Fira Sans Extra Condensed"/>
                  <a:sym typeface="Fira Sans Extra Condensed"/>
                </a:rPr>
                <a:t>N</a:t>
              </a:r>
              <a:r>
                <a:rPr lang="en" sz="1800" b="1">
                  <a:solidFill>
                    <a:srgbClr val="000000"/>
                  </a:solidFill>
                  <a:latin typeface="Fira Sans Extra Condensed"/>
                  <a:ea typeface="Fira Sans Extra Condensed"/>
                  <a:cs typeface="Fira Sans Extra Condensed"/>
                  <a:sym typeface="Fira Sans Extra Condensed"/>
                </a:rPr>
                <a:t>hược điểm</a:t>
              </a:r>
              <a:endParaRPr sz="1800" b="1">
                <a:solidFill>
                  <a:srgbClr val="000000"/>
                </a:solidFill>
                <a:latin typeface="Fira Sans Extra Condensed"/>
                <a:ea typeface="Fira Sans Extra Condensed"/>
                <a:cs typeface="Fira Sans Extra Condensed"/>
                <a:sym typeface="Fira Sans Extra Condensed"/>
              </a:endParaRPr>
            </a:p>
          </p:txBody>
        </p:sp>
        <p:sp>
          <p:nvSpPr>
            <p:cNvPr id="2337" name="Google Shape;2337;p45"/>
            <p:cNvSpPr/>
            <p:nvPr/>
          </p:nvSpPr>
          <p:spPr>
            <a:xfrm>
              <a:off x="1226100" y="3005625"/>
              <a:ext cx="519600" cy="371400"/>
            </a:xfrm>
            <a:prstGeom prst="roundRect">
              <a:avLst>
                <a:gd name="adj" fmla="val 16667"/>
              </a:avLst>
            </a:pr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4</a:t>
              </a:r>
              <a:endParaRPr sz="1800" b="1">
                <a:solidFill>
                  <a:schemeClr val="lt1"/>
                </a:solidFill>
                <a:latin typeface="Fira Sans Extra Condensed"/>
                <a:ea typeface="Fira Sans Extra Condensed"/>
                <a:cs typeface="Fira Sans Extra Condensed"/>
                <a:sym typeface="Fira Sans Extra Condensed"/>
              </a:endParaRPr>
            </a:p>
          </p:txBody>
        </p:sp>
      </p:grpSp>
      <p:grpSp>
        <p:nvGrpSpPr>
          <p:cNvPr id="2338" name="Google Shape;2338;p45"/>
          <p:cNvGrpSpPr/>
          <p:nvPr/>
        </p:nvGrpSpPr>
        <p:grpSpPr>
          <a:xfrm>
            <a:off x="3177652" y="1490090"/>
            <a:ext cx="2904005" cy="2684408"/>
            <a:chOff x="3124753" y="2097067"/>
            <a:chExt cx="2904005" cy="2684408"/>
          </a:xfrm>
        </p:grpSpPr>
        <p:sp>
          <p:nvSpPr>
            <p:cNvPr id="2339" name="Google Shape;2339;p45"/>
            <p:cNvSpPr/>
            <p:nvPr/>
          </p:nvSpPr>
          <p:spPr>
            <a:xfrm>
              <a:off x="3938625" y="4524375"/>
              <a:ext cx="1247700" cy="257100"/>
            </a:xfrm>
            <a:prstGeom prst="ellipse">
              <a:avLst/>
            </a:pr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340" name="Google Shape;2340;p45"/>
            <p:cNvGrpSpPr/>
            <p:nvPr/>
          </p:nvGrpSpPr>
          <p:grpSpPr>
            <a:xfrm>
              <a:off x="3124761" y="2266506"/>
              <a:ext cx="1173544" cy="1038290"/>
              <a:chOff x="3039603" y="2097081"/>
              <a:chExt cx="1372888" cy="1214659"/>
            </a:xfrm>
          </p:grpSpPr>
          <p:sp>
            <p:nvSpPr>
              <p:cNvPr id="2341" name="Google Shape;2341;p45"/>
              <p:cNvSpPr/>
              <p:nvPr/>
            </p:nvSpPr>
            <p:spPr>
              <a:xfrm>
                <a:off x="3039603" y="2097081"/>
                <a:ext cx="1372888" cy="1214659"/>
              </a:xfrm>
              <a:custGeom>
                <a:avLst/>
                <a:gdLst/>
                <a:ahLst/>
                <a:cxnLst/>
                <a:rect l="l" t="t" r="r" b="b"/>
                <a:pathLst>
                  <a:path w="76484" h="67669" extrusionOk="0">
                    <a:moveTo>
                      <a:pt x="0" y="1"/>
                    </a:moveTo>
                    <a:lnTo>
                      <a:pt x="0" y="67668"/>
                    </a:lnTo>
                    <a:lnTo>
                      <a:pt x="76484" y="67668"/>
                    </a:lnTo>
                    <a:lnTo>
                      <a:pt x="7648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2" name="Google Shape;2342;p45"/>
              <p:cNvSpPr/>
              <p:nvPr/>
            </p:nvSpPr>
            <p:spPr>
              <a:xfrm>
                <a:off x="3527987" y="2179974"/>
                <a:ext cx="797142" cy="317212"/>
              </a:xfrm>
              <a:custGeom>
                <a:avLst/>
                <a:gdLst/>
                <a:ahLst/>
                <a:cxnLst/>
                <a:rect l="l" t="t" r="r" b="b"/>
                <a:pathLst>
                  <a:path w="44409" h="17672" extrusionOk="0">
                    <a:moveTo>
                      <a:pt x="565" y="0"/>
                    </a:moveTo>
                    <a:lnTo>
                      <a:pt x="447" y="14"/>
                    </a:lnTo>
                    <a:lnTo>
                      <a:pt x="342" y="53"/>
                    </a:lnTo>
                    <a:lnTo>
                      <a:pt x="250" y="105"/>
                    </a:lnTo>
                    <a:lnTo>
                      <a:pt x="171" y="171"/>
                    </a:lnTo>
                    <a:lnTo>
                      <a:pt x="106" y="250"/>
                    </a:lnTo>
                    <a:lnTo>
                      <a:pt x="53" y="342"/>
                    </a:lnTo>
                    <a:lnTo>
                      <a:pt x="14" y="447"/>
                    </a:lnTo>
                    <a:lnTo>
                      <a:pt x="1" y="565"/>
                    </a:lnTo>
                    <a:lnTo>
                      <a:pt x="1" y="17121"/>
                    </a:lnTo>
                    <a:lnTo>
                      <a:pt x="14" y="17226"/>
                    </a:lnTo>
                    <a:lnTo>
                      <a:pt x="53" y="17331"/>
                    </a:lnTo>
                    <a:lnTo>
                      <a:pt x="106" y="17423"/>
                    </a:lnTo>
                    <a:lnTo>
                      <a:pt x="171" y="17514"/>
                    </a:lnTo>
                    <a:lnTo>
                      <a:pt x="250" y="17580"/>
                    </a:lnTo>
                    <a:lnTo>
                      <a:pt x="342" y="17632"/>
                    </a:lnTo>
                    <a:lnTo>
                      <a:pt x="447" y="17659"/>
                    </a:lnTo>
                    <a:lnTo>
                      <a:pt x="565" y="17672"/>
                    </a:lnTo>
                    <a:lnTo>
                      <a:pt x="43844" y="17672"/>
                    </a:lnTo>
                    <a:lnTo>
                      <a:pt x="43962" y="17659"/>
                    </a:lnTo>
                    <a:lnTo>
                      <a:pt x="44067" y="17632"/>
                    </a:lnTo>
                    <a:lnTo>
                      <a:pt x="44159" y="17580"/>
                    </a:lnTo>
                    <a:lnTo>
                      <a:pt x="44238" y="17514"/>
                    </a:lnTo>
                    <a:lnTo>
                      <a:pt x="44317" y="17423"/>
                    </a:lnTo>
                    <a:lnTo>
                      <a:pt x="44356" y="17331"/>
                    </a:lnTo>
                    <a:lnTo>
                      <a:pt x="44395" y="17226"/>
                    </a:lnTo>
                    <a:lnTo>
                      <a:pt x="44408" y="17121"/>
                    </a:lnTo>
                    <a:lnTo>
                      <a:pt x="44408" y="565"/>
                    </a:lnTo>
                    <a:lnTo>
                      <a:pt x="44395" y="447"/>
                    </a:lnTo>
                    <a:lnTo>
                      <a:pt x="44356" y="342"/>
                    </a:lnTo>
                    <a:lnTo>
                      <a:pt x="44317" y="250"/>
                    </a:lnTo>
                    <a:lnTo>
                      <a:pt x="44238" y="171"/>
                    </a:lnTo>
                    <a:lnTo>
                      <a:pt x="44159" y="105"/>
                    </a:lnTo>
                    <a:lnTo>
                      <a:pt x="44067" y="53"/>
                    </a:lnTo>
                    <a:lnTo>
                      <a:pt x="43962" y="14"/>
                    </a:lnTo>
                    <a:lnTo>
                      <a:pt x="4384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3" name="Google Shape;2343;p45"/>
              <p:cNvSpPr/>
              <p:nvPr/>
            </p:nvSpPr>
            <p:spPr>
              <a:xfrm>
                <a:off x="3557425" y="2204943"/>
                <a:ext cx="214538" cy="33441"/>
              </a:xfrm>
              <a:custGeom>
                <a:avLst/>
                <a:gdLst/>
                <a:ahLst/>
                <a:cxnLst/>
                <a:rect l="l" t="t" r="r" b="b"/>
                <a:pathLst>
                  <a:path w="11952" h="1863" extrusionOk="0">
                    <a:moveTo>
                      <a:pt x="1" y="0"/>
                    </a:moveTo>
                    <a:lnTo>
                      <a:pt x="1" y="1863"/>
                    </a:lnTo>
                    <a:lnTo>
                      <a:pt x="11952" y="1863"/>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4" name="Google Shape;2344;p45"/>
              <p:cNvSpPr/>
              <p:nvPr/>
            </p:nvSpPr>
            <p:spPr>
              <a:xfrm>
                <a:off x="3557425" y="2256746"/>
                <a:ext cx="214538" cy="16729"/>
              </a:xfrm>
              <a:custGeom>
                <a:avLst/>
                <a:gdLst/>
                <a:ahLst/>
                <a:cxnLst/>
                <a:rect l="l" t="t" r="r" b="b"/>
                <a:pathLst>
                  <a:path w="11952" h="932" extrusionOk="0">
                    <a:moveTo>
                      <a:pt x="1" y="0"/>
                    </a:moveTo>
                    <a:lnTo>
                      <a:pt x="1" y="932"/>
                    </a:lnTo>
                    <a:lnTo>
                      <a:pt x="11952" y="932"/>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5" name="Google Shape;2345;p45"/>
              <p:cNvSpPr/>
              <p:nvPr/>
            </p:nvSpPr>
            <p:spPr>
              <a:xfrm>
                <a:off x="3557425" y="2310435"/>
                <a:ext cx="721303" cy="162035"/>
              </a:xfrm>
              <a:custGeom>
                <a:avLst/>
                <a:gdLst/>
                <a:ahLst/>
                <a:cxnLst/>
                <a:rect l="l" t="t" r="r" b="b"/>
                <a:pathLst>
                  <a:path w="40184" h="9027" extrusionOk="0">
                    <a:moveTo>
                      <a:pt x="1" y="0"/>
                    </a:moveTo>
                    <a:lnTo>
                      <a:pt x="1" y="9026"/>
                    </a:lnTo>
                    <a:lnTo>
                      <a:pt x="40184" y="9026"/>
                    </a:lnTo>
                    <a:lnTo>
                      <a:pt x="40184"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6" name="Google Shape;2346;p45"/>
              <p:cNvSpPr/>
              <p:nvPr/>
            </p:nvSpPr>
            <p:spPr>
              <a:xfrm>
                <a:off x="3527987" y="2544270"/>
                <a:ext cx="797142" cy="317212"/>
              </a:xfrm>
              <a:custGeom>
                <a:avLst/>
                <a:gdLst/>
                <a:ahLst/>
                <a:cxnLst/>
                <a:rect l="l" t="t" r="r" b="b"/>
                <a:pathLst>
                  <a:path w="44409" h="17672" extrusionOk="0">
                    <a:moveTo>
                      <a:pt x="565" y="1"/>
                    </a:moveTo>
                    <a:lnTo>
                      <a:pt x="447" y="14"/>
                    </a:lnTo>
                    <a:lnTo>
                      <a:pt x="342" y="40"/>
                    </a:lnTo>
                    <a:lnTo>
                      <a:pt x="250" y="92"/>
                    </a:lnTo>
                    <a:lnTo>
                      <a:pt x="171" y="158"/>
                    </a:lnTo>
                    <a:lnTo>
                      <a:pt x="106" y="250"/>
                    </a:lnTo>
                    <a:lnTo>
                      <a:pt x="53" y="342"/>
                    </a:lnTo>
                    <a:lnTo>
                      <a:pt x="14" y="447"/>
                    </a:lnTo>
                    <a:lnTo>
                      <a:pt x="1" y="552"/>
                    </a:lnTo>
                    <a:lnTo>
                      <a:pt x="1" y="17108"/>
                    </a:lnTo>
                    <a:lnTo>
                      <a:pt x="14" y="17226"/>
                    </a:lnTo>
                    <a:lnTo>
                      <a:pt x="53" y="17331"/>
                    </a:lnTo>
                    <a:lnTo>
                      <a:pt x="106" y="17423"/>
                    </a:lnTo>
                    <a:lnTo>
                      <a:pt x="171" y="17501"/>
                    </a:lnTo>
                    <a:lnTo>
                      <a:pt x="250" y="17580"/>
                    </a:lnTo>
                    <a:lnTo>
                      <a:pt x="342" y="17619"/>
                    </a:lnTo>
                    <a:lnTo>
                      <a:pt x="447" y="17659"/>
                    </a:lnTo>
                    <a:lnTo>
                      <a:pt x="565" y="17672"/>
                    </a:lnTo>
                    <a:lnTo>
                      <a:pt x="43844" y="17672"/>
                    </a:lnTo>
                    <a:lnTo>
                      <a:pt x="43962" y="17659"/>
                    </a:lnTo>
                    <a:lnTo>
                      <a:pt x="44067" y="17619"/>
                    </a:lnTo>
                    <a:lnTo>
                      <a:pt x="44159" y="17580"/>
                    </a:lnTo>
                    <a:lnTo>
                      <a:pt x="44238" y="17501"/>
                    </a:lnTo>
                    <a:lnTo>
                      <a:pt x="44317" y="17423"/>
                    </a:lnTo>
                    <a:lnTo>
                      <a:pt x="44356" y="17331"/>
                    </a:lnTo>
                    <a:lnTo>
                      <a:pt x="44395" y="17226"/>
                    </a:lnTo>
                    <a:lnTo>
                      <a:pt x="44408" y="17108"/>
                    </a:lnTo>
                    <a:lnTo>
                      <a:pt x="44408" y="552"/>
                    </a:lnTo>
                    <a:lnTo>
                      <a:pt x="44395" y="447"/>
                    </a:lnTo>
                    <a:lnTo>
                      <a:pt x="44356" y="342"/>
                    </a:lnTo>
                    <a:lnTo>
                      <a:pt x="44317" y="250"/>
                    </a:lnTo>
                    <a:lnTo>
                      <a:pt x="44238" y="158"/>
                    </a:lnTo>
                    <a:lnTo>
                      <a:pt x="44159" y="92"/>
                    </a:lnTo>
                    <a:lnTo>
                      <a:pt x="44067" y="40"/>
                    </a:lnTo>
                    <a:lnTo>
                      <a:pt x="43962" y="14"/>
                    </a:lnTo>
                    <a:lnTo>
                      <a:pt x="4384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7" name="Google Shape;2347;p45"/>
              <p:cNvSpPr/>
              <p:nvPr/>
            </p:nvSpPr>
            <p:spPr>
              <a:xfrm>
                <a:off x="3557425" y="2569005"/>
                <a:ext cx="214538" cy="33441"/>
              </a:xfrm>
              <a:custGeom>
                <a:avLst/>
                <a:gdLst/>
                <a:ahLst/>
                <a:cxnLst/>
                <a:rect l="l" t="t" r="r" b="b"/>
                <a:pathLst>
                  <a:path w="11952" h="1863" extrusionOk="0">
                    <a:moveTo>
                      <a:pt x="1" y="0"/>
                    </a:moveTo>
                    <a:lnTo>
                      <a:pt x="1" y="1863"/>
                    </a:lnTo>
                    <a:lnTo>
                      <a:pt x="11952" y="1863"/>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8" name="Google Shape;2348;p45"/>
              <p:cNvSpPr/>
              <p:nvPr/>
            </p:nvSpPr>
            <p:spPr>
              <a:xfrm>
                <a:off x="3557425" y="2620808"/>
                <a:ext cx="214538" cy="16729"/>
              </a:xfrm>
              <a:custGeom>
                <a:avLst/>
                <a:gdLst/>
                <a:ahLst/>
                <a:cxnLst/>
                <a:rect l="l" t="t" r="r" b="b"/>
                <a:pathLst>
                  <a:path w="11952" h="932" extrusionOk="0">
                    <a:moveTo>
                      <a:pt x="1" y="0"/>
                    </a:moveTo>
                    <a:lnTo>
                      <a:pt x="1" y="932"/>
                    </a:lnTo>
                    <a:lnTo>
                      <a:pt x="11952" y="932"/>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9" name="Google Shape;2349;p45"/>
              <p:cNvSpPr/>
              <p:nvPr/>
            </p:nvSpPr>
            <p:spPr>
              <a:xfrm>
                <a:off x="3557425" y="2674730"/>
                <a:ext cx="721303" cy="161801"/>
              </a:xfrm>
              <a:custGeom>
                <a:avLst/>
                <a:gdLst/>
                <a:ahLst/>
                <a:cxnLst/>
                <a:rect l="l" t="t" r="r" b="b"/>
                <a:pathLst>
                  <a:path w="40184" h="9014" extrusionOk="0">
                    <a:moveTo>
                      <a:pt x="1" y="1"/>
                    </a:moveTo>
                    <a:lnTo>
                      <a:pt x="1" y="9013"/>
                    </a:lnTo>
                    <a:lnTo>
                      <a:pt x="40184" y="9013"/>
                    </a:lnTo>
                    <a:lnTo>
                      <a:pt x="4018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0" name="Google Shape;2350;p45"/>
              <p:cNvSpPr/>
              <p:nvPr/>
            </p:nvSpPr>
            <p:spPr>
              <a:xfrm>
                <a:off x="3527987" y="2908565"/>
                <a:ext cx="797142" cy="316979"/>
              </a:xfrm>
              <a:custGeom>
                <a:avLst/>
                <a:gdLst/>
                <a:ahLst/>
                <a:cxnLst/>
                <a:rect l="l" t="t" r="r" b="b"/>
                <a:pathLst>
                  <a:path w="44409" h="17659" extrusionOk="0">
                    <a:moveTo>
                      <a:pt x="565" y="1"/>
                    </a:moveTo>
                    <a:lnTo>
                      <a:pt x="447" y="14"/>
                    </a:lnTo>
                    <a:lnTo>
                      <a:pt x="342" y="40"/>
                    </a:lnTo>
                    <a:lnTo>
                      <a:pt x="250" y="93"/>
                    </a:lnTo>
                    <a:lnTo>
                      <a:pt x="171" y="158"/>
                    </a:lnTo>
                    <a:lnTo>
                      <a:pt x="106" y="237"/>
                    </a:lnTo>
                    <a:lnTo>
                      <a:pt x="53" y="342"/>
                    </a:lnTo>
                    <a:lnTo>
                      <a:pt x="14" y="434"/>
                    </a:lnTo>
                    <a:lnTo>
                      <a:pt x="1" y="552"/>
                    </a:lnTo>
                    <a:lnTo>
                      <a:pt x="1" y="17108"/>
                    </a:lnTo>
                    <a:lnTo>
                      <a:pt x="14" y="17226"/>
                    </a:lnTo>
                    <a:lnTo>
                      <a:pt x="53" y="17331"/>
                    </a:lnTo>
                    <a:lnTo>
                      <a:pt x="106" y="17423"/>
                    </a:lnTo>
                    <a:lnTo>
                      <a:pt x="171" y="17501"/>
                    </a:lnTo>
                    <a:lnTo>
                      <a:pt x="250" y="17567"/>
                    </a:lnTo>
                    <a:lnTo>
                      <a:pt x="342" y="17620"/>
                    </a:lnTo>
                    <a:lnTo>
                      <a:pt x="447" y="17659"/>
                    </a:lnTo>
                    <a:lnTo>
                      <a:pt x="43962" y="17659"/>
                    </a:lnTo>
                    <a:lnTo>
                      <a:pt x="44067" y="17620"/>
                    </a:lnTo>
                    <a:lnTo>
                      <a:pt x="44159" y="17567"/>
                    </a:lnTo>
                    <a:lnTo>
                      <a:pt x="44238" y="17501"/>
                    </a:lnTo>
                    <a:lnTo>
                      <a:pt x="44317" y="17423"/>
                    </a:lnTo>
                    <a:lnTo>
                      <a:pt x="44356" y="17331"/>
                    </a:lnTo>
                    <a:lnTo>
                      <a:pt x="44395" y="17226"/>
                    </a:lnTo>
                    <a:lnTo>
                      <a:pt x="44408" y="17108"/>
                    </a:lnTo>
                    <a:lnTo>
                      <a:pt x="44408" y="552"/>
                    </a:lnTo>
                    <a:lnTo>
                      <a:pt x="44395" y="434"/>
                    </a:lnTo>
                    <a:lnTo>
                      <a:pt x="44356" y="342"/>
                    </a:lnTo>
                    <a:lnTo>
                      <a:pt x="44317" y="237"/>
                    </a:lnTo>
                    <a:lnTo>
                      <a:pt x="44238" y="158"/>
                    </a:lnTo>
                    <a:lnTo>
                      <a:pt x="44159" y="93"/>
                    </a:lnTo>
                    <a:lnTo>
                      <a:pt x="44067" y="40"/>
                    </a:lnTo>
                    <a:lnTo>
                      <a:pt x="43962" y="14"/>
                    </a:lnTo>
                    <a:lnTo>
                      <a:pt x="4384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1" name="Google Shape;2351;p45"/>
              <p:cNvSpPr/>
              <p:nvPr/>
            </p:nvSpPr>
            <p:spPr>
              <a:xfrm>
                <a:off x="3557425" y="2933300"/>
                <a:ext cx="214538" cy="33459"/>
              </a:xfrm>
              <a:custGeom>
                <a:avLst/>
                <a:gdLst/>
                <a:ahLst/>
                <a:cxnLst/>
                <a:rect l="l" t="t" r="r" b="b"/>
                <a:pathLst>
                  <a:path w="11952" h="1864" extrusionOk="0">
                    <a:moveTo>
                      <a:pt x="1" y="0"/>
                    </a:moveTo>
                    <a:lnTo>
                      <a:pt x="1" y="1863"/>
                    </a:lnTo>
                    <a:lnTo>
                      <a:pt x="11952" y="1863"/>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2" name="Google Shape;2352;p45"/>
              <p:cNvSpPr/>
              <p:nvPr/>
            </p:nvSpPr>
            <p:spPr>
              <a:xfrm>
                <a:off x="3557425" y="2985104"/>
                <a:ext cx="214538" cy="16729"/>
              </a:xfrm>
              <a:custGeom>
                <a:avLst/>
                <a:gdLst/>
                <a:ahLst/>
                <a:cxnLst/>
                <a:rect l="l" t="t" r="r" b="b"/>
                <a:pathLst>
                  <a:path w="11952" h="932" extrusionOk="0">
                    <a:moveTo>
                      <a:pt x="1" y="0"/>
                    </a:moveTo>
                    <a:lnTo>
                      <a:pt x="1" y="932"/>
                    </a:lnTo>
                    <a:lnTo>
                      <a:pt x="11952" y="932"/>
                    </a:lnTo>
                    <a:lnTo>
                      <a:pt x="1195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3" name="Google Shape;2353;p45"/>
              <p:cNvSpPr/>
              <p:nvPr/>
            </p:nvSpPr>
            <p:spPr>
              <a:xfrm>
                <a:off x="3557425" y="3038792"/>
                <a:ext cx="721303" cy="162035"/>
              </a:xfrm>
              <a:custGeom>
                <a:avLst/>
                <a:gdLst/>
                <a:ahLst/>
                <a:cxnLst/>
                <a:rect l="l" t="t" r="r" b="b"/>
                <a:pathLst>
                  <a:path w="40184" h="9027" extrusionOk="0">
                    <a:moveTo>
                      <a:pt x="1" y="1"/>
                    </a:moveTo>
                    <a:lnTo>
                      <a:pt x="1" y="9026"/>
                    </a:lnTo>
                    <a:lnTo>
                      <a:pt x="40184" y="9026"/>
                    </a:lnTo>
                    <a:lnTo>
                      <a:pt x="40184"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4" name="Google Shape;2354;p45"/>
              <p:cNvSpPr/>
              <p:nvPr/>
            </p:nvSpPr>
            <p:spPr>
              <a:xfrm>
                <a:off x="3294386" y="2851825"/>
                <a:ext cx="107395" cy="48285"/>
              </a:xfrm>
              <a:custGeom>
                <a:avLst/>
                <a:gdLst/>
                <a:ahLst/>
                <a:cxnLst/>
                <a:rect l="l" t="t" r="r" b="b"/>
                <a:pathLst>
                  <a:path w="5983" h="2690" extrusionOk="0">
                    <a:moveTo>
                      <a:pt x="1339" y="0"/>
                    </a:moveTo>
                    <a:lnTo>
                      <a:pt x="1208" y="13"/>
                    </a:lnTo>
                    <a:lnTo>
                      <a:pt x="1076" y="26"/>
                    </a:lnTo>
                    <a:lnTo>
                      <a:pt x="945" y="66"/>
                    </a:lnTo>
                    <a:lnTo>
                      <a:pt x="827" y="105"/>
                    </a:lnTo>
                    <a:lnTo>
                      <a:pt x="709" y="157"/>
                    </a:lnTo>
                    <a:lnTo>
                      <a:pt x="591" y="223"/>
                    </a:lnTo>
                    <a:lnTo>
                      <a:pt x="486" y="302"/>
                    </a:lnTo>
                    <a:lnTo>
                      <a:pt x="394" y="394"/>
                    </a:lnTo>
                    <a:lnTo>
                      <a:pt x="302" y="485"/>
                    </a:lnTo>
                    <a:lnTo>
                      <a:pt x="224" y="590"/>
                    </a:lnTo>
                    <a:lnTo>
                      <a:pt x="158" y="708"/>
                    </a:lnTo>
                    <a:lnTo>
                      <a:pt x="106" y="827"/>
                    </a:lnTo>
                    <a:lnTo>
                      <a:pt x="53" y="945"/>
                    </a:lnTo>
                    <a:lnTo>
                      <a:pt x="27" y="1076"/>
                    </a:lnTo>
                    <a:lnTo>
                      <a:pt x="1" y="1207"/>
                    </a:lnTo>
                    <a:lnTo>
                      <a:pt x="1" y="1351"/>
                    </a:lnTo>
                    <a:lnTo>
                      <a:pt x="1" y="1482"/>
                    </a:lnTo>
                    <a:lnTo>
                      <a:pt x="27" y="1614"/>
                    </a:lnTo>
                    <a:lnTo>
                      <a:pt x="53" y="1745"/>
                    </a:lnTo>
                    <a:lnTo>
                      <a:pt x="106" y="1863"/>
                    </a:lnTo>
                    <a:lnTo>
                      <a:pt x="158" y="1981"/>
                    </a:lnTo>
                    <a:lnTo>
                      <a:pt x="224" y="2099"/>
                    </a:lnTo>
                    <a:lnTo>
                      <a:pt x="302" y="2204"/>
                    </a:lnTo>
                    <a:lnTo>
                      <a:pt x="394" y="2296"/>
                    </a:lnTo>
                    <a:lnTo>
                      <a:pt x="486" y="2388"/>
                    </a:lnTo>
                    <a:lnTo>
                      <a:pt x="591" y="2466"/>
                    </a:lnTo>
                    <a:lnTo>
                      <a:pt x="709" y="2532"/>
                    </a:lnTo>
                    <a:lnTo>
                      <a:pt x="827" y="2584"/>
                    </a:lnTo>
                    <a:lnTo>
                      <a:pt x="945" y="2624"/>
                    </a:lnTo>
                    <a:lnTo>
                      <a:pt x="1076" y="2663"/>
                    </a:lnTo>
                    <a:lnTo>
                      <a:pt x="1208" y="2689"/>
                    </a:lnTo>
                    <a:lnTo>
                      <a:pt x="4776" y="2689"/>
                    </a:lnTo>
                    <a:lnTo>
                      <a:pt x="4907" y="2663"/>
                    </a:lnTo>
                    <a:lnTo>
                      <a:pt x="5038" y="2624"/>
                    </a:lnTo>
                    <a:lnTo>
                      <a:pt x="5156" y="2584"/>
                    </a:lnTo>
                    <a:lnTo>
                      <a:pt x="5275" y="2532"/>
                    </a:lnTo>
                    <a:lnTo>
                      <a:pt x="5393" y="2466"/>
                    </a:lnTo>
                    <a:lnTo>
                      <a:pt x="5498" y="2388"/>
                    </a:lnTo>
                    <a:lnTo>
                      <a:pt x="5589" y="2296"/>
                    </a:lnTo>
                    <a:lnTo>
                      <a:pt x="5681" y="2204"/>
                    </a:lnTo>
                    <a:lnTo>
                      <a:pt x="5747" y="2099"/>
                    </a:lnTo>
                    <a:lnTo>
                      <a:pt x="5826" y="1981"/>
                    </a:lnTo>
                    <a:lnTo>
                      <a:pt x="5878" y="1863"/>
                    </a:lnTo>
                    <a:lnTo>
                      <a:pt x="5917" y="1745"/>
                    </a:lnTo>
                    <a:lnTo>
                      <a:pt x="5957" y="1614"/>
                    </a:lnTo>
                    <a:lnTo>
                      <a:pt x="5970" y="1482"/>
                    </a:lnTo>
                    <a:lnTo>
                      <a:pt x="5983" y="1351"/>
                    </a:lnTo>
                    <a:lnTo>
                      <a:pt x="5970" y="1207"/>
                    </a:lnTo>
                    <a:lnTo>
                      <a:pt x="5957" y="1076"/>
                    </a:lnTo>
                    <a:lnTo>
                      <a:pt x="5917" y="945"/>
                    </a:lnTo>
                    <a:lnTo>
                      <a:pt x="5878" y="827"/>
                    </a:lnTo>
                    <a:lnTo>
                      <a:pt x="5826" y="708"/>
                    </a:lnTo>
                    <a:lnTo>
                      <a:pt x="5747" y="590"/>
                    </a:lnTo>
                    <a:lnTo>
                      <a:pt x="5681" y="485"/>
                    </a:lnTo>
                    <a:lnTo>
                      <a:pt x="5589" y="394"/>
                    </a:lnTo>
                    <a:lnTo>
                      <a:pt x="5498" y="302"/>
                    </a:lnTo>
                    <a:lnTo>
                      <a:pt x="5393" y="223"/>
                    </a:lnTo>
                    <a:lnTo>
                      <a:pt x="5275" y="157"/>
                    </a:lnTo>
                    <a:lnTo>
                      <a:pt x="5156" y="105"/>
                    </a:lnTo>
                    <a:lnTo>
                      <a:pt x="5038" y="66"/>
                    </a:lnTo>
                    <a:lnTo>
                      <a:pt x="4907" y="26"/>
                    </a:lnTo>
                    <a:lnTo>
                      <a:pt x="4776" y="13"/>
                    </a:lnTo>
                    <a:lnTo>
                      <a:pt x="463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5" name="Google Shape;2355;p45"/>
              <p:cNvSpPr/>
              <p:nvPr/>
            </p:nvSpPr>
            <p:spPr>
              <a:xfrm>
                <a:off x="3300040" y="2857946"/>
                <a:ext cx="36044" cy="36044"/>
              </a:xfrm>
              <a:custGeom>
                <a:avLst/>
                <a:gdLst/>
                <a:ahLst/>
                <a:cxnLst/>
                <a:rect l="l" t="t" r="r" b="b"/>
                <a:pathLst>
                  <a:path w="2008" h="2008" extrusionOk="0">
                    <a:moveTo>
                      <a:pt x="906" y="0"/>
                    </a:moveTo>
                    <a:lnTo>
                      <a:pt x="801" y="13"/>
                    </a:lnTo>
                    <a:lnTo>
                      <a:pt x="709" y="39"/>
                    </a:lnTo>
                    <a:lnTo>
                      <a:pt x="617" y="79"/>
                    </a:lnTo>
                    <a:lnTo>
                      <a:pt x="525" y="118"/>
                    </a:lnTo>
                    <a:lnTo>
                      <a:pt x="447" y="171"/>
                    </a:lnTo>
                    <a:lnTo>
                      <a:pt x="368" y="223"/>
                    </a:lnTo>
                    <a:lnTo>
                      <a:pt x="289" y="289"/>
                    </a:lnTo>
                    <a:lnTo>
                      <a:pt x="224" y="367"/>
                    </a:lnTo>
                    <a:lnTo>
                      <a:pt x="171" y="446"/>
                    </a:lnTo>
                    <a:lnTo>
                      <a:pt x="119" y="525"/>
                    </a:lnTo>
                    <a:lnTo>
                      <a:pt x="79" y="617"/>
                    </a:lnTo>
                    <a:lnTo>
                      <a:pt x="40" y="709"/>
                    </a:lnTo>
                    <a:lnTo>
                      <a:pt x="14" y="800"/>
                    </a:lnTo>
                    <a:lnTo>
                      <a:pt x="1" y="905"/>
                    </a:lnTo>
                    <a:lnTo>
                      <a:pt x="1" y="1010"/>
                    </a:lnTo>
                    <a:lnTo>
                      <a:pt x="1" y="1102"/>
                    </a:lnTo>
                    <a:lnTo>
                      <a:pt x="14" y="1207"/>
                    </a:lnTo>
                    <a:lnTo>
                      <a:pt x="40" y="1299"/>
                    </a:lnTo>
                    <a:lnTo>
                      <a:pt x="79" y="1391"/>
                    </a:lnTo>
                    <a:lnTo>
                      <a:pt x="119" y="1483"/>
                    </a:lnTo>
                    <a:lnTo>
                      <a:pt x="171" y="1561"/>
                    </a:lnTo>
                    <a:lnTo>
                      <a:pt x="224" y="1640"/>
                    </a:lnTo>
                    <a:lnTo>
                      <a:pt x="289" y="1719"/>
                    </a:lnTo>
                    <a:lnTo>
                      <a:pt x="368" y="1784"/>
                    </a:lnTo>
                    <a:lnTo>
                      <a:pt x="447" y="1837"/>
                    </a:lnTo>
                    <a:lnTo>
                      <a:pt x="525" y="1889"/>
                    </a:lnTo>
                    <a:lnTo>
                      <a:pt x="617" y="1929"/>
                    </a:lnTo>
                    <a:lnTo>
                      <a:pt x="709" y="1968"/>
                    </a:lnTo>
                    <a:lnTo>
                      <a:pt x="801" y="1994"/>
                    </a:lnTo>
                    <a:lnTo>
                      <a:pt x="906" y="2007"/>
                    </a:lnTo>
                    <a:lnTo>
                      <a:pt x="1103" y="2007"/>
                    </a:lnTo>
                    <a:lnTo>
                      <a:pt x="1208" y="1994"/>
                    </a:lnTo>
                    <a:lnTo>
                      <a:pt x="1299" y="1968"/>
                    </a:lnTo>
                    <a:lnTo>
                      <a:pt x="1391" y="1929"/>
                    </a:lnTo>
                    <a:lnTo>
                      <a:pt x="1483" y="1889"/>
                    </a:lnTo>
                    <a:lnTo>
                      <a:pt x="1562" y="1837"/>
                    </a:lnTo>
                    <a:lnTo>
                      <a:pt x="1640" y="1784"/>
                    </a:lnTo>
                    <a:lnTo>
                      <a:pt x="1719" y="1719"/>
                    </a:lnTo>
                    <a:lnTo>
                      <a:pt x="1785" y="1640"/>
                    </a:lnTo>
                    <a:lnTo>
                      <a:pt x="1837" y="1561"/>
                    </a:lnTo>
                    <a:lnTo>
                      <a:pt x="1890" y="1483"/>
                    </a:lnTo>
                    <a:lnTo>
                      <a:pt x="1929" y="1391"/>
                    </a:lnTo>
                    <a:lnTo>
                      <a:pt x="1968" y="1299"/>
                    </a:lnTo>
                    <a:lnTo>
                      <a:pt x="1995" y="1207"/>
                    </a:lnTo>
                    <a:lnTo>
                      <a:pt x="2008" y="1102"/>
                    </a:lnTo>
                    <a:lnTo>
                      <a:pt x="2008" y="1010"/>
                    </a:lnTo>
                    <a:lnTo>
                      <a:pt x="2008" y="905"/>
                    </a:lnTo>
                    <a:lnTo>
                      <a:pt x="1995" y="800"/>
                    </a:lnTo>
                    <a:lnTo>
                      <a:pt x="1968" y="709"/>
                    </a:lnTo>
                    <a:lnTo>
                      <a:pt x="1929" y="617"/>
                    </a:lnTo>
                    <a:lnTo>
                      <a:pt x="1890" y="525"/>
                    </a:lnTo>
                    <a:lnTo>
                      <a:pt x="1837" y="446"/>
                    </a:lnTo>
                    <a:lnTo>
                      <a:pt x="1785" y="367"/>
                    </a:lnTo>
                    <a:lnTo>
                      <a:pt x="1719" y="289"/>
                    </a:lnTo>
                    <a:lnTo>
                      <a:pt x="1640" y="223"/>
                    </a:lnTo>
                    <a:lnTo>
                      <a:pt x="1562" y="171"/>
                    </a:lnTo>
                    <a:lnTo>
                      <a:pt x="1483" y="118"/>
                    </a:lnTo>
                    <a:lnTo>
                      <a:pt x="1391" y="79"/>
                    </a:lnTo>
                    <a:lnTo>
                      <a:pt x="1299" y="39"/>
                    </a:lnTo>
                    <a:lnTo>
                      <a:pt x="1208" y="13"/>
                    </a:lnTo>
                    <a:lnTo>
                      <a:pt x="110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6" name="Google Shape;2356;p45"/>
              <p:cNvSpPr/>
              <p:nvPr/>
            </p:nvSpPr>
            <p:spPr>
              <a:xfrm>
                <a:off x="3304043" y="2861949"/>
                <a:ext cx="28038" cy="28038"/>
              </a:xfrm>
              <a:custGeom>
                <a:avLst/>
                <a:gdLst/>
                <a:ahLst/>
                <a:cxnLst/>
                <a:rect l="l" t="t" r="r" b="b"/>
                <a:pathLst>
                  <a:path w="1562" h="1562" extrusionOk="0">
                    <a:moveTo>
                      <a:pt x="696" y="0"/>
                    </a:moveTo>
                    <a:lnTo>
                      <a:pt x="617" y="13"/>
                    </a:lnTo>
                    <a:lnTo>
                      <a:pt x="473" y="66"/>
                    </a:lnTo>
                    <a:lnTo>
                      <a:pt x="342" y="131"/>
                    </a:lnTo>
                    <a:lnTo>
                      <a:pt x="224" y="223"/>
                    </a:lnTo>
                    <a:lnTo>
                      <a:pt x="132" y="341"/>
                    </a:lnTo>
                    <a:lnTo>
                      <a:pt x="66" y="472"/>
                    </a:lnTo>
                    <a:lnTo>
                      <a:pt x="14" y="630"/>
                    </a:lnTo>
                    <a:lnTo>
                      <a:pt x="1" y="695"/>
                    </a:lnTo>
                    <a:lnTo>
                      <a:pt x="1" y="787"/>
                    </a:lnTo>
                    <a:lnTo>
                      <a:pt x="1" y="866"/>
                    </a:lnTo>
                    <a:lnTo>
                      <a:pt x="14" y="932"/>
                    </a:lnTo>
                    <a:lnTo>
                      <a:pt x="66" y="1089"/>
                    </a:lnTo>
                    <a:lnTo>
                      <a:pt x="132" y="1220"/>
                    </a:lnTo>
                    <a:lnTo>
                      <a:pt x="224" y="1338"/>
                    </a:lnTo>
                    <a:lnTo>
                      <a:pt x="342" y="1430"/>
                    </a:lnTo>
                    <a:lnTo>
                      <a:pt x="473" y="1496"/>
                    </a:lnTo>
                    <a:lnTo>
                      <a:pt x="617" y="1548"/>
                    </a:lnTo>
                    <a:lnTo>
                      <a:pt x="696" y="1561"/>
                    </a:lnTo>
                    <a:lnTo>
                      <a:pt x="866" y="1561"/>
                    </a:lnTo>
                    <a:lnTo>
                      <a:pt x="932" y="1548"/>
                    </a:lnTo>
                    <a:lnTo>
                      <a:pt x="1089" y="1496"/>
                    </a:lnTo>
                    <a:lnTo>
                      <a:pt x="1221" y="1430"/>
                    </a:lnTo>
                    <a:lnTo>
                      <a:pt x="1326" y="1338"/>
                    </a:lnTo>
                    <a:lnTo>
                      <a:pt x="1431" y="1220"/>
                    </a:lnTo>
                    <a:lnTo>
                      <a:pt x="1496" y="1089"/>
                    </a:lnTo>
                    <a:lnTo>
                      <a:pt x="1549" y="932"/>
                    </a:lnTo>
                    <a:lnTo>
                      <a:pt x="1562" y="866"/>
                    </a:lnTo>
                    <a:lnTo>
                      <a:pt x="1562" y="787"/>
                    </a:lnTo>
                    <a:lnTo>
                      <a:pt x="1562" y="695"/>
                    </a:lnTo>
                    <a:lnTo>
                      <a:pt x="1549" y="630"/>
                    </a:lnTo>
                    <a:lnTo>
                      <a:pt x="1496" y="472"/>
                    </a:lnTo>
                    <a:lnTo>
                      <a:pt x="1431" y="341"/>
                    </a:lnTo>
                    <a:lnTo>
                      <a:pt x="1326" y="223"/>
                    </a:lnTo>
                    <a:lnTo>
                      <a:pt x="1221" y="131"/>
                    </a:lnTo>
                    <a:lnTo>
                      <a:pt x="1089" y="66"/>
                    </a:lnTo>
                    <a:lnTo>
                      <a:pt x="932" y="13"/>
                    </a:lnTo>
                    <a:lnTo>
                      <a:pt x="866" y="0"/>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7" name="Google Shape;2357;p45"/>
              <p:cNvSpPr/>
              <p:nvPr/>
            </p:nvSpPr>
            <p:spPr>
              <a:xfrm>
                <a:off x="3294386" y="2916804"/>
                <a:ext cx="107395" cy="48303"/>
              </a:xfrm>
              <a:custGeom>
                <a:avLst/>
                <a:gdLst/>
                <a:ahLst/>
                <a:cxnLst/>
                <a:rect l="l" t="t" r="r" b="b"/>
                <a:pathLst>
                  <a:path w="5983" h="2691" extrusionOk="0">
                    <a:moveTo>
                      <a:pt x="1339" y="1"/>
                    </a:moveTo>
                    <a:lnTo>
                      <a:pt x="1208" y="14"/>
                    </a:lnTo>
                    <a:lnTo>
                      <a:pt x="1076" y="27"/>
                    </a:lnTo>
                    <a:lnTo>
                      <a:pt x="945" y="66"/>
                    </a:lnTo>
                    <a:lnTo>
                      <a:pt x="827" y="106"/>
                    </a:lnTo>
                    <a:lnTo>
                      <a:pt x="709" y="171"/>
                    </a:lnTo>
                    <a:lnTo>
                      <a:pt x="591" y="237"/>
                    </a:lnTo>
                    <a:lnTo>
                      <a:pt x="486" y="316"/>
                    </a:lnTo>
                    <a:lnTo>
                      <a:pt x="394" y="394"/>
                    </a:lnTo>
                    <a:lnTo>
                      <a:pt x="302" y="499"/>
                    </a:lnTo>
                    <a:lnTo>
                      <a:pt x="224" y="591"/>
                    </a:lnTo>
                    <a:lnTo>
                      <a:pt x="158" y="709"/>
                    </a:lnTo>
                    <a:lnTo>
                      <a:pt x="106" y="827"/>
                    </a:lnTo>
                    <a:lnTo>
                      <a:pt x="53" y="945"/>
                    </a:lnTo>
                    <a:lnTo>
                      <a:pt x="27" y="1077"/>
                    </a:lnTo>
                    <a:lnTo>
                      <a:pt x="1" y="1208"/>
                    </a:lnTo>
                    <a:lnTo>
                      <a:pt x="1" y="1352"/>
                    </a:lnTo>
                    <a:lnTo>
                      <a:pt x="1" y="1483"/>
                    </a:lnTo>
                    <a:lnTo>
                      <a:pt x="27" y="1615"/>
                    </a:lnTo>
                    <a:lnTo>
                      <a:pt x="53" y="1746"/>
                    </a:lnTo>
                    <a:lnTo>
                      <a:pt x="106" y="1877"/>
                    </a:lnTo>
                    <a:lnTo>
                      <a:pt x="158" y="1995"/>
                    </a:lnTo>
                    <a:lnTo>
                      <a:pt x="224" y="2100"/>
                    </a:lnTo>
                    <a:lnTo>
                      <a:pt x="302" y="2205"/>
                    </a:lnTo>
                    <a:lnTo>
                      <a:pt x="394" y="2297"/>
                    </a:lnTo>
                    <a:lnTo>
                      <a:pt x="486" y="2389"/>
                    </a:lnTo>
                    <a:lnTo>
                      <a:pt x="591" y="2467"/>
                    </a:lnTo>
                    <a:lnTo>
                      <a:pt x="709" y="2533"/>
                    </a:lnTo>
                    <a:lnTo>
                      <a:pt x="827" y="2585"/>
                    </a:lnTo>
                    <a:lnTo>
                      <a:pt x="945" y="2638"/>
                    </a:lnTo>
                    <a:lnTo>
                      <a:pt x="1076" y="2664"/>
                    </a:lnTo>
                    <a:lnTo>
                      <a:pt x="1208" y="2690"/>
                    </a:lnTo>
                    <a:lnTo>
                      <a:pt x="4776" y="2690"/>
                    </a:lnTo>
                    <a:lnTo>
                      <a:pt x="4907" y="2664"/>
                    </a:lnTo>
                    <a:lnTo>
                      <a:pt x="5038" y="2638"/>
                    </a:lnTo>
                    <a:lnTo>
                      <a:pt x="5156" y="2585"/>
                    </a:lnTo>
                    <a:lnTo>
                      <a:pt x="5275" y="2533"/>
                    </a:lnTo>
                    <a:lnTo>
                      <a:pt x="5393" y="2467"/>
                    </a:lnTo>
                    <a:lnTo>
                      <a:pt x="5498" y="2389"/>
                    </a:lnTo>
                    <a:lnTo>
                      <a:pt x="5589" y="2297"/>
                    </a:lnTo>
                    <a:lnTo>
                      <a:pt x="5681" y="2205"/>
                    </a:lnTo>
                    <a:lnTo>
                      <a:pt x="5747" y="2100"/>
                    </a:lnTo>
                    <a:lnTo>
                      <a:pt x="5826" y="1995"/>
                    </a:lnTo>
                    <a:lnTo>
                      <a:pt x="5878" y="1877"/>
                    </a:lnTo>
                    <a:lnTo>
                      <a:pt x="5917" y="1746"/>
                    </a:lnTo>
                    <a:lnTo>
                      <a:pt x="5957" y="1615"/>
                    </a:lnTo>
                    <a:lnTo>
                      <a:pt x="5970" y="1483"/>
                    </a:lnTo>
                    <a:lnTo>
                      <a:pt x="5983" y="1352"/>
                    </a:lnTo>
                    <a:lnTo>
                      <a:pt x="5970" y="1208"/>
                    </a:lnTo>
                    <a:lnTo>
                      <a:pt x="5957" y="1077"/>
                    </a:lnTo>
                    <a:lnTo>
                      <a:pt x="5917" y="945"/>
                    </a:lnTo>
                    <a:lnTo>
                      <a:pt x="5878" y="827"/>
                    </a:lnTo>
                    <a:lnTo>
                      <a:pt x="5826" y="709"/>
                    </a:lnTo>
                    <a:lnTo>
                      <a:pt x="5747" y="591"/>
                    </a:lnTo>
                    <a:lnTo>
                      <a:pt x="5681" y="499"/>
                    </a:lnTo>
                    <a:lnTo>
                      <a:pt x="5589" y="394"/>
                    </a:lnTo>
                    <a:lnTo>
                      <a:pt x="5498" y="316"/>
                    </a:lnTo>
                    <a:lnTo>
                      <a:pt x="5393" y="237"/>
                    </a:lnTo>
                    <a:lnTo>
                      <a:pt x="5275" y="171"/>
                    </a:lnTo>
                    <a:lnTo>
                      <a:pt x="5156" y="106"/>
                    </a:lnTo>
                    <a:lnTo>
                      <a:pt x="5038" y="66"/>
                    </a:lnTo>
                    <a:lnTo>
                      <a:pt x="4907" y="27"/>
                    </a:lnTo>
                    <a:lnTo>
                      <a:pt x="4776" y="14"/>
                    </a:lnTo>
                    <a:lnTo>
                      <a:pt x="463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8" name="Google Shape;2358;p45"/>
              <p:cNvSpPr/>
              <p:nvPr/>
            </p:nvSpPr>
            <p:spPr>
              <a:xfrm>
                <a:off x="3360083" y="2922925"/>
                <a:ext cx="36062" cy="36295"/>
              </a:xfrm>
              <a:custGeom>
                <a:avLst/>
                <a:gdLst/>
                <a:ahLst/>
                <a:cxnLst/>
                <a:rect l="l" t="t" r="r" b="b"/>
                <a:pathLst>
                  <a:path w="2009" h="2022" extrusionOk="0">
                    <a:moveTo>
                      <a:pt x="998" y="1"/>
                    </a:moveTo>
                    <a:lnTo>
                      <a:pt x="906" y="14"/>
                    </a:lnTo>
                    <a:lnTo>
                      <a:pt x="801" y="27"/>
                    </a:lnTo>
                    <a:lnTo>
                      <a:pt x="709" y="53"/>
                    </a:lnTo>
                    <a:lnTo>
                      <a:pt x="617" y="80"/>
                    </a:lnTo>
                    <a:lnTo>
                      <a:pt x="526" y="119"/>
                    </a:lnTo>
                    <a:lnTo>
                      <a:pt x="447" y="172"/>
                    </a:lnTo>
                    <a:lnTo>
                      <a:pt x="368" y="237"/>
                    </a:lnTo>
                    <a:lnTo>
                      <a:pt x="290" y="303"/>
                    </a:lnTo>
                    <a:lnTo>
                      <a:pt x="224" y="368"/>
                    </a:lnTo>
                    <a:lnTo>
                      <a:pt x="171" y="447"/>
                    </a:lnTo>
                    <a:lnTo>
                      <a:pt x="119" y="526"/>
                    </a:lnTo>
                    <a:lnTo>
                      <a:pt x="80" y="618"/>
                    </a:lnTo>
                    <a:lnTo>
                      <a:pt x="40" y="709"/>
                    </a:lnTo>
                    <a:lnTo>
                      <a:pt x="14" y="801"/>
                    </a:lnTo>
                    <a:lnTo>
                      <a:pt x="1" y="906"/>
                    </a:lnTo>
                    <a:lnTo>
                      <a:pt x="1" y="1011"/>
                    </a:lnTo>
                    <a:lnTo>
                      <a:pt x="1" y="1116"/>
                    </a:lnTo>
                    <a:lnTo>
                      <a:pt x="14" y="1208"/>
                    </a:lnTo>
                    <a:lnTo>
                      <a:pt x="40" y="1313"/>
                    </a:lnTo>
                    <a:lnTo>
                      <a:pt x="80" y="1405"/>
                    </a:lnTo>
                    <a:lnTo>
                      <a:pt x="119" y="1483"/>
                    </a:lnTo>
                    <a:lnTo>
                      <a:pt x="171" y="1575"/>
                    </a:lnTo>
                    <a:lnTo>
                      <a:pt x="224" y="1654"/>
                    </a:lnTo>
                    <a:lnTo>
                      <a:pt x="290" y="1720"/>
                    </a:lnTo>
                    <a:lnTo>
                      <a:pt x="368" y="1785"/>
                    </a:lnTo>
                    <a:lnTo>
                      <a:pt x="447" y="1838"/>
                    </a:lnTo>
                    <a:lnTo>
                      <a:pt x="526" y="1890"/>
                    </a:lnTo>
                    <a:lnTo>
                      <a:pt x="617" y="1929"/>
                    </a:lnTo>
                    <a:lnTo>
                      <a:pt x="709" y="1969"/>
                    </a:lnTo>
                    <a:lnTo>
                      <a:pt x="801" y="1995"/>
                    </a:lnTo>
                    <a:lnTo>
                      <a:pt x="906" y="2008"/>
                    </a:lnTo>
                    <a:lnTo>
                      <a:pt x="998" y="2021"/>
                    </a:lnTo>
                    <a:lnTo>
                      <a:pt x="1103" y="2008"/>
                    </a:lnTo>
                    <a:lnTo>
                      <a:pt x="1208" y="1995"/>
                    </a:lnTo>
                    <a:lnTo>
                      <a:pt x="1300" y="1969"/>
                    </a:lnTo>
                    <a:lnTo>
                      <a:pt x="1392" y="1929"/>
                    </a:lnTo>
                    <a:lnTo>
                      <a:pt x="1483" y="1890"/>
                    </a:lnTo>
                    <a:lnTo>
                      <a:pt x="1562" y="1838"/>
                    </a:lnTo>
                    <a:lnTo>
                      <a:pt x="1641" y="1785"/>
                    </a:lnTo>
                    <a:lnTo>
                      <a:pt x="1719" y="1720"/>
                    </a:lnTo>
                    <a:lnTo>
                      <a:pt x="1785" y="1654"/>
                    </a:lnTo>
                    <a:lnTo>
                      <a:pt x="1838" y="1575"/>
                    </a:lnTo>
                    <a:lnTo>
                      <a:pt x="1890" y="1483"/>
                    </a:lnTo>
                    <a:lnTo>
                      <a:pt x="1929" y="1405"/>
                    </a:lnTo>
                    <a:lnTo>
                      <a:pt x="1969" y="1313"/>
                    </a:lnTo>
                    <a:lnTo>
                      <a:pt x="1995" y="1208"/>
                    </a:lnTo>
                    <a:lnTo>
                      <a:pt x="2008" y="1116"/>
                    </a:lnTo>
                    <a:lnTo>
                      <a:pt x="2008" y="1011"/>
                    </a:lnTo>
                    <a:lnTo>
                      <a:pt x="2008" y="906"/>
                    </a:lnTo>
                    <a:lnTo>
                      <a:pt x="1995" y="801"/>
                    </a:lnTo>
                    <a:lnTo>
                      <a:pt x="1969" y="709"/>
                    </a:lnTo>
                    <a:lnTo>
                      <a:pt x="1929" y="618"/>
                    </a:lnTo>
                    <a:lnTo>
                      <a:pt x="1890" y="526"/>
                    </a:lnTo>
                    <a:lnTo>
                      <a:pt x="1838" y="447"/>
                    </a:lnTo>
                    <a:lnTo>
                      <a:pt x="1785" y="368"/>
                    </a:lnTo>
                    <a:lnTo>
                      <a:pt x="1719" y="303"/>
                    </a:lnTo>
                    <a:lnTo>
                      <a:pt x="1641" y="237"/>
                    </a:lnTo>
                    <a:lnTo>
                      <a:pt x="1562" y="172"/>
                    </a:lnTo>
                    <a:lnTo>
                      <a:pt x="1483" y="119"/>
                    </a:lnTo>
                    <a:lnTo>
                      <a:pt x="1392" y="80"/>
                    </a:lnTo>
                    <a:lnTo>
                      <a:pt x="1300" y="53"/>
                    </a:lnTo>
                    <a:lnTo>
                      <a:pt x="1208" y="27"/>
                    </a:lnTo>
                    <a:lnTo>
                      <a:pt x="1103" y="14"/>
                    </a:lnTo>
                    <a:lnTo>
                      <a:pt x="99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9" name="Google Shape;2359;p45"/>
              <p:cNvSpPr/>
              <p:nvPr/>
            </p:nvSpPr>
            <p:spPr>
              <a:xfrm>
                <a:off x="3364085" y="2926928"/>
                <a:ext cx="28056" cy="28056"/>
              </a:xfrm>
              <a:custGeom>
                <a:avLst/>
                <a:gdLst/>
                <a:ahLst/>
                <a:cxnLst/>
                <a:rect l="l" t="t" r="r" b="b"/>
                <a:pathLst>
                  <a:path w="1563" h="1563" extrusionOk="0">
                    <a:moveTo>
                      <a:pt x="775" y="1"/>
                    </a:moveTo>
                    <a:lnTo>
                      <a:pt x="696" y="14"/>
                    </a:lnTo>
                    <a:lnTo>
                      <a:pt x="618" y="27"/>
                    </a:lnTo>
                    <a:lnTo>
                      <a:pt x="473" y="67"/>
                    </a:lnTo>
                    <a:lnTo>
                      <a:pt x="342" y="145"/>
                    </a:lnTo>
                    <a:lnTo>
                      <a:pt x="224" y="237"/>
                    </a:lnTo>
                    <a:lnTo>
                      <a:pt x="132" y="355"/>
                    </a:lnTo>
                    <a:lnTo>
                      <a:pt x="67" y="486"/>
                    </a:lnTo>
                    <a:lnTo>
                      <a:pt x="14" y="631"/>
                    </a:lnTo>
                    <a:lnTo>
                      <a:pt x="1" y="709"/>
                    </a:lnTo>
                    <a:lnTo>
                      <a:pt x="1" y="788"/>
                    </a:lnTo>
                    <a:lnTo>
                      <a:pt x="1" y="867"/>
                    </a:lnTo>
                    <a:lnTo>
                      <a:pt x="14" y="946"/>
                    </a:lnTo>
                    <a:lnTo>
                      <a:pt x="67" y="1090"/>
                    </a:lnTo>
                    <a:lnTo>
                      <a:pt x="132" y="1221"/>
                    </a:lnTo>
                    <a:lnTo>
                      <a:pt x="224" y="1339"/>
                    </a:lnTo>
                    <a:lnTo>
                      <a:pt x="342" y="1431"/>
                    </a:lnTo>
                    <a:lnTo>
                      <a:pt x="473" y="1510"/>
                    </a:lnTo>
                    <a:lnTo>
                      <a:pt x="618" y="1549"/>
                    </a:lnTo>
                    <a:lnTo>
                      <a:pt x="696" y="1562"/>
                    </a:lnTo>
                    <a:lnTo>
                      <a:pt x="854" y="1562"/>
                    </a:lnTo>
                    <a:lnTo>
                      <a:pt x="932" y="1549"/>
                    </a:lnTo>
                    <a:lnTo>
                      <a:pt x="1090" y="1510"/>
                    </a:lnTo>
                    <a:lnTo>
                      <a:pt x="1221" y="1431"/>
                    </a:lnTo>
                    <a:lnTo>
                      <a:pt x="1326" y="1339"/>
                    </a:lnTo>
                    <a:lnTo>
                      <a:pt x="1431" y="1221"/>
                    </a:lnTo>
                    <a:lnTo>
                      <a:pt x="1496" y="1090"/>
                    </a:lnTo>
                    <a:lnTo>
                      <a:pt x="1549" y="946"/>
                    </a:lnTo>
                    <a:lnTo>
                      <a:pt x="1562" y="867"/>
                    </a:lnTo>
                    <a:lnTo>
                      <a:pt x="1562" y="788"/>
                    </a:lnTo>
                    <a:lnTo>
                      <a:pt x="1562" y="709"/>
                    </a:lnTo>
                    <a:lnTo>
                      <a:pt x="1549" y="631"/>
                    </a:lnTo>
                    <a:lnTo>
                      <a:pt x="1496" y="486"/>
                    </a:lnTo>
                    <a:lnTo>
                      <a:pt x="1431" y="355"/>
                    </a:lnTo>
                    <a:lnTo>
                      <a:pt x="1326" y="237"/>
                    </a:lnTo>
                    <a:lnTo>
                      <a:pt x="1221" y="145"/>
                    </a:lnTo>
                    <a:lnTo>
                      <a:pt x="1090" y="67"/>
                    </a:lnTo>
                    <a:lnTo>
                      <a:pt x="932" y="27"/>
                    </a:lnTo>
                    <a:lnTo>
                      <a:pt x="854" y="14"/>
                    </a:lnTo>
                    <a:lnTo>
                      <a:pt x="775" y="1"/>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0" name="Google Shape;2360;p45"/>
              <p:cNvSpPr/>
              <p:nvPr/>
            </p:nvSpPr>
            <p:spPr>
              <a:xfrm>
                <a:off x="3294386" y="2982267"/>
                <a:ext cx="107395" cy="48303"/>
              </a:xfrm>
              <a:custGeom>
                <a:avLst/>
                <a:gdLst/>
                <a:ahLst/>
                <a:cxnLst/>
                <a:rect l="l" t="t" r="r" b="b"/>
                <a:pathLst>
                  <a:path w="5983" h="2691" extrusionOk="0">
                    <a:moveTo>
                      <a:pt x="1208" y="1"/>
                    </a:moveTo>
                    <a:lnTo>
                      <a:pt x="1076" y="27"/>
                    </a:lnTo>
                    <a:lnTo>
                      <a:pt x="945" y="53"/>
                    </a:lnTo>
                    <a:lnTo>
                      <a:pt x="827" y="106"/>
                    </a:lnTo>
                    <a:lnTo>
                      <a:pt x="709" y="158"/>
                    </a:lnTo>
                    <a:lnTo>
                      <a:pt x="591" y="224"/>
                    </a:lnTo>
                    <a:lnTo>
                      <a:pt x="486" y="303"/>
                    </a:lnTo>
                    <a:lnTo>
                      <a:pt x="394" y="395"/>
                    </a:lnTo>
                    <a:lnTo>
                      <a:pt x="302" y="486"/>
                    </a:lnTo>
                    <a:lnTo>
                      <a:pt x="224" y="591"/>
                    </a:lnTo>
                    <a:lnTo>
                      <a:pt x="158" y="696"/>
                    </a:lnTo>
                    <a:lnTo>
                      <a:pt x="106" y="814"/>
                    </a:lnTo>
                    <a:lnTo>
                      <a:pt x="53" y="946"/>
                    </a:lnTo>
                    <a:lnTo>
                      <a:pt x="27" y="1077"/>
                    </a:lnTo>
                    <a:lnTo>
                      <a:pt x="1" y="1208"/>
                    </a:lnTo>
                    <a:lnTo>
                      <a:pt x="1" y="1339"/>
                    </a:lnTo>
                    <a:lnTo>
                      <a:pt x="1" y="1483"/>
                    </a:lnTo>
                    <a:lnTo>
                      <a:pt x="27" y="1615"/>
                    </a:lnTo>
                    <a:lnTo>
                      <a:pt x="53" y="1746"/>
                    </a:lnTo>
                    <a:lnTo>
                      <a:pt x="106" y="1864"/>
                    </a:lnTo>
                    <a:lnTo>
                      <a:pt x="158" y="1982"/>
                    </a:lnTo>
                    <a:lnTo>
                      <a:pt x="224" y="2100"/>
                    </a:lnTo>
                    <a:lnTo>
                      <a:pt x="302" y="2205"/>
                    </a:lnTo>
                    <a:lnTo>
                      <a:pt x="394" y="2297"/>
                    </a:lnTo>
                    <a:lnTo>
                      <a:pt x="486" y="2375"/>
                    </a:lnTo>
                    <a:lnTo>
                      <a:pt x="591" y="2454"/>
                    </a:lnTo>
                    <a:lnTo>
                      <a:pt x="709" y="2520"/>
                    </a:lnTo>
                    <a:lnTo>
                      <a:pt x="827" y="2585"/>
                    </a:lnTo>
                    <a:lnTo>
                      <a:pt x="945" y="2625"/>
                    </a:lnTo>
                    <a:lnTo>
                      <a:pt x="1076" y="2664"/>
                    </a:lnTo>
                    <a:lnTo>
                      <a:pt x="1208" y="2677"/>
                    </a:lnTo>
                    <a:lnTo>
                      <a:pt x="1339" y="2690"/>
                    </a:lnTo>
                    <a:lnTo>
                      <a:pt x="4632" y="2690"/>
                    </a:lnTo>
                    <a:lnTo>
                      <a:pt x="4776" y="2677"/>
                    </a:lnTo>
                    <a:lnTo>
                      <a:pt x="4907" y="2664"/>
                    </a:lnTo>
                    <a:lnTo>
                      <a:pt x="5038" y="2625"/>
                    </a:lnTo>
                    <a:lnTo>
                      <a:pt x="5156" y="2585"/>
                    </a:lnTo>
                    <a:lnTo>
                      <a:pt x="5275" y="2520"/>
                    </a:lnTo>
                    <a:lnTo>
                      <a:pt x="5393" y="2454"/>
                    </a:lnTo>
                    <a:lnTo>
                      <a:pt x="5498" y="2375"/>
                    </a:lnTo>
                    <a:lnTo>
                      <a:pt x="5589" y="2297"/>
                    </a:lnTo>
                    <a:lnTo>
                      <a:pt x="5681" y="2205"/>
                    </a:lnTo>
                    <a:lnTo>
                      <a:pt x="5747" y="2100"/>
                    </a:lnTo>
                    <a:lnTo>
                      <a:pt x="5826" y="1982"/>
                    </a:lnTo>
                    <a:lnTo>
                      <a:pt x="5878" y="1864"/>
                    </a:lnTo>
                    <a:lnTo>
                      <a:pt x="5917" y="1746"/>
                    </a:lnTo>
                    <a:lnTo>
                      <a:pt x="5957" y="1615"/>
                    </a:lnTo>
                    <a:lnTo>
                      <a:pt x="5970" y="1483"/>
                    </a:lnTo>
                    <a:lnTo>
                      <a:pt x="5983" y="1339"/>
                    </a:lnTo>
                    <a:lnTo>
                      <a:pt x="5970" y="1208"/>
                    </a:lnTo>
                    <a:lnTo>
                      <a:pt x="5957" y="1077"/>
                    </a:lnTo>
                    <a:lnTo>
                      <a:pt x="5917" y="946"/>
                    </a:lnTo>
                    <a:lnTo>
                      <a:pt x="5878" y="814"/>
                    </a:lnTo>
                    <a:lnTo>
                      <a:pt x="5826" y="696"/>
                    </a:lnTo>
                    <a:lnTo>
                      <a:pt x="5747" y="591"/>
                    </a:lnTo>
                    <a:lnTo>
                      <a:pt x="5681" y="486"/>
                    </a:lnTo>
                    <a:lnTo>
                      <a:pt x="5589" y="395"/>
                    </a:lnTo>
                    <a:lnTo>
                      <a:pt x="5498" y="303"/>
                    </a:lnTo>
                    <a:lnTo>
                      <a:pt x="5393" y="224"/>
                    </a:lnTo>
                    <a:lnTo>
                      <a:pt x="5275" y="158"/>
                    </a:lnTo>
                    <a:lnTo>
                      <a:pt x="5156" y="106"/>
                    </a:lnTo>
                    <a:lnTo>
                      <a:pt x="5038" y="53"/>
                    </a:lnTo>
                    <a:lnTo>
                      <a:pt x="4907" y="27"/>
                    </a:lnTo>
                    <a:lnTo>
                      <a:pt x="47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1" name="Google Shape;2361;p45"/>
              <p:cNvSpPr/>
              <p:nvPr/>
            </p:nvSpPr>
            <p:spPr>
              <a:xfrm>
                <a:off x="3300040" y="2988406"/>
                <a:ext cx="36044" cy="36044"/>
              </a:xfrm>
              <a:custGeom>
                <a:avLst/>
                <a:gdLst/>
                <a:ahLst/>
                <a:cxnLst/>
                <a:rect l="l" t="t" r="r" b="b"/>
                <a:pathLst>
                  <a:path w="2008" h="2008" extrusionOk="0">
                    <a:moveTo>
                      <a:pt x="906" y="0"/>
                    </a:moveTo>
                    <a:lnTo>
                      <a:pt x="801" y="13"/>
                    </a:lnTo>
                    <a:lnTo>
                      <a:pt x="709" y="39"/>
                    </a:lnTo>
                    <a:lnTo>
                      <a:pt x="617" y="79"/>
                    </a:lnTo>
                    <a:lnTo>
                      <a:pt x="525" y="118"/>
                    </a:lnTo>
                    <a:lnTo>
                      <a:pt x="447" y="171"/>
                    </a:lnTo>
                    <a:lnTo>
                      <a:pt x="368" y="223"/>
                    </a:lnTo>
                    <a:lnTo>
                      <a:pt x="289" y="289"/>
                    </a:lnTo>
                    <a:lnTo>
                      <a:pt x="224" y="367"/>
                    </a:lnTo>
                    <a:lnTo>
                      <a:pt x="171" y="433"/>
                    </a:lnTo>
                    <a:lnTo>
                      <a:pt x="119" y="525"/>
                    </a:lnTo>
                    <a:lnTo>
                      <a:pt x="79" y="604"/>
                    </a:lnTo>
                    <a:lnTo>
                      <a:pt x="40" y="708"/>
                    </a:lnTo>
                    <a:lnTo>
                      <a:pt x="14" y="800"/>
                    </a:lnTo>
                    <a:lnTo>
                      <a:pt x="1" y="892"/>
                    </a:lnTo>
                    <a:lnTo>
                      <a:pt x="1" y="997"/>
                    </a:lnTo>
                    <a:lnTo>
                      <a:pt x="1" y="1102"/>
                    </a:lnTo>
                    <a:lnTo>
                      <a:pt x="14" y="1207"/>
                    </a:lnTo>
                    <a:lnTo>
                      <a:pt x="40" y="1299"/>
                    </a:lnTo>
                    <a:lnTo>
                      <a:pt x="79" y="1391"/>
                    </a:lnTo>
                    <a:lnTo>
                      <a:pt x="119" y="1482"/>
                    </a:lnTo>
                    <a:lnTo>
                      <a:pt x="171" y="1561"/>
                    </a:lnTo>
                    <a:lnTo>
                      <a:pt x="224" y="1640"/>
                    </a:lnTo>
                    <a:lnTo>
                      <a:pt x="289" y="1719"/>
                    </a:lnTo>
                    <a:lnTo>
                      <a:pt x="368" y="1771"/>
                    </a:lnTo>
                    <a:lnTo>
                      <a:pt x="447" y="1837"/>
                    </a:lnTo>
                    <a:lnTo>
                      <a:pt x="525" y="1889"/>
                    </a:lnTo>
                    <a:lnTo>
                      <a:pt x="617" y="1929"/>
                    </a:lnTo>
                    <a:lnTo>
                      <a:pt x="709" y="1968"/>
                    </a:lnTo>
                    <a:lnTo>
                      <a:pt x="801" y="1981"/>
                    </a:lnTo>
                    <a:lnTo>
                      <a:pt x="906" y="2007"/>
                    </a:lnTo>
                    <a:lnTo>
                      <a:pt x="1103" y="2007"/>
                    </a:lnTo>
                    <a:lnTo>
                      <a:pt x="1208" y="1981"/>
                    </a:lnTo>
                    <a:lnTo>
                      <a:pt x="1299" y="1968"/>
                    </a:lnTo>
                    <a:lnTo>
                      <a:pt x="1391" y="1929"/>
                    </a:lnTo>
                    <a:lnTo>
                      <a:pt x="1483" y="1889"/>
                    </a:lnTo>
                    <a:lnTo>
                      <a:pt x="1562" y="1837"/>
                    </a:lnTo>
                    <a:lnTo>
                      <a:pt x="1640" y="1771"/>
                    </a:lnTo>
                    <a:lnTo>
                      <a:pt x="1719" y="1719"/>
                    </a:lnTo>
                    <a:lnTo>
                      <a:pt x="1785" y="1640"/>
                    </a:lnTo>
                    <a:lnTo>
                      <a:pt x="1837" y="1561"/>
                    </a:lnTo>
                    <a:lnTo>
                      <a:pt x="1890" y="1482"/>
                    </a:lnTo>
                    <a:lnTo>
                      <a:pt x="1929" y="1391"/>
                    </a:lnTo>
                    <a:lnTo>
                      <a:pt x="1968" y="1299"/>
                    </a:lnTo>
                    <a:lnTo>
                      <a:pt x="1995" y="1207"/>
                    </a:lnTo>
                    <a:lnTo>
                      <a:pt x="2008" y="1102"/>
                    </a:lnTo>
                    <a:lnTo>
                      <a:pt x="2008" y="997"/>
                    </a:lnTo>
                    <a:lnTo>
                      <a:pt x="2008" y="892"/>
                    </a:lnTo>
                    <a:lnTo>
                      <a:pt x="1995" y="800"/>
                    </a:lnTo>
                    <a:lnTo>
                      <a:pt x="1968" y="708"/>
                    </a:lnTo>
                    <a:lnTo>
                      <a:pt x="1929" y="604"/>
                    </a:lnTo>
                    <a:lnTo>
                      <a:pt x="1890" y="525"/>
                    </a:lnTo>
                    <a:lnTo>
                      <a:pt x="1837" y="433"/>
                    </a:lnTo>
                    <a:lnTo>
                      <a:pt x="1785" y="367"/>
                    </a:lnTo>
                    <a:lnTo>
                      <a:pt x="1719" y="289"/>
                    </a:lnTo>
                    <a:lnTo>
                      <a:pt x="1640" y="223"/>
                    </a:lnTo>
                    <a:lnTo>
                      <a:pt x="1562" y="171"/>
                    </a:lnTo>
                    <a:lnTo>
                      <a:pt x="1483" y="118"/>
                    </a:lnTo>
                    <a:lnTo>
                      <a:pt x="1391" y="79"/>
                    </a:lnTo>
                    <a:lnTo>
                      <a:pt x="1299" y="39"/>
                    </a:lnTo>
                    <a:lnTo>
                      <a:pt x="1208" y="13"/>
                    </a:lnTo>
                    <a:lnTo>
                      <a:pt x="1103"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2" name="Google Shape;2362;p45"/>
              <p:cNvSpPr/>
              <p:nvPr/>
            </p:nvSpPr>
            <p:spPr>
              <a:xfrm>
                <a:off x="3304043" y="2992409"/>
                <a:ext cx="28038" cy="28038"/>
              </a:xfrm>
              <a:custGeom>
                <a:avLst/>
                <a:gdLst/>
                <a:ahLst/>
                <a:cxnLst/>
                <a:rect l="l" t="t" r="r" b="b"/>
                <a:pathLst>
                  <a:path w="1562" h="1562" extrusionOk="0">
                    <a:moveTo>
                      <a:pt x="696" y="0"/>
                    </a:moveTo>
                    <a:lnTo>
                      <a:pt x="617" y="13"/>
                    </a:lnTo>
                    <a:lnTo>
                      <a:pt x="473" y="66"/>
                    </a:lnTo>
                    <a:lnTo>
                      <a:pt x="342" y="131"/>
                    </a:lnTo>
                    <a:lnTo>
                      <a:pt x="224" y="223"/>
                    </a:lnTo>
                    <a:lnTo>
                      <a:pt x="132" y="341"/>
                    </a:lnTo>
                    <a:lnTo>
                      <a:pt x="66" y="472"/>
                    </a:lnTo>
                    <a:lnTo>
                      <a:pt x="14" y="617"/>
                    </a:lnTo>
                    <a:lnTo>
                      <a:pt x="1" y="695"/>
                    </a:lnTo>
                    <a:lnTo>
                      <a:pt x="1" y="774"/>
                    </a:lnTo>
                    <a:lnTo>
                      <a:pt x="1" y="853"/>
                    </a:lnTo>
                    <a:lnTo>
                      <a:pt x="14" y="932"/>
                    </a:lnTo>
                    <a:lnTo>
                      <a:pt x="66" y="1076"/>
                    </a:lnTo>
                    <a:lnTo>
                      <a:pt x="132" y="1220"/>
                    </a:lnTo>
                    <a:lnTo>
                      <a:pt x="224" y="1325"/>
                    </a:lnTo>
                    <a:lnTo>
                      <a:pt x="342" y="1430"/>
                    </a:lnTo>
                    <a:lnTo>
                      <a:pt x="473" y="1496"/>
                    </a:lnTo>
                    <a:lnTo>
                      <a:pt x="617" y="1548"/>
                    </a:lnTo>
                    <a:lnTo>
                      <a:pt x="696" y="1548"/>
                    </a:lnTo>
                    <a:lnTo>
                      <a:pt x="775" y="1561"/>
                    </a:lnTo>
                    <a:lnTo>
                      <a:pt x="866" y="1548"/>
                    </a:lnTo>
                    <a:lnTo>
                      <a:pt x="932" y="1548"/>
                    </a:lnTo>
                    <a:lnTo>
                      <a:pt x="1089" y="1496"/>
                    </a:lnTo>
                    <a:lnTo>
                      <a:pt x="1221" y="1430"/>
                    </a:lnTo>
                    <a:lnTo>
                      <a:pt x="1326" y="1325"/>
                    </a:lnTo>
                    <a:lnTo>
                      <a:pt x="1431" y="1220"/>
                    </a:lnTo>
                    <a:lnTo>
                      <a:pt x="1496" y="1076"/>
                    </a:lnTo>
                    <a:lnTo>
                      <a:pt x="1549" y="932"/>
                    </a:lnTo>
                    <a:lnTo>
                      <a:pt x="1562" y="853"/>
                    </a:lnTo>
                    <a:lnTo>
                      <a:pt x="1562" y="774"/>
                    </a:lnTo>
                    <a:lnTo>
                      <a:pt x="1562" y="695"/>
                    </a:lnTo>
                    <a:lnTo>
                      <a:pt x="1549" y="617"/>
                    </a:lnTo>
                    <a:lnTo>
                      <a:pt x="1496" y="472"/>
                    </a:lnTo>
                    <a:lnTo>
                      <a:pt x="1431" y="341"/>
                    </a:lnTo>
                    <a:lnTo>
                      <a:pt x="1326" y="223"/>
                    </a:lnTo>
                    <a:lnTo>
                      <a:pt x="1221" y="131"/>
                    </a:lnTo>
                    <a:lnTo>
                      <a:pt x="1089" y="66"/>
                    </a:lnTo>
                    <a:lnTo>
                      <a:pt x="932" y="13"/>
                    </a:lnTo>
                    <a:lnTo>
                      <a:pt x="866" y="0"/>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3" name="Google Shape;2363;p45"/>
              <p:cNvSpPr/>
              <p:nvPr/>
            </p:nvSpPr>
            <p:spPr>
              <a:xfrm>
                <a:off x="3294386" y="3047264"/>
                <a:ext cx="107395" cy="48303"/>
              </a:xfrm>
              <a:custGeom>
                <a:avLst/>
                <a:gdLst/>
                <a:ahLst/>
                <a:cxnLst/>
                <a:rect l="l" t="t" r="r" b="b"/>
                <a:pathLst>
                  <a:path w="5983" h="2691" extrusionOk="0">
                    <a:moveTo>
                      <a:pt x="1339" y="1"/>
                    </a:moveTo>
                    <a:lnTo>
                      <a:pt x="1208" y="14"/>
                    </a:lnTo>
                    <a:lnTo>
                      <a:pt x="1076" y="27"/>
                    </a:lnTo>
                    <a:lnTo>
                      <a:pt x="945" y="66"/>
                    </a:lnTo>
                    <a:lnTo>
                      <a:pt x="827" y="106"/>
                    </a:lnTo>
                    <a:lnTo>
                      <a:pt x="709" y="158"/>
                    </a:lnTo>
                    <a:lnTo>
                      <a:pt x="591" y="237"/>
                    </a:lnTo>
                    <a:lnTo>
                      <a:pt x="486" y="316"/>
                    </a:lnTo>
                    <a:lnTo>
                      <a:pt x="394" y="394"/>
                    </a:lnTo>
                    <a:lnTo>
                      <a:pt x="302" y="486"/>
                    </a:lnTo>
                    <a:lnTo>
                      <a:pt x="224" y="591"/>
                    </a:lnTo>
                    <a:lnTo>
                      <a:pt x="158" y="709"/>
                    </a:lnTo>
                    <a:lnTo>
                      <a:pt x="106" y="827"/>
                    </a:lnTo>
                    <a:lnTo>
                      <a:pt x="53" y="945"/>
                    </a:lnTo>
                    <a:lnTo>
                      <a:pt x="27" y="1077"/>
                    </a:lnTo>
                    <a:lnTo>
                      <a:pt x="1" y="1208"/>
                    </a:lnTo>
                    <a:lnTo>
                      <a:pt x="1" y="1352"/>
                    </a:lnTo>
                    <a:lnTo>
                      <a:pt x="1" y="1483"/>
                    </a:lnTo>
                    <a:lnTo>
                      <a:pt x="27" y="1614"/>
                    </a:lnTo>
                    <a:lnTo>
                      <a:pt x="53" y="1746"/>
                    </a:lnTo>
                    <a:lnTo>
                      <a:pt x="106" y="1877"/>
                    </a:lnTo>
                    <a:lnTo>
                      <a:pt x="158" y="1995"/>
                    </a:lnTo>
                    <a:lnTo>
                      <a:pt x="224" y="2100"/>
                    </a:lnTo>
                    <a:lnTo>
                      <a:pt x="302" y="2205"/>
                    </a:lnTo>
                    <a:lnTo>
                      <a:pt x="394" y="2297"/>
                    </a:lnTo>
                    <a:lnTo>
                      <a:pt x="486" y="2388"/>
                    </a:lnTo>
                    <a:lnTo>
                      <a:pt x="591" y="2467"/>
                    </a:lnTo>
                    <a:lnTo>
                      <a:pt x="709" y="2533"/>
                    </a:lnTo>
                    <a:lnTo>
                      <a:pt x="827" y="2585"/>
                    </a:lnTo>
                    <a:lnTo>
                      <a:pt x="945" y="2638"/>
                    </a:lnTo>
                    <a:lnTo>
                      <a:pt x="1076" y="2664"/>
                    </a:lnTo>
                    <a:lnTo>
                      <a:pt x="1208" y="2690"/>
                    </a:lnTo>
                    <a:lnTo>
                      <a:pt x="4776" y="2690"/>
                    </a:lnTo>
                    <a:lnTo>
                      <a:pt x="4907" y="2664"/>
                    </a:lnTo>
                    <a:lnTo>
                      <a:pt x="5038" y="2638"/>
                    </a:lnTo>
                    <a:lnTo>
                      <a:pt x="5156" y="2585"/>
                    </a:lnTo>
                    <a:lnTo>
                      <a:pt x="5275" y="2533"/>
                    </a:lnTo>
                    <a:lnTo>
                      <a:pt x="5393" y="2467"/>
                    </a:lnTo>
                    <a:lnTo>
                      <a:pt x="5498" y="2388"/>
                    </a:lnTo>
                    <a:lnTo>
                      <a:pt x="5589" y="2297"/>
                    </a:lnTo>
                    <a:lnTo>
                      <a:pt x="5681" y="2205"/>
                    </a:lnTo>
                    <a:lnTo>
                      <a:pt x="5747" y="2100"/>
                    </a:lnTo>
                    <a:lnTo>
                      <a:pt x="5826" y="1995"/>
                    </a:lnTo>
                    <a:lnTo>
                      <a:pt x="5878" y="1877"/>
                    </a:lnTo>
                    <a:lnTo>
                      <a:pt x="5917" y="1746"/>
                    </a:lnTo>
                    <a:lnTo>
                      <a:pt x="5957" y="1614"/>
                    </a:lnTo>
                    <a:lnTo>
                      <a:pt x="5970" y="1483"/>
                    </a:lnTo>
                    <a:lnTo>
                      <a:pt x="5983" y="1352"/>
                    </a:lnTo>
                    <a:lnTo>
                      <a:pt x="5970" y="1208"/>
                    </a:lnTo>
                    <a:lnTo>
                      <a:pt x="5957" y="1077"/>
                    </a:lnTo>
                    <a:lnTo>
                      <a:pt x="5917" y="945"/>
                    </a:lnTo>
                    <a:lnTo>
                      <a:pt x="5878" y="827"/>
                    </a:lnTo>
                    <a:lnTo>
                      <a:pt x="5826" y="709"/>
                    </a:lnTo>
                    <a:lnTo>
                      <a:pt x="5747" y="591"/>
                    </a:lnTo>
                    <a:lnTo>
                      <a:pt x="5681" y="486"/>
                    </a:lnTo>
                    <a:lnTo>
                      <a:pt x="5589" y="394"/>
                    </a:lnTo>
                    <a:lnTo>
                      <a:pt x="5498" y="316"/>
                    </a:lnTo>
                    <a:lnTo>
                      <a:pt x="5393" y="237"/>
                    </a:lnTo>
                    <a:lnTo>
                      <a:pt x="5275" y="158"/>
                    </a:lnTo>
                    <a:lnTo>
                      <a:pt x="5156" y="106"/>
                    </a:lnTo>
                    <a:lnTo>
                      <a:pt x="5038" y="66"/>
                    </a:lnTo>
                    <a:lnTo>
                      <a:pt x="4907" y="27"/>
                    </a:lnTo>
                    <a:lnTo>
                      <a:pt x="4776" y="14"/>
                    </a:lnTo>
                    <a:lnTo>
                      <a:pt x="463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4" name="Google Shape;2364;p45"/>
              <p:cNvSpPr/>
              <p:nvPr/>
            </p:nvSpPr>
            <p:spPr>
              <a:xfrm>
                <a:off x="3360083" y="3053385"/>
                <a:ext cx="36062" cy="36062"/>
              </a:xfrm>
              <a:custGeom>
                <a:avLst/>
                <a:gdLst/>
                <a:ahLst/>
                <a:cxnLst/>
                <a:rect l="l" t="t" r="r" b="b"/>
                <a:pathLst>
                  <a:path w="2009" h="2009" extrusionOk="0">
                    <a:moveTo>
                      <a:pt x="906" y="1"/>
                    </a:moveTo>
                    <a:lnTo>
                      <a:pt x="801" y="14"/>
                    </a:lnTo>
                    <a:lnTo>
                      <a:pt x="709" y="40"/>
                    </a:lnTo>
                    <a:lnTo>
                      <a:pt x="617" y="80"/>
                    </a:lnTo>
                    <a:lnTo>
                      <a:pt x="526" y="119"/>
                    </a:lnTo>
                    <a:lnTo>
                      <a:pt x="447" y="171"/>
                    </a:lnTo>
                    <a:lnTo>
                      <a:pt x="368" y="224"/>
                    </a:lnTo>
                    <a:lnTo>
                      <a:pt x="290" y="290"/>
                    </a:lnTo>
                    <a:lnTo>
                      <a:pt x="224" y="368"/>
                    </a:lnTo>
                    <a:lnTo>
                      <a:pt x="171" y="447"/>
                    </a:lnTo>
                    <a:lnTo>
                      <a:pt x="119" y="526"/>
                    </a:lnTo>
                    <a:lnTo>
                      <a:pt x="80" y="617"/>
                    </a:lnTo>
                    <a:lnTo>
                      <a:pt x="40" y="709"/>
                    </a:lnTo>
                    <a:lnTo>
                      <a:pt x="14" y="801"/>
                    </a:lnTo>
                    <a:lnTo>
                      <a:pt x="1" y="906"/>
                    </a:lnTo>
                    <a:lnTo>
                      <a:pt x="1" y="1011"/>
                    </a:lnTo>
                    <a:lnTo>
                      <a:pt x="1" y="1103"/>
                    </a:lnTo>
                    <a:lnTo>
                      <a:pt x="14" y="1208"/>
                    </a:lnTo>
                    <a:lnTo>
                      <a:pt x="40" y="1300"/>
                    </a:lnTo>
                    <a:lnTo>
                      <a:pt x="80" y="1392"/>
                    </a:lnTo>
                    <a:lnTo>
                      <a:pt x="119" y="1483"/>
                    </a:lnTo>
                    <a:lnTo>
                      <a:pt x="171" y="1575"/>
                    </a:lnTo>
                    <a:lnTo>
                      <a:pt x="224" y="1641"/>
                    </a:lnTo>
                    <a:lnTo>
                      <a:pt x="290" y="1719"/>
                    </a:lnTo>
                    <a:lnTo>
                      <a:pt x="368" y="1785"/>
                    </a:lnTo>
                    <a:lnTo>
                      <a:pt x="447" y="1838"/>
                    </a:lnTo>
                    <a:lnTo>
                      <a:pt x="526" y="1890"/>
                    </a:lnTo>
                    <a:lnTo>
                      <a:pt x="617" y="1929"/>
                    </a:lnTo>
                    <a:lnTo>
                      <a:pt x="709" y="1969"/>
                    </a:lnTo>
                    <a:lnTo>
                      <a:pt x="801" y="1995"/>
                    </a:lnTo>
                    <a:lnTo>
                      <a:pt x="906" y="2008"/>
                    </a:lnTo>
                    <a:lnTo>
                      <a:pt x="1103" y="2008"/>
                    </a:lnTo>
                    <a:lnTo>
                      <a:pt x="1208" y="1995"/>
                    </a:lnTo>
                    <a:lnTo>
                      <a:pt x="1300" y="1969"/>
                    </a:lnTo>
                    <a:lnTo>
                      <a:pt x="1392" y="1929"/>
                    </a:lnTo>
                    <a:lnTo>
                      <a:pt x="1483" y="1890"/>
                    </a:lnTo>
                    <a:lnTo>
                      <a:pt x="1562" y="1838"/>
                    </a:lnTo>
                    <a:lnTo>
                      <a:pt x="1641" y="1785"/>
                    </a:lnTo>
                    <a:lnTo>
                      <a:pt x="1719" y="1719"/>
                    </a:lnTo>
                    <a:lnTo>
                      <a:pt x="1785" y="1641"/>
                    </a:lnTo>
                    <a:lnTo>
                      <a:pt x="1838" y="1575"/>
                    </a:lnTo>
                    <a:lnTo>
                      <a:pt x="1890" y="1483"/>
                    </a:lnTo>
                    <a:lnTo>
                      <a:pt x="1929" y="1392"/>
                    </a:lnTo>
                    <a:lnTo>
                      <a:pt x="1969" y="1300"/>
                    </a:lnTo>
                    <a:lnTo>
                      <a:pt x="1995" y="1208"/>
                    </a:lnTo>
                    <a:lnTo>
                      <a:pt x="2008" y="1103"/>
                    </a:lnTo>
                    <a:lnTo>
                      <a:pt x="2008" y="1011"/>
                    </a:lnTo>
                    <a:lnTo>
                      <a:pt x="2008" y="906"/>
                    </a:lnTo>
                    <a:lnTo>
                      <a:pt x="1995" y="801"/>
                    </a:lnTo>
                    <a:lnTo>
                      <a:pt x="1969" y="709"/>
                    </a:lnTo>
                    <a:lnTo>
                      <a:pt x="1929" y="617"/>
                    </a:lnTo>
                    <a:lnTo>
                      <a:pt x="1890" y="526"/>
                    </a:lnTo>
                    <a:lnTo>
                      <a:pt x="1838" y="447"/>
                    </a:lnTo>
                    <a:lnTo>
                      <a:pt x="1785" y="368"/>
                    </a:lnTo>
                    <a:lnTo>
                      <a:pt x="1719" y="290"/>
                    </a:lnTo>
                    <a:lnTo>
                      <a:pt x="1641" y="224"/>
                    </a:lnTo>
                    <a:lnTo>
                      <a:pt x="1562" y="171"/>
                    </a:lnTo>
                    <a:lnTo>
                      <a:pt x="1483" y="119"/>
                    </a:lnTo>
                    <a:lnTo>
                      <a:pt x="1392" y="80"/>
                    </a:lnTo>
                    <a:lnTo>
                      <a:pt x="1300" y="40"/>
                    </a:lnTo>
                    <a:lnTo>
                      <a:pt x="1208" y="14"/>
                    </a:lnTo>
                    <a:lnTo>
                      <a:pt x="110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5" name="Google Shape;2365;p45"/>
              <p:cNvSpPr/>
              <p:nvPr/>
            </p:nvSpPr>
            <p:spPr>
              <a:xfrm>
                <a:off x="3364085" y="3057388"/>
                <a:ext cx="28056" cy="28056"/>
              </a:xfrm>
              <a:custGeom>
                <a:avLst/>
                <a:gdLst/>
                <a:ahLst/>
                <a:cxnLst/>
                <a:rect l="l" t="t" r="r" b="b"/>
                <a:pathLst>
                  <a:path w="1563" h="1563" extrusionOk="0">
                    <a:moveTo>
                      <a:pt x="775" y="1"/>
                    </a:moveTo>
                    <a:lnTo>
                      <a:pt x="696" y="14"/>
                    </a:lnTo>
                    <a:lnTo>
                      <a:pt x="618" y="14"/>
                    </a:lnTo>
                    <a:lnTo>
                      <a:pt x="473" y="67"/>
                    </a:lnTo>
                    <a:lnTo>
                      <a:pt x="342" y="132"/>
                    </a:lnTo>
                    <a:lnTo>
                      <a:pt x="224" y="237"/>
                    </a:lnTo>
                    <a:lnTo>
                      <a:pt x="132" y="342"/>
                    </a:lnTo>
                    <a:lnTo>
                      <a:pt x="67" y="486"/>
                    </a:lnTo>
                    <a:lnTo>
                      <a:pt x="14" y="631"/>
                    </a:lnTo>
                    <a:lnTo>
                      <a:pt x="1" y="709"/>
                    </a:lnTo>
                    <a:lnTo>
                      <a:pt x="1" y="788"/>
                    </a:lnTo>
                    <a:lnTo>
                      <a:pt x="1" y="867"/>
                    </a:lnTo>
                    <a:lnTo>
                      <a:pt x="14" y="945"/>
                    </a:lnTo>
                    <a:lnTo>
                      <a:pt x="67" y="1090"/>
                    </a:lnTo>
                    <a:lnTo>
                      <a:pt x="132" y="1221"/>
                    </a:lnTo>
                    <a:lnTo>
                      <a:pt x="224" y="1339"/>
                    </a:lnTo>
                    <a:lnTo>
                      <a:pt x="342" y="1431"/>
                    </a:lnTo>
                    <a:lnTo>
                      <a:pt x="473" y="1496"/>
                    </a:lnTo>
                    <a:lnTo>
                      <a:pt x="618" y="1549"/>
                    </a:lnTo>
                    <a:lnTo>
                      <a:pt x="696" y="1562"/>
                    </a:lnTo>
                    <a:lnTo>
                      <a:pt x="854" y="1562"/>
                    </a:lnTo>
                    <a:lnTo>
                      <a:pt x="932" y="1549"/>
                    </a:lnTo>
                    <a:lnTo>
                      <a:pt x="1090" y="1496"/>
                    </a:lnTo>
                    <a:lnTo>
                      <a:pt x="1221" y="1431"/>
                    </a:lnTo>
                    <a:lnTo>
                      <a:pt x="1326" y="1339"/>
                    </a:lnTo>
                    <a:lnTo>
                      <a:pt x="1431" y="1221"/>
                    </a:lnTo>
                    <a:lnTo>
                      <a:pt x="1496" y="1090"/>
                    </a:lnTo>
                    <a:lnTo>
                      <a:pt x="1549" y="945"/>
                    </a:lnTo>
                    <a:lnTo>
                      <a:pt x="1562" y="867"/>
                    </a:lnTo>
                    <a:lnTo>
                      <a:pt x="1562" y="788"/>
                    </a:lnTo>
                    <a:lnTo>
                      <a:pt x="1562" y="709"/>
                    </a:lnTo>
                    <a:lnTo>
                      <a:pt x="1549" y="631"/>
                    </a:lnTo>
                    <a:lnTo>
                      <a:pt x="1496" y="486"/>
                    </a:lnTo>
                    <a:lnTo>
                      <a:pt x="1431" y="342"/>
                    </a:lnTo>
                    <a:lnTo>
                      <a:pt x="1326" y="237"/>
                    </a:lnTo>
                    <a:lnTo>
                      <a:pt x="1221" y="132"/>
                    </a:lnTo>
                    <a:lnTo>
                      <a:pt x="1090" y="67"/>
                    </a:lnTo>
                    <a:lnTo>
                      <a:pt x="932" y="14"/>
                    </a:lnTo>
                    <a:lnTo>
                      <a:pt x="854" y="14"/>
                    </a:lnTo>
                    <a:lnTo>
                      <a:pt x="775" y="1"/>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6" name="Google Shape;2366;p45"/>
              <p:cNvSpPr/>
              <p:nvPr/>
            </p:nvSpPr>
            <p:spPr>
              <a:xfrm>
                <a:off x="3294386" y="3112728"/>
                <a:ext cx="107395" cy="48303"/>
              </a:xfrm>
              <a:custGeom>
                <a:avLst/>
                <a:gdLst/>
                <a:ahLst/>
                <a:cxnLst/>
                <a:rect l="l" t="t" r="r" b="b"/>
                <a:pathLst>
                  <a:path w="5983" h="2691" extrusionOk="0">
                    <a:moveTo>
                      <a:pt x="1208" y="1"/>
                    </a:moveTo>
                    <a:lnTo>
                      <a:pt x="1076" y="27"/>
                    </a:lnTo>
                    <a:lnTo>
                      <a:pt x="945" y="53"/>
                    </a:lnTo>
                    <a:lnTo>
                      <a:pt x="827" y="106"/>
                    </a:lnTo>
                    <a:lnTo>
                      <a:pt x="709" y="158"/>
                    </a:lnTo>
                    <a:lnTo>
                      <a:pt x="591" y="224"/>
                    </a:lnTo>
                    <a:lnTo>
                      <a:pt x="486" y="303"/>
                    </a:lnTo>
                    <a:lnTo>
                      <a:pt x="394" y="394"/>
                    </a:lnTo>
                    <a:lnTo>
                      <a:pt x="302" y="486"/>
                    </a:lnTo>
                    <a:lnTo>
                      <a:pt x="224" y="591"/>
                    </a:lnTo>
                    <a:lnTo>
                      <a:pt x="158" y="696"/>
                    </a:lnTo>
                    <a:lnTo>
                      <a:pt x="106" y="814"/>
                    </a:lnTo>
                    <a:lnTo>
                      <a:pt x="53" y="945"/>
                    </a:lnTo>
                    <a:lnTo>
                      <a:pt x="27" y="1064"/>
                    </a:lnTo>
                    <a:lnTo>
                      <a:pt x="1" y="1208"/>
                    </a:lnTo>
                    <a:lnTo>
                      <a:pt x="1" y="1339"/>
                    </a:lnTo>
                    <a:lnTo>
                      <a:pt x="1" y="1483"/>
                    </a:lnTo>
                    <a:lnTo>
                      <a:pt x="27" y="1615"/>
                    </a:lnTo>
                    <a:lnTo>
                      <a:pt x="53" y="1746"/>
                    </a:lnTo>
                    <a:lnTo>
                      <a:pt x="106" y="1864"/>
                    </a:lnTo>
                    <a:lnTo>
                      <a:pt x="158" y="1982"/>
                    </a:lnTo>
                    <a:lnTo>
                      <a:pt x="224" y="2087"/>
                    </a:lnTo>
                    <a:lnTo>
                      <a:pt x="302" y="2192"/>
                    </a:lnTo>
                    <a:lnTo>
                      <a:pt x="394" y="2297"/>
                    </a:lnTo>
                    <a:lnTo>
                      <a:pt x="486" y="2375"/>
                    </a:lnTo>
                    <a:lnTo>
                      <a:pt x="591" y="2454"/>
                    </a:lnTo>
                    <a:lnTo>
                      <a:pt x="709" y="2520"/>
                    </a:lnTo>
                    <a:lnTo>
                      <a:pt x="827" y="2585"/>
                    </a:lnTo>
                    <a:lnTo>
                      <a:pt x="945" y="2625"/>
                    </a:lnTo>
                    <a:lnTo>
                      <a:pt x="1076" y="2664"/>
                    </a:lnTo>
                    <a:lnTo>
                      <a:pt x="1208" y="2677"/>
                    </a:lnTo>
                    <a:lnTo>
                      <a:pt x="1339" y="2690"/>
                    </a:lnTo>
                    <a:lnTo>
                      <a:pt x="4632" y="2690"/>
                    </a:lnTo>
                    <a:lnTo>
                      <a:pt x="4776" y="2677"/>
                    </a:lnTo>
                    <a:lnTo>
                      <a:pt x="4907" y="2664"/>
                    </a:lnTo>
                    <a:lnTo>
                      <a:pt x="5038" y="2625"/>
                    </a:lnTo>
                    <a:lnTo>
                      <a:pt x="5156" y="2585"/>
                    </a:lnTo>
                    <a:lnTo>
                      <a:pt x="5275" y="2520"/>
                    </a:lnTo>
                    <a:lnTo>
                      <a:pt x="5393" y="2454"/>
                    </a:lnTo>
                    <a:lnTo>
                      <a:pt x="5498" y="2375"/>
                    </a:lnTo>
                    <a:lnTo>
                      <a:pt x="5589" y="2297"/>
                    </a:lnTo>
                    <a:lnTo>
                      <a:pt x="5681" y="2192"/>
                    </a:lnTo>
                    <a:lnTo>
                      <a:pt x="5747" y="2087"/>
                    </a:lnTo>
                    <a:lnTo>
                      <a:pt x="5826" y="1982"/>
                    </a:lnTo>
                    <a:lnTo>
                      <a:pt x="5878" y="1864"/>
                    </a:lnTo>
                    <a:lnTo>
                      <a:pt x="5917" y="1746"/>
                    </a:lnTo>
                    <a:lnTo>
                      <a:pt x="5957" y="1615"/>
                    </a:lnTo>
                    <a:lnTo>
                      <a:pt x="5970" y="1483"/>
                    </a:lnTo>
                    <a:lnTo>
                      <a:pt x="5983" y="1339"/>
                    </a:lnTo>
                    <a:lnTo>
                      <a:pt x="5970" y="1208"/>
                    </a:lnTo>
                    <a:lnTo>
                      <a:pt x="5957" y="1064"/>
                    </a:lnTo>
                    <a:lnTo>
                      <a:pt x="5917" y="945"/>
                    </a:lnTo>
                    <a:lnTo>
                      <a:pt x="5878" y="814"/>
                    </a:lnTo>
                    <a:lnTo>
                      <a:pt x="5826" y="696"/>
                    </a:lnTo>
                    <a:lnTo>
                      <a:pt x="5747" y="591"/>
                    </a:lnTo>
                    <a:lnTo>
                      <a:pt x="5681" y="486"/>
                    </a:lnTo>
                    <a:lnTo>
                      <a:pt x="5589" y="394"/>
                    </a:lnTo>
                    <a:lnTo>
                      <a:pt x="5498" y="303"/>
                    </a:lnTo>
                    <a:lnTo>
                      <a:pt x="5393" y="224"/>
                    </a:lnTo>
                    <a:lnTo>
                      <a:pt x="5275" y="158"/>
                    </a:lnTo>
                    <a:lnTo>
                      <a:pt x="5156" y="106"/>
                    </a:lnTo>
                    <a:lnTo>
                      <a:pt x="5038" y="53"/>
                    </a:lnTo>
                    <a:lnTo>
                      <a:pt x="4907" y="27"/>
                    </a:lnTo>
                    <a:lnTo>
                      <a:pt x="477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7" name="Google Shape;2367;p45"/>
              <p:cNvSpPr/>
              <p:nvPr/>
            </p:nvSpPr>
            <p:spPr>
              <a:xfrm>
                <a:off x="3300040" y="3118616"/>
                <a:ext cx="36044" cy="36295"/>
              </a:xfrm>
              <a:custGeom>
                <a:avLst/>
                <a:gdLst/>
                <a:ahLst/>
                <a:cxnLst/>
                <a:rect l="l" t="t" r="r" b="b"/>
                <a:pathLst>
                  <a:path w="2008" h="2022" extrusionOk="0">
                    <a:moveTo>
                      <a:pt x="998" y="1"/>
                    </a:moveTo>
                    <a:lnTo>
                      <a:pt x="906" y="14"/>
                    </a:lnTo>
                    <a:lnTo>
                      <a:pt x="801" y="27"/>
                    </a:lnTo>
                    <a:lnTo>
                      <a:pt x="709" y="53"/>
                    </a:lnTo>
                    <a:lnTo>
                      <a:pt x="617" y="80"/>
                    </a:lnTo>
                    <a:lnTo>
                      <a:pt x="525" y="132"/>
                    </a:lnTo>
                    <a:lnTo>
                      <a:pt x="447" y="185"/>
                    </a:lnTo>
                    <a:lnTo>
                      <a:pt x="368" y="237"/>
                    </a:lnTo>
                    <a:lnTo>
                      <a:pt x="289" y="303"/>
                    </a:lnTo>
                    <a:lnTo>
                      <a:pt x="224" y="368"/>
                    </a:lnTo>
                    <a:lnTo>
                      <a:pt x="171" y="447"/>
                    </a:lnTo>
                    <a:lnTo>
                      <a:pt x="119" y="539"/>
                    </a:lnTo>
                    <a:lnTo>
                      <a:pt x="79" y="617"/>
                    </a:lnTo>
                    <a:lnTo>
                      <a:pt x="40" y="709"/>
                    </a:lnTo>
                    <a:lnTo>
                      <a:pt x="14" y="814"/>
                    </a:lnTo>
                    <a:lnTo>
                      <a:pt x="1" y="906"/>
                    </a:lnTo>
                    <a:lnTo>
                      <a:pt x="1" y="1011"/>
                    </a:lnTo>
                    <a:lnTo>
                      <a:pt x="1" y="1116"/>
                    </a:lnTo>
                    <a:lnTo>
                      <a:pt x="14" y="1221"/>
                    </a:lnTo>
                    <a:lnTo>
                      <a:pt x="40" y="1313"/>
                    </a:lnTo>
                    <a:lnTo>
                      <a:pt x="79" y="1405"/>
                    </a:lnTo>
                    <a:lnTo>
                      <a:pt x="119" y="1496"/>
                    </a:lnTo>
                    <a:lnTo>
                      <a:pt x="171" y="1575"/>
                    </a:lnTo>
                    <a:lnTo>
                      <a:pt x="224" y="1654"/>
                    </a:lnTo>
                    <a:lnTo>
                      <a:pt x="289" y="1719"/>
                    </a:lnTo>
                    <a:lnTo>
                      <a:pt x="368" y="1785"/>
                    </a:lnTo>
                    <a:lnTo>
                      <a:pt x="447" y="1851"/>
                    </a:lnTo>
                    <a:lnTo>
                      <a:pt x="525" y="1903"/>
                    </a:lnTo>
                    <a:lnTo>
                      <a:pt x="617" y="1942"/>
                    </a:lnTo>
                    <a:lnTo>
                      <a:pt x="709" y="1969"/>
                    </a:lnTo>
                    <a:lnTo>
                      <a:pt x="801" y="1995"/>
                    </a:lnTo>
                    <a:lnTo>
                      <a:pt x="906" y="2008"/>
                    </a:lnTo>
                    <a:lnTo>
                      <a:pt x="998" y="2021"/>
                    </a:lnTo>
                    <a:lnTo>
                      <a:pt x="1103" y="2008"/>
                    </a:lnTo>
                    <a:lnTo>
                      <a:pt x="1208" y="1995"/>
                    </a:lnTo>
                    <a:lnTo>
                      <a:pt x="1299" y="1969"/>
                    </a:lnTo>
                    <a:lnTo>
                      <a:pt x="1391" y="1942"/>
                    </a:lnTo>
                    <a:lnTo>
                      <a:pt x="1483" y="1903"/>
                    </a:lnTo>
                    <a:lnTo>
                      <a:pt x="1562" y="1851"/>
                    </a:lnTo>
                    <a:lnTo>
                      <a:pt x="1640" y="1785"/>
                    </a:lnTo>
                    <a:lnTo>
                      <a:pt x="1719" y="1719"/>
                    </a:lnTo>
                    <a:lnTo>
                      <a:pt x="1785" y="1654"/>
                    </a:lnTo>
                    <a:lnTo>
                      <a:pt x="1837" y="1575"/>
                    </a:lnTo>
                    <a:lnTo>
                      <a:pt x="1890" y="1496"/>
                    </a:lnTo>
                    <a:lnTo>
                      <a:pt x="1929" y="1405"/>
                    </a:lnTo>
                    <a:lnTo>
                      <a:pt x="1968" y="1313"/>
                    </a:lnTo>
                    <a:lnTo>
                      <a:pt x="1995" y="1221"/>
                    </a:lnTo>
                    <a:lnTo>
                      <a:pt x="2008" y="1116"/>
                    </a:lnTo>
                    <a:lnTo>
                      <a:pt x="2008" y="1011"/>
                    </a:lnTo>
                    <a:lnTo>
                      <a:pt x="2008" y="906"/>
                    </a:lnTo>
                    <a:lnTo>
                      <a:pt x="1995" y="814"/>
                    </a:lnTo>
                    <a:lnTo>
                      <a:pt x="1968" y="709"/>
                    </a:lnTo>
                    <a:lnTo>
                      <a:pt x="1929" y="617"/>
                    </a:lnTo>
                    <a:lnTo>
                      <a:pt x="1890" y="539"/>
                    </a:lnTo>
                    <a:lnTo>
                      <a:pt x="1837" y="447"/>
                    </a:lnTo>
                    <a:lnTo>
                      <a:pt x="1785" y="368"/>
                    </a:lnTo>
                    <a:lnTo>
                      <a:pt x="1719" y="303"/>
                    </a:lnTo>
                    <a:lnTo>
                      <a:pt x="1640" y="237"/>
                    </a:lnTo>
                    <a:lnTo>
                      <a:pt x="1562" y="185"/>
                    </a:lnTo>
                    <a:lnTo>
                      <a:pt x="1483" y="132"/>
                    </a:lnTo>
                    <a:lnTo>
                      <a:pt x="1391" y="80"/>
                    </a:lnTo>
                    <a:lnTo>
                      <a:pt x="1299" y="53"/>
                    </a:lnTo>
                    <a:lnTo>
                      <a:pt x="1208" y="27"/>
                    </a:lnTo>
                    <a:lnTo>
                      <a:pt x="1103" y="14"/>
                    </a:lnTo>
                    <a:lnTo>
                      <a:pt x="998"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8" name="Google Shape;2368;p45"/>
              <p:cNvSpPr/>
              <p:nvPr/>
            </p:nvSpPr>
            <p:spPr>
              <a:xfrm>
                <a:off x="3304043" y="3122870"/>
                <a:ext cx="28038" cy="28038"/>
              </a:xfrm>
              <a:custGeom>
                <a:avLst/>
                <a:gdLst/>
                <a:ahLst/>
                <a:cxnLst/>
                <a:rect l="l" t="t" r="r" b="b"/>
                <a:pathLst>
                  <a:path w="1562" h="1562" extrusionOk="0">
                    <a:moveTo>
                      <a:pt x="696" y="0"/>
                    </a:moveTo>
                    <a:lnTo>
                      <a:pt x="617" y="13"/>
                    </a:lnTo>
                    <a:lnTo>
                      <a:pt x="473" y="52"/>
                    </a:lnTo>
                    <a:lnTo>
                      <a:pt x="342" y="131"/>
                    </a:lnTo>
                    <a:lnTo>
                      <a:pt x="224" y="223"/>
                    </a:lnTo>
                    <a:lnTo>
                      <a:pt x="132" y="341"/>
                    </a:lnTo>
                    <a:lnTo>
                      <a:pt x="66" y="472"/>
                    </a:lnTo>
                    <a:lnTo>
                      <a:pt x="14" y="617"/>
                    </a:lnTo>
                    <a:lnTo>
                      <a:pt x="1" y="695"/>
                    </a:lnTo>
                    <a:lnTo>
                      <a:pt x="1" y="774"/>
                    </a:lnTo>
                    <a:lnTo>
                      <a:pt x="1" y="853"/>
                    </a:lnTo>
                    <a:lnTo>
                      <a:pt x="14" y="931"/>
                    </a:lnTo>
                    <a:lnTo>
                      <a:pt x="66" y="1076"/>
                    </a:lnTo>
                    <a:lnTo>
                      <a:pt x="132" y="1207"/>
                    </a:lnTo>
                    <a:lnTo>
                      <a:pt x="224" y="1325"/>
                    </a:lnTo>
                    <a:lnTo>
                      <a:pt x="342" y="1417"/>
                    </a:lnTo>
                    <a:lnTo>
                      <a:pt x="473" y="1496"/>
                    </a:lnTo>
                    <a:lnTo>
                      <a:pt x="617" y="1535"/>
                    </a:lnTo>
                    <a:lnTo>
                      <a:pt x="696" y="1548"/>
                    </a:lnTo>
                    <a:lnTo>
                      <a:pt x="775" y="1561"/>
                    </a:lnTo>
                    <a:lnTo>
                      <a:pt x="866" y="1548"/>
                    </a:lnTo>
                    <a:lnTo>
                      <a:pt x="932" y="1535"/>
                    </a:lnTo>
                    <a:lnTo>
                      <a:pt x="1089" y="1496"/>
                    </a:lnTo>
                    <a:lnTo>
                      <a:pt x="1221" y="1417"/>
                    </a:lnTo>
                    <a:lnTo>
                      <a:pt x="1326" y="1325"/>
                    </a:lnTo>
                    <a:lnTo>
                      <a:pt x="1431" y="1207"/>
                    </a:lnTo>
                    <a:lnTo>
                      <a:pt x="1496" y="1076"/>
                    </a:lnTo>
                    <a:lnTo>
                      <a:pt x="1549" y="931"/>
                    </a:lnTo>
                    <a:lnTo>
                      <a:pt x="1562" y="853"/>
                    </a:lnTo>
                    <a:lnTo>
                      <a:pt x="1562" y="774"/>
                    </a:lnTo>
                    <a:lnTo>
                      <a:pt x="1562" y="695"/>
                    </a:lnTo>
                    <a:lnTo>
                      <a:pt x="1549" y="617"/>
                    </a:lnTo>
                    <a:lnTo>
                      <a:pt x="1496" y="472"/>
                    </a:lnTo>
                    <a:lnTo>
                      <a:pt x="1431" y="341"/>
                    </a:lnTo>
                    <a:lnTo>
                      <a:pt x="1326" y="223"/>
                    </a:lnTo>
                    <a:lnTo>
                      <a:pt x="1221" y="131"/>
                    </a:lnTo>
                    <a:lnTo>
                      <a:pt x="1089" y="52"/>
                    </a:lnTo>
                    <a:lnTo>
                      <a:pt x="932" y="13"/>
                    </a:lnTo>
                    <a:lnTo>
                      <a:pt x="866" y="0"/>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9" name="Google Shape;2369;p45"/>
              <p:cNvSpPr/>
              <p:nvPr/>
            </p:nvSpPr>
            <p:spPr>
              <a:xfrm>
                <a:off x="3294386" y="3177725"/>
                <a:ext cx="107395" cy="48303"/>
              </a:xfrm>
              <a:custGeom>
                <a:avLst/>
                <a:gdLst/>
                <a:ahLst/>
                <a:cxnLst/>
                <a:rect l="l" t="t" r="r" b="b"/>
                <a:pathLst>
                  <a:path w="5983" h="2691" extrusionOk="0">
                    <a:moveTo>
                      <a:pt x="1208" y="1"/>
                    </a:moveTo>
                    <a:lnTo>
                      <a:pt x="1076" y="27"/>
                    </a:lnTo>
                    <a:lnTo>
                      <a:pt x="945" y="66"/>
                    </a:lnTo>
                    <a:lnTo>
                      <a:pt x="827" y="106"/>
                    </a:lnTo>
                    <a:lnTo>
                      <a:pt x="709" y="158"/>
                    </a:lnTo>
                    <a:lnTo>
                      <a:pt x="591" y="224"/>
                    </a:lnTo>
                    <a:lnTo>
                      <a:pt x="486" y="302"/>
                    </a:lnTo>
                    <a:lnTo>
                      <a:pt x="394" y="394"/>
                    </a:lnTo>
                    <a:lnTo>
                      <a:pt x="302" y="486"/>
                    </a:lnTo>
                    <a:lnTo>
                      <a:pt x="224" y="591"/>
                    </a:lnTo>
                    <a:lnTo>
                      <a:pt x="158" y="709"/>
                    </a:lnTo>
                    <a:lnTo>
                      <a:pt x="106" y="827"/>
                    </a:lnTo>
                    <a:lnTo>
                      <a:pt x="53" y="945"/>
                    </a:lnTo>
                    <a:lnTo>
                      <a:pt x="27" y="1076"/>
                    </a:lnTo>
                    <a:lnTo>
                      <a:pt x="1" y="1208"/>
                    </a:lnTo>
                    <a:lnTo>
                      <a:pt x="1" y="1339"/>
                    </a:lnTo>
                    <a:lnTo>
                      <a:pt x="1" y="1483"/>
                    </a:lnTo>
                    <a:lnTo>
                      <a:pt x="27" y="1614"/>
                    </a:lnTo>
                    <a:lnTo>
                      <a:pt x="53" y="1746"/>
                    </a:lnTo>
                    <a:lnTo>
                      <a:pt x="106" y="1864"/>
                    </a:lnTo>
                    <a:lnTo>
                      <a:pt x="158" y="1982"/>
                    </a:lnTo>
                    <a:lnTo>
                      <a:pt x="224" y="2100"/>
                    </a:lnTo>
                    <a:lnTo>
                      <a:pt x="302" y="2205"/>
                    </a:lnTo>
                    <a:lnTo>
                      <a:pt x="394" y="2297"/>
                    </a:lnTo>
                    <a:lnTo>
                      <a:pt x="486" y="2388"/>
                    </a:lnTo>
                    <a:lnTo>
                      <a:pt x="591" y="2454"/>
                    </a:lnTo>
                    <a:lnTo>
                      <a:pt x="709" y="2533"/>
                    </a:lnTo>
                    <a:lnTo>
                      <a:pt x="827" y="2585"/>
                    </a:lnTo>
                    <a:lnTo>
                      <a:pt x="945" y="2625"/>
                    </a:lnTo>
                    <a:lnTo>
                      <a:pt x="1076" y="2664"/>
                    </a:lnTo>
                    <a:lnTo>
                      <a:pt x="1208" y="2677"/>
                    </a:lnTo>
                    <a:lnTo>
                      <a:pt x="1339" y="2690"/>
                    </a:lnTo>
                    <a:lnTo>
                      <a:pt x="4632" y="2690"/>
                    </a:lnTo>
                    <a:lnTo>
                      <a:pt x="4776" y="2677"/>
                    </a:lnTo>
                    <a:lnTo>
                      <a:pt x="4907" y="2664"/>
                    </a:lnTo>
                    <a:lnTo>
                      <a:pt x="5038" y="2625"/>
                    </a:lnTo>
                    <a:lnTo>
                      <a:pt x="5156" y="2585"/>
                    </a:lnTo>
                    <a:lnTo>
                      <a:pt x="5275" y="2533"/>
                    </a:lnTo>
                    <a:lnTo>
                      <a:pt x="5393" y="2454"/>
                    </a:lnTo>
                    <a:lnTo>
                      <a:pt x="5498" y="2388"/>
                    </a:lnTo>
                    <a:lnTo>
                      <a:pt x="5589" y="2297"/>
                    </a:lnTo>
                    <a:lnTo>
                      <a:pt x="5681" y="2205"/>
                    </a:lnTo>
                    <a:lnTo>
                      <a:pt x="5747" y="2100"/>
                    </a:lnTo>
                    <a:lnTo>
                      <a:pt x="5826" y="1982"/>
                    </a:lnTo>
                    <a:lnTo>
                      <a:pt x="5878" y="1864"/>
                    </a:lnTo>
                    <a:lnTo>
                      <a:pt x="5917" y="1746"/>
                    </a:lnTo>
                    <a:lnTo>
                      <a:pt x="5957" y="1614"/>
                    </a:lnTo>
                    <a:lnTo>
                      <a:pt x="5970" y="1483"/>
                    </a:lnTo>
                    <a:lnTo>
                      <a:pt x="5983" y="1339"/>
                    </a:lnTo>
                    <a:lnTo>
                      <a:pt x="5970" y="1208"/>
                    </a:lnTo>
                    <a:lnTo>
                      <a:pt x="5957" y="1076"/>
                    </a:lnTo>
                    <a:lnTo>
                      <a:pt x="5917" y="945"/>
                    </a:lnTo>
                    <a:lnTo>
                      <a:pt x="5878" y="827"/>
                    </a:lnTo>
                    <a:lnTo>
                      <a:pt x="5826" y="709"/>
                    </a:lnTo>
                    <a:lnTo>
                      <a:pt x="5747" y="591"/>
                    </a:lnTo>
                    <a:lnTo>
                      <a:pt x="5681" y="486"/>
                    </a:lnTo>
                    <a:lnTo>
                      <a:pt x="5589" y="394"/>
                    </a:lnTo>
                    <a:lnTo>
                      <a:pt x="5498" y="302"/>
                    </a:lnTo>
                    <a:lnTo>
                      <a:pt x="5393" y="224"/>
                    </a:lnTo>
                    <a:lnTo>
                      <a:pt x="5275" y="158"/>
                    </a:lnTo>
                    <a:lnTo>
                      <a:pt x="5156" y="106"/>
                    </a:lnTo>
                    <a:lnTo>
                      <a:pt x="5038" y="66"/>
                    </a:lnTo>
                    <a:lnTo>
                      <a:pt x="4907" y="27"/>
                    </a:lnTo>
                    <a:lnTo>
                      <a:pt x="4776"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0" name="Google Shape;2370;p45"/>
              <p:cNvSpPr/>
              <p:nvPr/>
            </p:nvSpPr>
            <p:spPr>
              <a:xfrm>
                <a:off x="3360083" y="3183846"/>
                <a:ext cx="36062" cy="36062"/>
              </a:xfrm>
              <a:custGeom>
                <a:avLst/>
                <a:gdLst/>
                <a:ahLst/>
                <a:cxnLst/>
                <a:rect l="l" t="t" r="r" b="b"/>
                <a:pathLst>
                  <a:path w="2009" h="2009" extrusionOk="0">
                    <a:moveTo>
                      <a:pt x="906" y="1"/>
                    </a:moveTo>
                    <a:lnTo>
                      <a:pt x="801" y="14"/>
                    </a:lnTo>
                    <a:lnTo>
                      <a:pt x="709" y="40"/>
                    </a:lnTo>
                    <a:lnTo>
                      <a:pt x="617" y="80"/>
                    </a:lnTo>
                    <a:lnTo>
                      <a:pt x="526" y="119"/>
                    </a:lnTo>
                    <a:lnTo>
                      <a:pt x="447" y="171"/>
                    </a:lnTo>
                    <a:lnTo>
                      <a:pt x="368" y="224"/>
                    </a:lnTo>
                    <a:lnTo>
                      <a:pt x="290" y="289"/>
                    </a:lnTo>
                    <a:lnTo>
                      <a:pt x="224" y="368"/>
                    </a:lnTo>
                    <a:lnTo>
                      <a:pt x="171" y="447"/>
                    </a:lnTo>
                    <a:lnTo>
                      <a:pt x="119" y="526"/>
                    </a:lnTo>
                    <a:lnTo>
                      <a:pt x="80" y="617"/>
                    </a:lnTo>
                    <a:lnTo>
                      <a:pt x="40" y="709"/>
                    </a:lnTo>
                    <a:lnTo>
                      <a:pt x="14" y="801"/>
                    </a:lnTo>
                    <a:lnTo>
                      <a:pt x="1" y="906"/>
                    </a:lnTo>
                    <a:lnTo>
                      <a:pt x="1" y="998"/>
                    </a:lnTo>
                    <a:lnTo>
                      <a:pt x="1" y="1103"/>
                    </a:lnTo>
                    <a:lnTo>
                      <a:pt x="14" y="1208"/>
                    </a:lnTo>
                    <a:lnTo>
                      <a:pt x="40" y="1300"/>
                    </a:lnTo>
                    <a:lnTo>
                      <a:pt x="80" y="1391"/>
                    </a:lnTo>
                    <a:lnTo>
                      <a:pt x="119" y="1483"/>
                    </a:lnTo>
                    <a:lnTo>
                      <a:pt x="171" y="1562"/>
                    </a:lnTo>
                    <a:lnTo>
                      <a:pt x="224" y="1641"/>
                    </a:lnTo>
                    <a:lnTo>
                      <a:pt x="290" y="1719"/>
                    </a:lnTo>
                    <a:lnTo>
                      <a:pt x="368" y="1785"/>
                    </a:lnTo>
                    <a:lnTo>
                      <a:pt x="447" y="1837"/>
                    </a:lnTo>
                    <a:lnTo>
                      <a:pt x="526" y="1890"/>
                    </a:lnTo>
                    <a:lnTo>
                      <a:pt x="617" y="1929"/>
                    </a:lnTo>
                    <a:lnTo>
                      <a:pt x="709" y="1969"/>
                    </a:lnTo>
                    <a:lnTo>
                      <a:pt x="801" y="1995"/>
                    </a:lnTo>
                    <a:lnTo>
                      <a:pt x="906" y="2008"/>
                    </a:lnTo>
                    <a:lnTo>
                      <a:pt x="1103" y="2008"/>
                    </a:lnTo>
                    <a:lnTo>
                      <a:pt x="1208" y="1995"/>
                    </a:lnTo>
                    <a:lnTo>
                      <a:pt x="1300" y="1969"/>
                    </a:lnTo>
                    <a:lnTo>
                      <a:pt x="1392" y="1929"/>
                    </a:lnTo>
                    <a:lnTo>
                      <a:pt x="1483" y="1890"/>
                    </a:lnTo>
                    <a:lnTo>
                      <a:pt x="1562" y="1837"/>
                    </a:lnTo>
                    <a:lnTo>
                      <a:pt x="1641" y="1785"/>
                    </a:lnTo>
                    <a:lnTo>
                      <a:pt x="1719" y="1719"/>
                    </a:lnTo>
                    <a:lnTo>
                      <a:pt x="1785" y="1641"/>
                    </a:lnTo>
                    <a:lnTo>
                      <a:pt x="1838" y="1562"/>
                    </a:lnTo>
                    <a:lnTo>
                      <a:pt x="1890" y="1483"/>
                    </a:lnTo>
                    <a:lnTo>
                      <a:pt x="1929" y="1391"/>
                    </a:lnTo>
                    <a:lnTo>
                      <a:pt x="1969" y="1300"/>
                    </a:lnTo>
                    <a:lnTo>
                      <a:pt x="1995" y="1208"/>
                    </a:lnTo>
                    <a:lnTo>
                      <a:pt x="2008" y="1103"/>
                    </a:lnTo>
                    <a:lnTo>
                      <a:pt x="2008" y="998"/>
                    </a:lnTo>
                    <a:lnTo>
                      <a:pt x="2008" y="906"/>
                    </a:lnTo>
                    <a:lnTo>
                      <a:pt x="1995" y="801"/>
                    </a:lnTo>
                    <a:lnTo>
                      <a:pt x="1969" y="709"/>
                    </a:lnTo>
                    <a:lnTo>
                      <a:pt x="1929" y="617"/>
                    </a:lnTo>
                    <a:lnTo>
                      <a:pt x="1890" y="526"/>
                    </a:lnTo>
                    <a:lnTo>
                      <a:pt x="1838" y="447"/>
                    </a:lnTo>
                    <a:lnTo>
                      <a:pt x="1785" y="368"/>
                    </a:lnTo>
                    <a:lnTo>
                      <a:pt x="1719" y="289"/>
                    </a:lnTo>
                    <a:lnTo>
                      <a:pt x="1641" y="224"/>
                    </a:lnTo>
                    <a:lnTo>
                      <a:pt x="1562" y="171"/>
                    </a:lnTo>
                    <a:lnTo>
                      <a:pt x="1483" y="119"/>
                    </a:lnTo>
                    <a:lnTo>
                      <a:pt x="1392" y="80"/>
                    </a:lnTo>
                    <a:lnTo>
                      <a:pt x="1300" y="40"/>
                    </a:lnTo>
                    <a:lnTo>
                      <a:pt x="1208" y="14"/>
                    </a:lnTo>
                    <a:lnTo>
                      <a:pt x="110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1" name="Google Shape;2371;p45"/>
              <p:cNvSpPr/>
              <p:nvPr/>
            </p:nvSpPr>
            <p:spPr>
              <a:xfrm>
                <a:off x="3364085" y="3187849"/>
                <a:ext cx="28056" cy="28056"/>
              </a:xfrm>
              <a:custGeom>
                <a:avLst/>
                <a:gdLst/>
                <a:ahLst/>
                <a:cxnLst/>
                <a:rect l="l" t="t" r="r" b="b"/>
                <a:pathLst>
                  <a:path w="1563" h="1563" extrusionOk="0">
                    <a:moveTo>
                      <a:pt x="696" y="1"/>
                    </a:moveTo>
                    <a:lnTo>
                      <a:pt x="618" y="14"/>
                    </a:lnTo>
                    <a:lnTo>
                      <a:pt x="473" y="66"/>
                    </a:lnTo>
                    <a:lnTo>
                      <a:pt x="342" y="132"/>
                    </a:lnTo>
                    <a:lnTo>
                      <a:pt x="224" y="224"/>
                    </a:lnTo>
                    <a:lnTo>
                      <a:pt x="132" y="342"/>
                    </a:lnTo>
                    <a:lnTo>
                      <a:pt x="67" y="473"/>
                    </a:lnTo>
                    <a:lnTo>
                      <a:pt x="14" y="617"/>
                    </a:lnTo>
                    <a:lnTo>
                      <a:pt x="1" y="696"/>
                    </a:lnTo>
                    <a:lnTo>
                      <a:pt x="1" y="775"/>
                    </a:lnTo>
                    <a:lnTo>
                      <a:pt x="1" y="867"/>
                    </a:lnTo>
                    <a:lnTo>
                      <a:pt x="14" y="932"/>
                    </a:lnTo>
                    <a:lnTo>
                      <a:pt x="67" y="1090"/>
                    </a:lnTo>
                    <a:lnTo>
                      <a:pt x="132" y="1221"/>
                    </a:lnTo>
                    <a:lnTo>
                      <a:pt x="224" y="1326"/>
                    </a:lnTo>
                    <a:lnTo>
                      <a:pt x="342" y="1431"/>
                    </a:lnTo>
                    <a:lnTo>
                      <a:pt x="473" y="1496"/>
                    </a:lnTo>
                    <a:lnTo>
                      <a:pt x="618" y="1549"/>
                    </a:lnTo>
                    <a:lnTo>
                      <a:pt x="696" y="1562"/>
                    </a:lnTo>
                    <a:lnTo>
                      <a:pt x="854" y="1562"/>
                    </a:lnTo>
                    <a:lnTo>
                      <a:pt x="932" y="1549"/>
                    </a:lnTo>
                    <a:lnTo>
                      <a:pt x="1090" y="1496"/>
                    </a:lnTo>
                    <a:lnTo>
                      <a:pt x="1221" y="1431"/>
                    </a:lnTo>
                    <a:lnTo>
                      <a:pt x="1326" y="1326"/>
                    </a:lnTo>
                    <a:lnTo>
                      <a:pt x="1431" y="1221"/>
                    </a:lnTo>
                    <a:lnTo>
                      <a:pt x="1496" y="1090"/>
                    </a:lnTo>
                    <a:lnTo>
                      <a:pt x="1549" y="932"/>
                    </a:lnTo>
                    <a:lnTo>
                      <a:pt x="1562" y="867"/>
                    </a:lnTo>
                    <a:lnTo>
                      <a:pt x="1562" y="775"/>
                    </a:lnTo>
                    <a:lnTo>
                      <a:pt x="1562" y="696"/>
                    </a:lnTo>
                    <a:lnTo>
                      <a:pt x="1549" y="617"/>
                    </a:lnTo>
                    <a:lnTo>
                      <a:pt x="1496" y="473"/>
                    </a:lnTo>
                    <a:lnTo>
                      <a:pt x="1431" y="342"/>
                    </a:lnTo>
                    <a:lnTo>
                      <a:pt x="1326" y="224"/>
                    </a:lnTo>
                    <a:lnTo>
                      <a:pt x="1221" y="132"/>
                    </a:lnTo>
                    <a:lnTo>
                      <a:pt x="1090" y="66"/>
                    </a:lnTo>
                    <a:lnTo>
                      <a:pt x="932" y="14"/>
                    </a:lnTo>
                    <a:lnTo>
                      <a:pt x="854" y="1"/>
                    </a:lnTo>
                    <a:close/>
                  </a:path>
                </a:pathLst>
              </a:custGeom>
              <a:solidFill>
                <a:srgbClr val="F7F7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2" name="Google Shape;2372;p45"/>
              <p:cNvSpPr/>
              <p:nvPr/>
            </p:nvSpPr>
            <p:spPr>
              <a:xfrm>
                <a:off x="3126248" y="2186095"/>
                <a:ext cx="42183" cy="41931"/>
              </a:xfrm>
              <a:custGeom>
                <a:avLst/>
                <a:gdLst/>
                <a:ahLst/>
                <a:cxnLst/>
                <a:rect l="l" t="t" r="r" b="b"/>
                <a:pathLst>
                  <a:path w="2350" h="2336" extrusionOk="0">
                    <a:moveTo>
                      <a:pt x="1050" y="1"/>
                    </a:moveTo>
                    <a:lnTo>
                      <a:pt x="932" y="14"/>
                    </a:lnTo>
                    <a:lnTo>
                      <a:pt x="814" y="53"/>
                    </a:lnTo>
                    <a:lnTo>
                      <a:pt x="709" y="92"/>
                    </a:lnTo>
                    <a:lnTo>
                      <a:pt x="604" y="132"/>
                    </a:lnTo>
                    <a:lnTo>
                      <a:pt x="512" y="197"/>
                    </a:lnTo>
                    <a:lnTo>
                      <a:pt x="421" y="263"/>
                    </a:lnTo>
                    <a:lnTo>
                      <a:pt x="342" y="342"/>
                    </a:lnTo>
                    <a:lnTo>
                      <a:pt x="263" y="420"/>
                    </a:lnTo>
                    <a:lnTo>
                      <a:pt x="198" y="512"/>
                    </a:lnTo>
                    <a:lnTo>
                      <a:pt x="132" y="604"/>
                    </a:lnTo>
                    <a:lnTo>
                      <a:pt x="93" y="709"/>
                    </a:lnTo>
                    <a:lnTo>
                      <a:pt x="53" y="814"/>
                    </a:lnTo>
                    <a:lnTo>
                      <a:pt x="14" y="932"/>
                    </a:lnTo>
                    <a:lnTo>
                      <a:pt x="1" y="1050"/>
                    </a:lnTo>
                    <a:lnTo>
                      <a:pt x="1" y="1168"/>
                    </a:lnTo>
                    <a:lnTo>
                      <a:pt x="1" y="1286"/>
                    </a:lnTo>
                    <a:lnTo>
                      <a:pt x="14" y="1404"/>
                    </a:lnTo>
                    <a:lnTo>
                      <a:pt x="53" y="1522"/>
                    </a:lnTo>
                    <a:lnTo>
                      <a:pt x="93" y="1627"/>
                    </a:lnTo>
                    <a:lnTo>
                      <a:pt x="132" y="1732"/>
                    </a:lnTo>
                    <a:lnTo>
                      <a:pt x="198" y="1824"/>
                    </a:lnTo>
                    <a:lnTo>
                      <a:pt x="263" y="1916"/>
                    </a:lnTo>
                    <a:lnTo>
                      <a:pt x="342" y="1995"/>
                    </a:lnTo>
                    <a:lnTo>
                      <a:pt x="421" y="2073"/>
                    </a:lnTo>
                    <a:lnTo>
                      <a:pt x="512" y="2139"/>
                    </a:lnTo>
                    <a:lnTo>
                      <a:pt x="604" y="2205"/>
                    </a:lnTo>
                    <a:lnTo>
                      <a:pt x="709" y="2244"/>
                    </a:lnTo>
                    <a:lnTo>
                      <a:pt x="814" y="2283"/>
                    </a:lnTo>
                    <a:lnTo>
                      <a:pt x="932" y="2323"/>
                    </a:lnTo>
                    <a:lnTo>
                      <a:pt x="1050" y="2336"/>
                    </a:lnTo>
                    <a:lnTo>
                      <a:pt x="1286" y="2336"/>
                    </a:lnTo>
                    <a:lnTo>
                      <a:pt x="1405" y="2323"/>
                    </a:lnTo>
                    <a:lnTo>
                      <a:pt x="1523" y="2283"/>
                    </a:lnTo>
                    <a:lnTo>
                      <a:pt x="1628" y="2244"/>
                    </a:lnTo>
                    <a:lnTo>
                      <a:pt x="1732" y="2205"/>
                    </a:lnTo>
                    <a:lnTo>
                      <a:pt x="1824" y="2139"/>
                    </a:lnTo>
                    <a:lnTo>
                      <a:pt x="1916" y="2073"/>
                    </a:lnTo>
                    <a:lnTo>
                      <a:pt x="1995" y="1995"/>
                    </a:lnTo>
                    <a:lnTo>
                      <a:pt x="2074" y="1916"/>
                    </a:lnTo>
                    <a:lnTo>
                      <a:pt x="2139" y="1824"/>
                    </a:lnTo>
                    <a:lnTo>
                      <a:pt x="2205" y="1732"/>
                    </a:lnTo>
                    <a:lnTo>
                      <a:pt x="2244" y="1627"/>
                    </a:lnTo>
                    <a:lnTo>
                      <a:pt x="2283" y="1522"/>
                    </a:lnTo>
                    <a:lnTo>
                      <a:pt x="2323" y="1404"/>
                    </a:lnTo>
                    <a:lnTo>
                      <a:pt x="2336" y="1286"/>
                    </a:lnTo>
                    <a:lnTo>
                      <a:pt x="2349" y="1168"/>
                    </a:lnTo>
                    <a:lnTo>
                      <a:pt x="2336" y="1050"/>
                    </a:lnTo>
                    <a:lnTo>
                      <a:pt x="2323" y="932"/>
                    </a:lnTo>
                    <a:lnTo>
                      <a:pt x="2283" y="814"/>
                    </a:lnTo>
                    <a:lnTo>
                      <a:pt x="2244" y="709"/>
                    </a:lnTo>
                    <a:lnTo>
                      <a:pt x="2205" y="604"/>
                    </a:lnTo>
                    <a:lnTo>
                      <a:pt x="2139" y="512"/>
                    </a:lnTo>
                    <a:lnTo>
                      <a:pt x="2074" y="420"/>
                    </a:lnTo>
                    <a:lnTo>
                      <a:pt x="1995" y="342"/>
                    </a:lnTo>
                    <a:lnTo>
                      <a:pt x="1916" y="263"/>
                    </a:lnTo>
                    <a:lnTo>
                      <a:pt x="1824" y="197"/>
                    </a:lnTo>
                    <a:lnTo>
                      <a:pt x="1732" y="132"/>
                    </a:lnTo>
                    <a:lnTo>
                      <a:pt x="1628" y="92"/>
                    </a:lnTo>
                    <a:lnTo>
                      <a:pt x="1523" y="53"/>
                    </a:lnTo>
                    <a:lnTo>
                      <a:pt x="1405" y="14"/>
                    </a:lnTo>
                    <a:lnTo>
                      <a:pt x="128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3" name="Google Shape;2373;p45"/>
              <p:cNvSpPr/>
              <p:nvPr/>
            </p:nvSpPr>
            <p:spPr>
              <a:xfrm>
                <a:off x="3190311" y="2188680"/>
                <a:ext cx="207951" cy="36762"/>
              </a:xfrm>
              <a:custGeom>
                <a:avLst/>
                <a:gdLst/>
                <a:ahLst/>
                <a:cxnLst/>
                <a:rect l="l" t="t" r="r" b="b"/>
                <a:pathLst>
                  <a:path w="11585" h="2048" extrusionOk="0">
                    <a:moveTo>
                      <a:pt x="0" y="1"/>
                    </a:moveTo>
                    <a:lnTo>
                      <a:pt x="0" y="2047"/>
                    </a:lnTo>
                    <a:lnTo>
                      <a:pt x="11584" y="2047"/>
                    </a:lnTo>
                    <a:lnTo>
                      <a:pt x="1158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4" name="Google Shape;2374;p45"/>
              <p:cNvSpPr/>
              <p:nvPr/>
            </p:nvSpPr>
            <p:spPr>
              <a:xfrm>
                <a:off x="3126248" y="2272758"/>
                <a:ext cx="42183" cy="42165"/>
              </a:xfrm>
              <a:custGeom>
                <a:avLst/>
                <a:gdLst/>
                <a:ahLst/>
                <a:cxnLst/>
                <a:rect l="l" t="t" r="r" b="b"/>
                <a:pathLst>
                  <a:path w="2350" h="2349" extrusionOk="0">
                    <a:moveTo>
                      <a:pt x="1168" y="0"/>
                    </a:moveTo>
                    <a:lnTo>
                      <a:pt x="1050" y="13"/>
                    </a:lnTo>
                    <a:lnTo>
                      <a:pt x="932" y="27"/>
                    </a:lnTo>
                    <a:lnTo>
                      <a:pt x="814" y="53"/>
                    </a:lnTo>
                    <a:lnTo>
                      <a:pt x="709" y="92"/>
                    </a:lnTo>
                    <a:lnTo>
                      <a:pt x="604" y="145"/>
                    </a:lnTo>
                    <a:lnTo>
                      <a:pt x="512" y="197"/>
                    </a:lnTo>
                    <a:lnTo>
                      <a:pt x="421" y="263"/>
                    </a:lnTo>
                    <a:lnTo>
                      <a:pt x="342" y="341"/>
                    </a:lnTo>
                    <a:lnTo>
                      <a:pt x="263" y="433"/>
                    </a:lnTo>
                    <a:lnTo>
                      <a:pt x="198" y="512"/>
                    </a:lnTo>
                    <a:lnTo>
                      <a:pt x="132" y="617"/>
                    </a:lnTo>
                    <a:lnTo>
                      <a:pt x="93" y="722"/>
                    </a:lnTo>
                    <a:lnTo>
                      <a:pt x="53" y="827"/>
                    </a:lnTo>
                    <a:lnTo>
                      <a:pt x="14" y="932"/>
                    </a:lnTo>
                    <a:lnTo>
                      <a:pt x="1" y="1050"/>
                    </a:lnTo>
                    <a:lnTo>
                      <a:pt x="1" y="1168"/>
                    </a:lnTo>
                    <a:lnTo>
                      <a:pt x="1" y="1299"/>
                    </a:lnTo>
                    <a:lnTo>
                      <a:pt x="14" y="1417"/>
                    </a:lnTo>
                    <a:lnTo>
                      <a:pt x="53" y="1522"/>
                    </a:lnTo>
                    <a:lnTo>
                      <a:pt x="93" y="1627"/>
                    </a:lnTo>
                    <a:lnTo>
                      <a:pt x="132" y="1732"/>
                    </a:lnTo>
                    <a:lnTo>
                      <a:pt x="198" y="1837"/>
                    </a:lnTo>
                    <a:lnTo>
                      <a:pt x="263" y="1916"/>
                    </a:lnTo>
                    <a:lnTo>
                      <a:pt x="342" y="2008"/>
                    </a:lnTo>
                    <a:lnTo>
                      <a:pt x="421" y="2086"/>
                    </a:lnTo>
                    <a:lnTo>
                      <a:pt x="512" y="2152"/>
                    </a:lnTo>
                    <a:lnTo>
                      <a:pt x="604" y="2204"/>
                    </a:lnTo>
                    <a:lnTo>
                      <a:pt x="709" y="2257"/>
                    </a:lnTo>
                    <a:lnTo>
                      <a:pt x="814" y="2296"/>
                    </a:lnTo>
                    <a:lnTo>
                      <a:pt x="932" y="2322"/>
                    </a:lnTo>
                    <a:lnTo>
                      <a:pt x="1050" y="2336"/>
                    </a:lnTo>
                    <a:lnTo>
                      <a:pt x="1168" y="2349"/>
                    </a:lnTo>
                    <a:lnTo>
                      <a:pt x="1286" y="2336"/>
                    </a:lnTo>
                    <a:lnTo>
                      <a:pt x="1405" y="2322"/>
                    </a:lnTo>
                    <a:lnTo>
                      <a:pt x="1523" y="2296"/>
                    </a:lnTo>
                    <a:lnTo>
                      <a:pt x="1628" y="2257"/>
                    </a:lnTo>
                    <a:lnTo>
                      <a:pt x="1732" y="2204"/>
                    </a:lnTo>
                    <a:lnTo>
                      <a:pt x="1824" y="2152"/>
                    </a:lnTo>
                    <a:lnTo>
                      <a:pt x="1916" y="2086"/>
                    </a:lnTo>
                    <a:lnTo>
                      <a:pt x="1995" y="2008"/>
                    </a:lnTo>
                    <a:lnTo>
                      <a:pt x="2074" y="1916"/>
                    </a:lnTo>
                    <a:lnTo>
                      <a:pt x="2139" y="1837"/>
                    </a:lnTo>
                    <a:lnTo>
                      <a:pt x="2205" y="1732"/>
                    </a:lnTo>
                    <a:lnTo>
                      <a:pt x="2244" y="1627"/>
                    </a:lnTo>
                    <a:lnTo>
                      <a:pt x="2283" y="1522"/>
                    </a:lnTo>
                    <a:lnTo>
                      <a:pt x="2323" y="1417"/>
                    </a:lnTo>
                    <a:lnTo>
                      <a:pt x="2336" y="1299"/>
                    </a:lnTo>
                    <a:lnTo>
                      <a:pt x="2349" y="1168"/>
                    </a:lnTo>
                    <a:lnTo>
                      <a:pt x="2336" y="1050"/>
                    </a:lnTo>
                    <a:lnTo>
                      <a:pt x="2323" y="932"/>
                    </a:lnTo>
                    <a:lnTo>
                      <a:pt x="2283" y="827"/>
                    </a:lnTo>
                    <a:lnTo>
                      <a:pt x="2244" y="722"/>
                    </a:lnTo>
                    <a:lnTo>
                      <a:pt x="2205" y="617"/>
                    </a:lnTo>
                    <a:lnTo>
                      <a:pt x="2139" y="512"/>
                    </a:lnTo>
                    <a:lnTo>
                      <a:pt x="2074" y="433"/>
                    </a:lnTo>
                    <a:lnTo>
                      <a:pt x="1995" y="341"/>
                    </a:lnTo>
                    <a:lnTo>
                      <a:pt x="1916" y="263"/>
                    </a:lnTo>
                    <a:lnTo>
                      <a:pt x="1824" y="197"/>
                    </a:lnTo>
                    <a:lnTo>
                      <a:pt x="1732" y="145"/>
                    </a:lnTo>
                    <a:lnTo>
                      <a:pt x="1628" y="92"/>
                    </a:lnTo>
                    <a:lnTo>
                      <a:pt x="1523" y="53"/>
                    </a:lnTo>
                    <a:lnTo>
                      <a:pt x="1405" y="27"/>
                    </a:lnTo>
                    <a:lnTo>
                      <a:pt x="1286" y="13"/>
                    </a:lnTo>
                    <a:lnTo>
                      <a:pt x="116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5" name="Google Shape;2375;p45"/>
              <p:cNvSpPr/>
              <p:nvPr/>
            </p:nvSpPr>
            <p:spPr>
              <a:xfrm>
                <a:off x="3190311" y="2275343"/>
                <a:ext cx="207951" cy="36995"/>
              </a:xfrm>
              <a:custGeom>
                <a:avLst/>
                <a:gdLst/>
                <a:ahLst/>
                <a:cxnLst/>
                <a:rect l="l" t="t" r="r" b="b"/>
                <a:pathLst>
                  <a:path w="11585" h="2061" extrusionOk="0">
                    <a:moveTo>
                      <a:pt x="0" y="1"/>
                    </a:moveTo>
                    <a:lnTo>
                      <a:pt x="0" y="2060"/>
                    </a:lnTo>
                    <a:lnTo>
                      <a:pt x="11584" y="2060"/>
                    </a:lnTo>
                    <a:lnTo>
                      <a:pt x="1158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6" name="Google Shape;2376;p45"/>
              <p:cNvSpPr/>
              <p:nvPr/>
            </p:nvSpPr>
            <p:spPr>
              <a:xfrm>
                <a:off x="3126248" y="2416394"/>
                <a:ext cx="42183" cy="42183"/>
              </a:xfrm>
              <a:custGeom>
                <a:avLst/>
                <a:gdLst/>
                <a:ahLst/>
                <a:cxnLst/>
                <a:rect l="l" t="t" r="r" b="b"/>
                <a:pathLst>
                  <a:path w="2350" h="2350" extrusionOk="0">
                    <a:moveTo>
                      <a:pt x="1050" y="1"/>
                    </a:moveTo>
                    <a:lnTo>
                      <a:pt x="932" y="27"/>
                    </a:lnTo>
                    <a:lnTo>
                      <a:pt x="814" y="53"/>
                    </a:lnTo>
                    <a:lnTo>
                      <a:pt x="709" y="93"/>
                    </a:lnTo>
                    <a:lnTo>
                      <a:pt x="604" y="145"/>
                    </a:lnTo>
                    <a:lnTo>
                      <a:pt x="512" y="198"/>
                    </a:lnTo>
                    <a:lnTo>
                      <a:pt x="421" y="263"/>
                    </a:lnTo>
                    <a:lnTo>
                      <a:pt x="342" y="342"/>
                    </a:lnTo>
                    <a:lnTo>
                      <a:pt x="263" y="421"/>
                    </a:lnTo>
                    <a:lnTo>
                      <a:pt x="198" y="513"/>
                    </a:lnTo>
                    <a:lnTo>
                      <a:pt x="132" y="618"/>
                    </a:lnTo>
                    <a:lnTo>
                      <a:pt x="93" y="709"/>
                    </a:lnTo>
                    <a:lnTo>
                      <a:pt x="53" y="827"/>
                    </a:lnTo>
                    <a:lnTo>
                      <a:pt x="14" y="932"/>
                    </a:lnTo>
                    <a:lnTo>
                      <a:pt x="1" y="1050"/>
                    </a:lnTo>
                    <a:lnTo>
                      <a:pt x="1" y="1169"/>
                    </a:lnTo>
                    <a:lnTo>
                      <a:pt x="1" y="1287"/>
                    </a:lnTo>
                    <a:lnTo>
                      <a:pt x="14" y="1405"/>
                    </a:lnTo>
                    <a:lnTo>
                      <a:pt x="53" y="1523"/>
                    </a:lnTo>
                    <a:lnTo>
                      <a:pt x="93" y="1628"/>
                    </a:lnTo>
                    <a:lnTo>
                      <a:pt x="132" y="1733"/>
                    </a:lnTo>
                    <a:lnTo>
                      <a:pt x="198" y="1825"/>
                    </a:lnTo>
                    <a:lnTo>
                      <a:pt x="263" y="1916"/>
                    </a:lnTo>
                    <a:lnTo>
                      <a:pt x="342" y="1995"/>
                    </a:lnTo>
                    <a:lnTo>
                      <a:pt x="421" y="2074"/>
                    </a:lnTo>
                    <a:lnTo>
                      <a:pt x="512" y="2139"/>
                    </a:lnTo>
                    <a:lnTo>
                      <a:pt x="604" y="2205"/>
                    </a:lnTo>
                    <a:lnTo>
                      <a:pt x="709" y="2257"/>
                    </a:lnTo>
                    <a:lnTo>
                      <a:pt x="814" y="2297"/>
                    </a:lnTo>
                    <a:lnTo>
                      <a:pt x="932" y="2323"/>
                    </a:lnTo>
                    <a:lnTo>
                      <a:pt x="1050" y="2336"/>
                    </a:lnTo>
                    <a:lnTo>
                      <a:pt x="1168" y="2349"/>
                    </a:lnTo>
                    <a:lnTo>
                      <a:pt x="1286" y="2336"/>
                    </a:lnTo>
                    <a:lnTo>
                      <a:pt x="1405" y="2323"/>
                    </a:lnTo>
                    <a:lnTo>
                      <a:pt x="1523" y="2297"/>
                    </a:lnTo>
                    <a:lnTo>
                      <a:pt x="1628" y="2257"/>
                    </a:lnTo>
                    <a:lnTo>
                      <a:pt x="1732" y="2205"/>
                    </a:lnTo>
                    <a:lnTo>
                      <a:pt x="1824" y="2139"/>
                    </a:lnTo>
                    <a:lnTo>
                      <a:pt x="1916" y="2074"/>
                    </a:lnTo>
                    <a:lnTo>
                      <a:pt x="1995" y="1995"/>
                    </a:lnTo>
                    <a:lnTo>
                      <a:pt x="2074" y="1916"/>
                    </a:lnTo>
                    <a:lnTo>
                      <a:pt x="2139" y="1825"/>
                    </a:lnTo>
                    <a:lnTo>
                      <a:pt x="2205" y="1733"/>
                    </a:lnTo>
                    <a:lnTo>
                      <a:pt x="2244" y="1628"/>
                    </a:lnTo>
                    <a:lnTo>
                      <a:pt x="2283" y="1523"/>
                    </a:lnTo>
                    <a:lnTo>
                      <a:pt x="2323" y="1405"/>
                    </a:lnTo>
                    <a:lnTo>
                      <a:pt x="2336" y="1287"/>
                    </a:lnTo>
                    <a:lnTo>
                      <a:pt x="2349" y="1169"/>
                    </a:lnTo>
                    <a:lnTo>
                      <a:pt x="2336" y="1050"/>
                    </a:lnTo>
                    <a:lnTo>
                      <a:pt x="2323" y="932"/>
                    </a:lnTo>
                    <a:lnTo>
                      <a:pt x="2283" y="827"/>
                    </a:lnTo>
                    <a:lnTo>
                      <a:pt x="2244" y="709"/>
                    </a:lnTo>
                    <a:lnTo>
                      <a:pt x="2205" y="618"/>
                    </a:lnTo>
                    <a:lnTo>
                      <a:pt x="2139" y="513"/>
                    </a:lnTo>
                    <a:lnTo>
                      <a:pt x="2074" y="421"/>
                    </a:lnTo>
                    <a:lnTo>
                      <a:pt x="1995" y="342"/>
                    </a:lnTo>
                    <a:lnTo>
                      <a:pt x="1916" y="263"/>
                    </a:lnTo>
                    <a:lnTo>
                      <a:pt x="1824" y="198"/>
                    </a:lnTo>
                    <a:lnTo>
                      <a:pt x="1732" y="145"/>
                    </a:lnTo>
                    <a:lnTo>
                      <a:pt x="1628" y="93"/>
                    </a:lnTo>
                    <a:lnTo>
                      <a:pt x="1523" y="53"/>
                    </a:lnTo>
                    <a:lnTo>
                      <a:pt x="1405" y="27"/>
                    </a:lnTo>
                    <a:lnTo>
                      <a:pt x="1286"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7" name="Google Shape;2377;p45"/>
              <p:cNvSpPr/>
              <p:nvPr/>
            </p:nvSpPr>
            <p:spPr>
              <a:xfrm>
                <a:off x="3190311" y="2418996"/>
                <a:ext cx="207951" cy="36744"/>
              </a:xfrm>
              <a:custGeom>
                <a:avLst/>
                <a:gdLst/>
                <a:ahLst/>
                <a:cxnLst/>
                <a:rect l="l" t="t" r="r" b="b"/>
                <a:pathLst>
                  <a:path w="11585" h="2047" extrusionOk="0">
                    <a:moveTo>
                      <a:pt x="0" y="0"/>
                    </a:moveTo>
                    <a:lnTo>
                      <a:pt x="0" y="2047"/>
                    </a:lnTo>
                    <a:lnTo>
                      <a:pt x="11584" y="2047"/>
                    </a:lnTo>
                    <a:lnTo>
                      <a:pt x="115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8" name="Google Shape;2378;p45"/>
              <p:cNvSpPr/>
              <p:nvPr/>
            </p:nvSpPr>
            <p:spPr>
              <a:xfrm>
                <a:off x="3126248" y="2503056"/>
                <a:ext cx="42183" cy="42183"/>
              </a:xfrm>
              <a:custGeom>
                <a:avLst/>
                <a:gdLst/>
                <a:ahLst/>
                <a:cxnLst/>
                <a:rect l="l" t="t" r="r" b="b"/>
                <a:pathLst>
                  <a:path w="2350" h="2350" extrusionOk="0">
                    <a:moveTo>
                      <a:pt x="1168" y="1"/>
                    </a:moveTo>
                    <a:lnTo>
                      <a:pt x="1050" y="14"/>
                    </a:lnTo>
                    <a:lnTo>
                      <a:pt x="932" y="27"/>
                    </a:lnTo>
                    <a:lnTo>
                      <a:pt x="814" y="53"/>
                    </a:lnTo>
                    <a:lnTo>
                      <a:pt x="709" y="93"/>
                    </a:lnTo>
                    <a:lnTo>
                      <a:pt x="604" y="145"/>
                    </a:lnTo>
                    <a:lnTo>
                      <a:pt x="512" y="211"/>
                    </a:lnTo>
                    <a:lnTo>
                      <a:pt x="421" y="276"/>
                    </a:lnTo>
                    <a:lnTo>
                      <a:pt x="342" y="342"/>
                    </a:lnTo>
                    <a:lnTo>
                      <a:pt x="263" y="434"/>
                    </a:lnTo>
                    <a:lnTo>
                      <a:pt x="198" y="526"/>
                    </a:lnTo>
                    <a:lnTo>
                      <a:pt x="132" y="617"/>
                    </a:lnTo>
                    <a:lnTo>
                      <a:pt x="93" y="722"/>
                    </a:lnTo>
                    <a:lnTo>
                      <a:pt x="53" y="827"/>
                    </a:lnTo>
                    <a:lnTo>
                      <a:pt x="14" y="945"/>
                    </a:lnTo>
                    <a:lnTo>
                      <a:pt x="1" y="1063"/>
                    </a:lnTo>
                    <a:lnTo>
                      <a:pt x="1" y="1181"/>
                    </a:lnTo>
                    <a:lnTo>
                      <a:pt x="1" y="1300"/>
                    </a:lnTo>
                    <a:lnTo>
                      <a:pt x="14" y="1418"/>
                    </a:lnTo>
                    <a:lnTo>
                      <a:pt x="53" y="1523"/>
                    </a:lnTo>
                    <a:lnTo>
                      <a:pt x="93" y="1641"/>
                    </a:lnTo>
                    <a:lnTo>
                      <a:pt x="132" y="1732"/>
                    </a:lnTo>
                    <a:lnTo>
                      <a:pt x="198" y="1837"/>
                    </a:lnTo>
                    <a:lnTo>
                      <a:pt x="263" y="1929"/>
                    </a:lnTo>
                    <a:lnTo>
                      <a:pt x="342" y="2008"/>
                    </a:lnTo>
                    <a:lnTo>
                      <a:pt x="421" y="2087"/>
                    </a:lnTo>
                    <a:lnTo>
                      <a:pt x="512" y="2152"/>
                    </a:lnTo>
                    <a:lnTo>
                      <a:pt x="604" y="2205"/>
                    </a:lnTo>
                    <a:lnTo>
                      <a:pt x="709" y="2257"/>
                    </a:lnTo>
                    <a:lnTo>
                      <a:pt x="814" y="2297"/>
                    </a:lnTo>
                    <a:lnTo>
                      <a:pt x="932" y="2323"/>
                    </a:lnTo>
                    <a:lnTo>
                      <a:pt x="1050" y="2349"/>
                    </a:lnTo>
                    <a:lnTo>
                      <a:pt x="1286" y="2349"/>
                    </a:lnTo>
                    <a:lnTo>
                      <a:pt x="1405" y="2323"/>
                    </a:lnTo>
                    <a:lnTo>
                      <a:pt x="1523" y="2297"/>
                    </a:lnTo>
                    <a:lnTo>
                      <a:pt x="1628" y="2257"/>
                    </a:lnTo>
                    <a:lnTo>
                      <a:pt x="1732" y="2205"/>
                    </a:lnTo>
                    <a:lnTo>
                      <a:pt x="1824" y="2152"/>
                    </a:lnTo>
                    <a:lnTo>
                      <a:pt x="1916" y="2087"/>
                    </a:lnTo>
                    <a:lnTo>
                      <a:pt x="1995" y="2008"/>
                    </a:lnTo>
                    <a:lnTo>
                      <a:pt x="2074" y="1929"/>
                    </a:lnTo>
                    <a:lnTo>
                      <a:pt x="2139" y="1837"/>
                    </a:lnTo>
                    <a:lnTo>
                      <a:pt x="2205" y="1732"/>
                    </a:lnTo>
                    <a:lnTo>
                      <a:pt x="2244" y="1641"/>
                    </a:lnTo>
                    <a:lnTo>
                      <a:pt x="2283" y="1523"/>
                    </a:lnTo>
                    <a:lnTo>
                      <a:pt x="2323" y="1418"/>
                    </a:lnTo>
                    <a:lnTo>
                      <a:pt x="2336" y="1300"/>
                    </a:lnTo>
                    <a:lnTo>
                      <a:pt x="2349" y="1181"/>
                    </a:lnTo>
                    <a:lnTo>
                      <a:pt x="2336" y="1063"/>
                    </a:lnTo>
                    <a:lnTo>
                      <a:pt x="2323" y="945"/>
                    </a:lnTo>
                    <a:lnTo>
                      <a:pt x="2283" y="827"/>
                    </a:lnTo>
                    <a:lnTo>
                      <a:pt x="2244" y="722"/>
                    </a:lnTo>
                    <a:lnTo>
                      <a:pt x="2205" y="617"/>
                    </a:lnTo>
                    <a:lnTo>
                      <a:pt x="2139" y="526"/>
                    </a:lnTo>
                    <a:lnTo>
                      <a:pt x="2074" y="434"/>
                    </a:lnTo>
                    <a:lnTo>
                      <a:pt x="1995" y="342"/>
                    </a:lnTo>
                    <a:lnTo>
                      <a:pt x="1916" y="276"/>
                    </a:lnTo>
                    <a:lnTo>
                      <a:pt x="1824" y="211"/>
                    </a:lnTo>
                    <a:lnTo>
                      <a:pt x="1732" y="145"/>
                    </a:lnTo>
                    <a:lnTo>
                      <a:pt x="1628" y="93"/>
                    </a:lnTo>
                    <a:lnTo>
                      <a:pt x="1523" y="53"/>
                    </a:lnTo>
                    <a:lnTo>
                      <a:pt x="1405" y="27"/>
                    </a:lnTo>
                    <a:lnTo>
                      <a:pt x="1286" y="14"/>
                    </a:lnTo>
                    <a:lnTo>
                      <a:pt x="116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9" name="Google Shape;2379;p45"/>
              <p:cNvSpPr/>
              <p:nvPr/>
            </p:nvSpPr>
            <p:spPr>
              <a:xfrm>
                <a:off x="3190311" y="2505659"/>
                <a:ext cx="207951" cy="36977"/>
              </a:xfrm>
              <a:custGeom>
                <a:avLst/>
                <a:gdLst/>
                <a:ahLst/>
                <a:cxnLst/>
                <a:rect l="l" t="t" r="r" b="b"/>
                <a:pathLst>
                  <a:path w="11585" h="2060" extrusionOk="0">
                    <a:moveTo>
                      <a:pt x="0" y="0"/>
                    </a:moveTo>
                    <a:lnTo>
                      <a:pt x="0" y="2060"/>
                    </a:lnTo>
                    <a:lnTo>
                      <a:pt x="11584" y="2060"/>
                    </a:lnTo>
                    <a:lnTo>
                      <a:pt x="1158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0" name="Google Shape;2380;p45"/>
              <p:cNvSpPr/>
              <p:nvPr/>
            </p:nvSpPr>
            <p:spPr>
              <a:xfrm>
                <a:off x="3126248" y="2646710"/>
                <a:ext cx="42183" cy="42165"/>
              </a:xfrm>
              <a:custGeom>
                <a:avLst/>
                <a:gdLst/>
                <a:ahLst/>
                <a:cxnLst/>
                <a:rect l="l" t="t" r="r" b="b"/>
                <a:pathLst>
                  <a:path w="2350" h="2349" extrusionOk="0">
                    <a:moveTo>
                      <a:pt x="1050" y="0"/>
                    </a:moveTo>
                    <a:lnTo>
                      <a:pt x="932" y="27"/>
                    </a:lnTo>
                    <a:lnTo>
                      <a:pt x="814" y="53"/>
                    </a:lnTo>
                    <a:lnTo>
                      <a:pt x="709" y="92"/>
                    </a:lnTo>
                    <a:lnTo>
                      <a:pt x="604" y="145"/>
                    </a:lnTo>
                    <a:lnTo>
                      <a:pt x="512" y="197"/>
                    </a:lnTo>
                    <a:lnTo>
                      <a:pt x="421" y="263"/>
                    </a:lnTo>
                    <a:lnTo>
                      <a:pt x="342" y="341"/>
                    </a:lnTo>
                    <a:lnTo>
                      <a:pt x="263" y="433"/>
                    </a:lnTo>
                    <a:lnTo>
                      <a:pt x="198" y="512"/>
                    </a:lnTo>
                    <a:lnTo>
                      <a:pt x="132" y="617"/>
                    </a:lnTo>
                    <a:lnTo>
                      <a:pt x="93" y="722"/>
                    </a:lnTo>
                    <a:lnTo>
                      <a:pt x="53" y="827"/>
                    </a:lnTo>
                    <a:lnTo>
                      <a:pt x="14" y="932"/>
                    </a:lnTo>
                    <a:lnTo>
                      <a:pt x="1" y="1050"/>
                    </a:lnTo>
                    <a:lnTo>
                      <a:pt x="1" y="1168"/>
                    </a:lnTo>
                    <a:lnTo>
                      <a:pt x="1" y="1299"/>
                    </a:lnTo>
                    <a:lnTo>
                      <a:pt x="14" y="1404"/>
                    </a:lnTo>
                    <a:lnTo>
                      <a:pt x="53" y="1522"/>
                    </a:lnTo>
                    <a:lnTo>
                      <a:pt x="93" y="1627"/>
                    </a:lnTo>
                    <a:lnTo>
                      <a:pt x="132" y="1732"/>
                    </a:lnTo>
                    <a:lnTo>
                      <a:pt x="198" y="1824"/>
                    </a:lnTo>
                    <a:lnTo>
                      <a:pt x="263" y="1916"/>
                    </a:lnTo>
                    <a:lnTo>
                      <a:pt x="342" y="2008"/>
                    </a:lnTo>
                    <a:lnTo>
                      <a:pt x="421" y="2073"/>
                    </a:lnTo>
                    <a:lnTo>
                      <a:pt x="512" y="2152"/>
                    </a:lnTo>
                    <a:lnTo>
                      <a:pt x="604" y="2204"/>
                    </a:lnTo>
                    <a:lnTo>
                      <a:pt x="709" y="2257"/>
                    </a:lnTo>
                    <a:lnTo>
                      <a:pt x="814" y="2296"/>
                    </a:lnTo>
                    <a:lnTo>
                      <a:pt x="932" y="2322"/>
                    </a:lnTo>
                    <a:lnTo>
                      <a:pt x="1050" y="2336"/>
                    </a:lnTo>
                    <a:lnTo>
                      <a:pt x="1168" y="2349"/>
                    </a:lnTo>
                    <a:lnTo>
                      <a:pt x="1286" y="2336"/>
                    </a:lnTo>
                    <a:lnTo>
                      <a:pt x="1405" y="2322"/>
                    </a:lnTo>
                    <a:lnTo>
                      <a:pt x="1523" y="2296"/>
                    </a:lnTo>
                    <a:lnTo>
                      <a:pt x="1628" y="2257"/>
                    </a:lnTo>
                    <a:lnTo>
                      <a:pt x="1732" y="2204"/>
                    </a:lnTo>
                    <a:lnTo>
                      <a:pt x="1824" y="2152"/>
                    </a:lnTo>
                    <a:lnTo>
                      <a:pt x="1916" y="2073"/>
                    </a:lnTo>
                    <a:lnTo>
                      <a:pt x="1995" y="2008"/>
                    </a:lnTo>
                    <a:lnTo>
                      <a:pt x="2074" y="1916"/>
                    </a:lnTo>
                    <a:lnTo>
                      <a:pt x="2139" y="1824"/>
                    </a:lnTo>
                    <a:lnTo>
                      <a:pt x="2205" y="1732"/>
                    </a:lnTo>
                    <a:lnTo>
                      <a:pt x="2244" y="1627"/>
                    </a:lnTo>
                    <a:lnTo>
                      <a:pt x="2283" y="1522"/>
                    </a:lnTo>
                    <a:lnTo>
                      <a:pt x="2323" y="1404"/>
                    </a:lnTo>
                    <a:lnTo>
                      <a:pt x="2336" y="1299"/>
                    </a:lnTo>
                    <a:lnTo>
                      <a:pt x="2349" y="1168"/>
                    </a:lnTo>
                    <a:lnTo>
                      <a:pt x="2336" y="1050"/>
                    </a:lnTo>
                    <a:lnTo>
                      <a:pt x="2323" y="932"/>
                    </a:lnTo>
                    <a:lnTo>
                      <a:pt x="2283" y="827"/>
                    </a:lnTo>
                    <a:lnTo>
                      <a:pt x="2244" y="722"/>
                    </a:lnTo>
                    <a:lnTo>
                      <a:pt x="2205" y="617"/>
                    </a:lnTo>
                    <a:lnTo>
                      <a:pt x="2139" y="512"/>
                    </a:lnTo>
                    <a:lnTo>
                      <a:pt x="2074" y="433"/>
                    </a:lnTo>
                    <a:lnTo>
                      <a:pt x="1995" y="341"/>
                    </a:lnTo>
                    <a:lnTo>
                      <a:pt x="1916" y="263"/>
                    </a:lnTo>
                    <a:lnTo>
                      <a:pt x="1824" y="197"/>
                    </a:lnTo>
                    <a:lnTo>
                      <a:pt x="1732" y="145"/>
                    </a:lnTo>
                    <a:lnTo>
                      <a:pt x="1628" y="92"/>
                    </a:lnTo>
                    <a:lnTo>
                      <a:pt x="1523" y="53"/>
                    </a:lnTo>
                    <a:lnTo>
                      <a:pt x="1405" y="27"/>
                    </a:lnTo>
                    <a:lnTo>
                      <a:pt x="128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1" name="Google Shape;2381;p45"/>
              <p:cNvSpPr/>
              <p:nvPr/>
            </p:nvSpPr>
            <p:spPr>
              <a:xfrm>
                <a:off x="3190311" y="2649295"/>
                <a:ext cx="207951" cy="36995"/>
              </a:xfrm>
              <a:custGeom>
                <a:avLst/>
                <a:gdLst/>
                <a:ahLst/>
                <a:cxnLst/>
                <a:rect l="l" t="t" r="r" b="b"/>
                <a:pathLst>
                  <a:path w="11585" h="2061" extrusionOk="0">
                    <a:moveTo>
                      <a:pt x="0" y="1"/>
                    </a:moveTo>
                    <a:lnTo>
                      <a:pt x="0" y="2060"/>
                    </a:lnTo>
                    <a:lnTo>
                      <a:pt x="11584" y="2060"/>
                    </a:lnTo>
                    <a:lnTo>
                      <a:pt x="1158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2" name="Google Shape;2382;p45"/>
              <p:cNvSpPr/>
              <p:nvPr/>
            </p:nvSpPr>
            <p:spPr>
              <a:xfrm>
                <a:off x="3126248" y="2733373"/>
                <a:ext cx="42183" cy="42165"/>
              </a:xfrm>
              <a:custGeom>
                <a:avLst/>
                <a:gdLst/>
                <a:ahLst/>
                <a:cxnLst/>
                <a:rect l="l" t="t" r="r" b="b"/>
                <a:pathLst>
                  <a:path w="2350" h="2349" extrusionOk="0">
                    <a:moveTo>
                      <a:pt x="1168" y="0"/>
                    </a:moveTo>
                    <a:lnTo>
                      <a:pt x="1050" y="13"/>
                    </a:lnTo>
                    <a:lnTo>
                      <a:pt x="932" y="26"/>
                    </a:lnTo>
                    <a:lnTo>
                      <a:pt x="814" y="66"/>
                    </a:lnTo>
                    <a:lnTo>
                      <a:pt x="709" y="105"/>
                    </a:lnTo>
                    <a:lnTo>
                      <a:pt x="604" y="144"/>
                    </a:lnTo>
                    <a:lnTo>
                      <a:pt x="512" y="210"/>
                    </a:lnTo>
                    <a:lnTo>
                      <a:pt x="421" y="276"/>
                    </a:lnTo>
                    <a:lnTo>
                      <a:pt x="342" y="354"/>
                    </a:lnTo>
                    <a:lnTo>
                      <a:pt x="263" y="433"/>
                    </a:lnTo>
                    <a:lnTo>
                      <a:pt x="198" y="525"/>
                    </a:lnTo>
                    <a:lnTo>
                      <a:pt x="132" y="617"/>
                    </a:lnTo>
                    <a:lnTo>
                      <a:pt x="93" y="722"/>
                    </a:lnTo>
                    <a:lnTo>
                      <a:pt x="53" y="827"/>
                    </a:lnTo>
                    <a:lnTo>
                      <a:pt x="14" y="945"/>
                    </a:lnTo>
                    <a:lnTo>
                      <a:pt x="1" y="1063"/>
                    </a:lnTo>
                    <a:lnTo>
                      <a:pt x="1" y="1181"/>
                    </a:lnTo>
                    <a:lnTo>
                      <a:pt x="1" y="1299"/>
                    </a:lnTo>
                    <a:lnTo>
                      <a:pt x="14" y="1417"/>
                    </a:lnTo>
                    <a:lnTo>
                      <a:pt x="53" y="1535"/>
                    </a:lnTo>
                    <a:lnTo>
                      <a:pt x="93" y="1640"/>
                    </a:lnTo>
                    <a:lnTo>
                      <a:pt x="132" y="1745"/>
                    </a:lnTo>
                    <a:lnTo>
                      <a:pt x="198" y="1837"/>
                    </a:lnTo>
                    <a:lnTo>
                      <a:pt x="263" y="1929"/>
                    </a:lnTo>
                    <a:lnTo>
                      <a:pt x="342" y="2007"/>
                    </a:lnTo>
                    <a:lnTo>
                      <a:pt x="421" y="2086"/>
                    </a:lnTo>
                    <a:lnTo>
                      <a:pt x="512" y="2152"/>
                    </a:lnTo>
                    <a:lnTo>
                      <a:pt x="604" y="2217"/>
                    </a:lnTo>
                    <a:lnTo>
                      <a:pt x="709" y="2257"/>
                    </a:lnTo>
                    <a:lnTo>
                      <a:pt x="814" y="2296"/>
                    </a:lnTo>
                    <a:lnTo>
                      <a:pt x="932" y="2335"/>
                    </a:lnTo>
                    <a:lnTo>
                      <a:pt x="1050" y="2348"/>
                    </a:lnTo>
                    <a:lnTo>
                      <a:pt x="1286" y="2348"/>
                    </a:lnTo>
                    <a:lnTo>
                      <a:pt x="1405" y="2335"/>
                    </a:lnTo>
                    <a:lnTo>
                      <a:pt x="1523" y="2296"/>
                    </a:lnTo>
                    <a:lnTo>
                      <a:pt x="1628" y="2257"/>
                    </a:lnTo>
                    <a:lnTo>
                      <a:pt x="1732" y="2217"/>
                    </a:lnTo>
                    <a:lnTo>
                      <a:pt x="1824" y="2152"/>
                    </a:lnTo>
                    <a:lnTo>
                      <a:pt x="1916" y="2086"/>
                    </a:lnTo>
                    <a:lnTo>
                      <a:pt x="1995" y="2007"/>
                    </a:lnTo>
                    <a:lnTo>
                      <a:pt x="2074" y="1929"/>
                    </a:lnTo>
                    <a:lnTo>
                      <a:pt x="2139" y="1837"/>
                    </a:lnTo>
                    <a:lnTo>
                      <a:pt x="2205" y="1745"/>
                    </a:lnTo>
                    <a:lnTo>
                      <a:pt x="2244" y="1640"/>
                    </a:lnTo>
                    <a:lnTo>
                      <a:pt x="2283" y="1535"/>
                    </a:lnTo>
                    <a:lnTo>
                      <a:pt x="2323" y="1417"/>
                    </a:lnTo>
                    <a:lnTo>
                      <a:pt x="2336" y="1299"/>
                    </a:lnTo>
                    <a:lnTo>
                      <a:pt x="2349" y="1181"/>
                    </a:lnTo>
                    <a:lnTo>
                      <a:pt x="2336" y="1063"/>
                    </a:lnTo>
                    <a:lnTo>
                      <a:pt x="2323" y="945"/>
                    </a:lnTo>
                    <a:lnTo>
                      <a:pt x="2283" y="827"/>
                    </a:lnTo>
                    <a:lnTo>
                      <a:pt x="2244" y="722"/>
                    </a:lnTo>
                    <a:lnTo>
                      <a:pt x="2205" y="617"/>
                    </a:lnTo>
                    <a:lnTo>
                      <a:pt x="2139" y="525"/>
                    </a:lnTo>
                    <a:lnTo>
                      <a:pt x="2074" y="433"/>
                    </a:lnTo>
                    <a:lnTo>
                      <a:pt x="1995" y="354"/>
                    </a:lnTo>
                    <a:lnTo>
                      <a:pt x="1916" y="276"/>
                    </a:lnTo>
                    <a:lnTo>
                      <a:pt x="1824" y="210"/>
                    </a:lnTo>
                    <a:lnTo>
                      <a:pt x="1732" y="144"/>
                    </a:lnTo>
                    <a:lnTo>
                      <a:pt x="1628" y="105"/>
                    </a:lnTo>
                    <a:lnTo>
                      <a:pt x="1523" y="66"/>
                    </a:lnTo>
                    <a:lnTo>
                      <a:pt x="1405" y="26"/>
                    </a:lnTo>
                    <a:lnTo>
                      <a:pt x="1286" y="13"/>
                    </a:lnTo>
                    <a:lnTo>
                      <a:pt x="116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3" name="Google Shape;2383;p45"/>
              <p:cNvSpPr/>
              <p:nvPr/>
            </p:nvSpPr>
            <p:spPr>
              <a:xfrm>
                <a:off x="3190311" y="2736191"/>
                <a:ext cx="207951" cy="36762"/>
              </a:xfrm>
              <a:custGeom>
                <a:avLst/>
                <a:gdLst/>
                <a:ahLst/>
                <a:cxnLst/>
                <a:rect l="l" t="t" r="r" b="b"/>
                <a:pathLst>
                  <a:path w="11585" h="2048" extrusionOk="0">
                    <a:moveTo>
                      <a:pt x="0" y="1"/>
                    </a:moveTo>
                    <a:lnTo>
                      <a:pt x="0" y="2047"/>
                    </a:lnTo>
                    <a:lnTo>
                      <a:pt x="11584" y="2047"/>
                    </a:lnTo>
                    <a:lnTo>
                      <a:pt x="11584"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4" name="Google Shape;2384;p45"/>
              <p:cNvSpPr/>
              <p:nvPr/>
            </p:nvSpPr>
            <p:spPr>
              <a:xfrm>
                <a:off x="3076562" y="2367193"/>
                <a:ext cx="371386" cy="18"/>
              </a:xfrm>
              <a:custGeom>
                <a:avLst/>
                <a:gdLst/>
                <a:ahLst/>
                <a:cxnLst/>
                <a:rect l="l" t="t" r="r" b="b"/>
                <a:pathLst>
                  <a:path w="20690" h="1" fill="none" extrusionOk="0">
                    <a:moveTo>
                      <a:pt x="1" y="0"/>
                    </a:moveTo>
                    <a:lnTo>
                      <a:pt x="20689" y="0"/>
                    </a:lnTo>
                  </a:path>
                </a:pathLst>
              </a:custGeom>
              <a:noFill/>
              <a:ln w="557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5" name="Google Shape;2385;p45"/>
              <p:cNvSpPr/>
              <p:nvPr/>
            </p:nvSpPr>
            <p:spPr>
              <a:xfrm>
                <a:off x="3076562" y="2596073"/>
                <a:ext cx="371386" cy="18"/>
              </a:xfrm>
              <a:custGeom>
                <a:avLst/>
                <a:gdLst/>
                <a:ahLst/>
                <a:cxnLst/>
                <a:rect l="l" t="t" r="r" b="b"/>
                <a:pathLst>
                  <a:path w="20690" h="1" fill="none" extrusionOk="0">
                    <a:moveTo>
                      <a:pt x="1" y="1"/>
                    </a:moveTo>
                    <a:lnTo>
                      <a:pt x="20689" y="1"/>
                    </a:lnTo>
                  </a:path>
                </a:pathLst>
              </a:custGeom>
              <a:noFill/>
              <a:ln w="557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6" name="Google Shape;2386;p45"/>
              <p:cNvSpPr/>
              <p:nvPr/>
            </p:nvSpPr>
            <p:spPr>
              <a:xfrm>
                <a:off x="3076562" y="2813663"/>
                <a:ext cx="371386" cy="18"/>
              </a:xfrm>
              <a:custGeom>
                <a:avLst/>
                <a:gdLst/>
                <a:ahLst/>
                <a:cxnLst/>
                <a:rect l="l" t="t" r="r" b="b"/>
                <a:pathLst>
                  <a:path w="20690" h="1" fill="none" extrusionOk="0">
                    <a:moveTo>
                      <a:pt x="1" y="1"/>
                    </a:moveTo>
                    <a:lnTo>
                      <a:pt x="20689" y="1"/>
                    </a:lnTo>
                  </a:path>
                </a:pathLst>
              </a:custGeom>
              <a:noFill/>
              <a:ln w="5575" cap="rnd"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7" name="Google Shape;2387;p45"/>
              <p:cNvSpPr/>
              <p:nvPr/>
            </p:nvSpPr>
            <p:spPr>
              <a:xfrm>
                <a:off x="3128133" y="2857461"/>
                <a:ext cx="134248" cy="36995"/>
              </a:xfrm>
              <a:custGeom>
                <a:avLst/>
                <a:gdLst/>
                <a:ahLst/>
                <a:cxnLst/>
                <a:rect l="l" t="t" r="r" b="b"/>
                <a:pathLst>
                  <a:path w="7479" h="2061" extrusionOk="0">
                    <a:moveTo>
                      <a:pt x="1" y="1"/>
                    </a:moveTo>
                    <a:lnTo>
                      <a:pt x="1" y="2061"/>
                    </a:lnTo>
                    <a:lnTo>
                      <a:pt x="7479" y="2061"/>
                    </a:lnTo>
                    <a:lnTo>
                      <a:pt x="747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8" name="Google Shape;2388;p45"/>
              <p:cNvSpPr/>
              <p:nvPr/>
            </p:nvSpPr>
            <p:spPr>
              <a:xfrm>
                <a:off x="3128133" y="2922691"/>
                <a:ext cx="134248" cy="36762"/>
              </a:xfrm>
              <a:custGeom>
                <a:avLst/>
                <a:gdLst/>
                <a:ahLst/>
                <a:cxnLst/>
                <a:rect l="l" t="t" r="r" b="b"/>
                <a:pathLst>
                  <a:path w="7479" h="2048" extrusionOk="0">
                    <a:moveTo>
                      <a:pt x="1" y="1"/>
                    </a:moveTo>
                    <a:lnTo>
                      <a:pt x="1" y="2047"/>
                    </a:lnTo>
                    <a:lnTo>
                      <a:pt x="7479" y="2047"/>
                    </a:lnTo>
                    <a:lnTo>
                      <a:pt x="747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9" name="Google Shape;2389;p45"/>
              <p:cNvSpPr/>
              <p:nvPr/>
            </p:nvSpPr>
            <p:spPr>
              <a:xfrm>
                <a:off x="3128133" y="2987688"/>
                <a:ext cx="134248" cy="36762"/>
              </a:xfrm>
              <a:custGeom>
                <a:avLst/>
                <a:gdLst/>
                <a:ahLst/>
                <a:cxnLst/>
                <a:rect l="l" t="t" r="r" b="b"/>
                <a:pathLst>
                  <a:path w="7479" h="2048" extrusionOk="0">
                    <a:moveTo>
                      <a:pt x="1" y="1"/>
                    </a:moveTo>
                    <a:lnTo>
                      <a:pt x="1" y="2047"/>
                    </a:lnTo>
                    <a:lnTo>
                      <a:pt x="7479" y="2047"/>
                    </a:lnTo>
                    <a:lnTo>
                      <a:pt x="747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0" name="Google Shape;2390;p45"/>
              <p:cNvSpPr/>
              <p:nvPr/>
            </p:nvSpPr>
            <p:spPr>
              <a:xfrm>
                <a:off x="3128133" y="3052685"/>
                <a:ext cx="134248" cy="36995"/>
              </a:xfrm>
              <a:custGeom>
                <a:avLst/>
                <a:gdLst/>
                <a:ahLst/>
                <a:cxnLst/>
                <a:rect l="l" t="t" r="r" b="b"/>
                <a:pathLst>
                  <a:path w="7479" h="2061" extrusionOk="0">
                    <a:moveTo>
                      <a:pt x="1" y="1"/>
                    </a:moveTo>
                    <a:lnTo>
                      <a:pt x="1" y="2060"/>
                    </a:lnTo>
                    <a:lnTo>
                      <a:pt x="7479" y="2060"/>
                    </a:lnTo>
                    <a:lnTo>
                      <a:pt x="747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1" name="Google Shape;2391;p45"/>
              <p:cNvSpPr/>
              <p:nvPr/>
            </p:nvSpPr>
            <p:spPr>
              <a:xfrm>
                <a:off x="3128133" y="3117916"/>
                <a:ext cx="134248" cy="36762"/>
              </a:xfrm>
              <a:custGeom>
                <a:avLst/>
                <a:gdLst/>
                <a:ahLst/>
                <a:cxnLst/>
                <a:rect l="l" t="t" r="r" b="b"/>
                <a:pathLst>
                  <a:path w="7479" h="2048" extrusionOk="0">
                    <a:moveTo>
                      <a:pt x="1" y="1"/>
                    </a:moveTo>
                    <a:lnTo>
                      <a:pt x="1" y="2047"/>
                    </a:lnTo>
                    <a:lnTo>
                      <a:pt x="7479" y="2047"/>
                    </a:lnTo>
                    <a:lnTo>
                      <a:pt x="747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2" name="Google Shape;2392;p45"/>
              <p:cNvSpPr/>
              <p:nvPr/>
            </p:nvSpPr>
            <p:spPr>
              <a:xfrm>
                <a:off x="3128133" y="3182913"/>
                <a:ext cx="134248" cy="36744"/>
              </a:xfrm>
              <a:custGeom>
                <a:avLst/>
                <a:gdLst/>
                <a:ahLst/>
                <a:cxnLst/>
                <a:rect l="l" t="t" r="r" b="b"/>
                <a:pathLst>
                  <a:path w="7479" h="2047" extrusionOk="0">
                    <a:moveTo>
                      <a:pt x="1" y="0"/>
                    </a:moveTo>
                    <a:lnTo>
                      <a:pt x="1" y="2047"/>
                    </a:lnTo>
                    <a:lnTo>
                      <a:pt x="7479" y="2047"/>
                    </a:lnTo>
                    <a:lnTo>
                      <a:pt x="747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393" name="Google Shape;2393;p45"/>
            <p:cNvGrpSpPr/>
            <p:nvPr/>
          </p:nvGrpSpPr>
          <p:grpSpPr>
            <a:xfrm>
              <a:off x="4962121" y="2452285"/>
              <a:ext cx="1066388" cy="666717"/>
              <a:chOff x="5097171" y="2413221"/>
              <a:chExt cx="931587" cy="582388"/>
            </a:xfrm>
          </p:grpSpPr>
          <p:sp>
            <p:nvSpPr>
              <p:cNvPr id="2394" name="Google Shape;2394;p45"/>
              <p:cNvSpPr/>
              <p:nvPr/>
            </p:nvSpPr>
            <p:spPr>
              <a:xfrm>
                <a:off x="5097171" y="2465743"/>
                <a:ext cx="931587" cy="529866"/>
              </a:xfrm>
              <a:custGeom>
                <a:avLst/>
                <a:gdLst/>
                <a:ahLst/>
                <a:cxnLst/>
                <a:rect l="l" t="t" r="r" b="b"/>
                <a:pathLst>
                  <a:path w="51899" h="29519" extrusionOk="0">
                    <a:moveTo>
                      <a:pt x="0" y="1"/>
                    </a:moveTo>
                    <a:lnTo>
                      <a:pt x="0" y="29518"/>
                    </a:lnTo>
                    <a:lnTo>
                      <a:pt x="51899" y="29518"/>
                    </a:lnTo>
                    <a:lnTo>
                      <a:pt x="5189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5" name="Google Shape;2395;p45"/>
              <p:cNvSpPr/>
              <p:nvPr/>
            </p:nvSpPr>
            <p:spPr>
              <a:xfrm>
                <a:off x="5097171" y="2465743"/>
                <a:ext cx="931587" cy="529866"/>
              </a:xfrm>
              <a:custGeom>
                <a:avLst/>
                <a:gdLst/>
                <a:ahLst/>
                <a:cxnLst/>
                <a:rect l="l" t="t" r="r" b="b"/>
                <a:pathLst>
                  <a:path w="51899" h="29519" fill="none" extrusionOk="0">
                    <a:moveTo>
                      <a:pt x="51899" y="29518"/>
                    </a:moveTo>
                    <a:lnTo>
                      <a:pt x="0" y="29518"/>
                    </a:lnTo>
                    <a:lnTo>
                      <a:pt x="0" y="1"/>
                    </a:lnTo>
                    <a:lnTo>
                      <a:pt x="51899" y="1"/>
                    </a:lnTo>
                    <a:lnTo>
                      <a:pt x="51899" y="2951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6" name="Google Shape;2396;p45"/>
              <p:cNvSpPr/>
              <p:nvPr/>
            </p:nvSpPr>
            <p:spPr>
              <a:xfrm>
                <a:off x="5097171" y="2865364"/>
                <a:ext cx="931587" cy="130245"/>
              </a:xfrm>
              <a:custGeom>
                <a:avLst/>
                <a:gdLst/>
                <a:ahLst/>
                <a:cxnLst/>
                <a:rect l="l" t="t" r="r" b="b"/>
                <a:pathLst>
                  <a:path w="51899" h="7256" extrusionOk="0">
                    <a:moveTo>
                      <a:pt x="0" y="0"/>
                    </a:moveTo>
                    <a:lnTo>
                      <a:pt x="0" y="7255"/>
                    </a:lnTo>
                    <a:lnTo>
                      <a:pt x="51899" y="7255"/>
                    </a:lnTo>
                    <a:lnTo>
                      <a:pt x="5189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7" name="Google Shape;2397;p45"/>
              <p:cNvSpPr/>
              <p:nvPr/>
            </p:nvSpPr>
            <p:spPr>
              <a:xfrm>
                <a:off x="5125658" y="2917885"/>
                <a:ext cx="745338" cy="24968"/>
              </a:xfrm>
              <a:custGeom>
                <a:avLst/>
                <a:gdLst/>
                <a:ahLst/>
                <a:cxnLst/>
                <a:rect l="l" t="t" r="r" b="b"/>
                <a:pathLst>
                  <a:path w="41523" h="1391" extrusionOk="0">
                    <a:moveTo>
                      <a:pt x="1" y="0"/>
                    </a:moveTo>
                    <a:lnTo>
                      <a:pt x="1" y="1391"/>
                    </a:lnTo>
                    <a:lnTo>
                      <a:pt x="41522" y="1391"/>
                    </a:lnTo>
                    <a:lnTo>
                      <a:pt x="41522"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8" name="Google Shape;2398;p45"/>
              <p:cNvSpPr/>
              <p:nvPr/>
            </p:nvSpPr>
            <p:spPr>
              <a:xfrm>
                <a:off x="5125658" y="2917885"/>
                <a:ext cx="372552" cy="24968"/>
              </a:xfrm>
              <a:custGeom>
                <a:avLst/>
                <a:gdLst/>
                <a:ahLst/>
                <a:cxnLst/>
                <a:rect l="l" t="t" r="r" b="b"/>
                <a:pathLst>
                  <a:path w="20755" h="1391" extrusionOk="0">
                    <a:moveTo>
                      <a:pt x="1" y="0"/>
                    </a:moveTo>
                    <a:lnTo>
                      <a:pt x="1" y="1391"/>
                    </a:lnTo>
                    <a:lnTo>
                      <a:pt x="20755" y="1391"/>
                    </a:lnTo>
                    <a:lnTo>
                      <a:pt x="2075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9" name="Google Shape;2399;p45"/>
              <p:cNvSpPr/>
              <p:nvPr/>
            </p:nvSpPr>
            <p:spPr>
              <a:xfrm>
                <a:off x="5956689" y="2917885"/>
                <a:ext cx="11093" cy="6139"/>
              </a:xfrm>
              <a:custGeom>
                <a:avLst/>
                <a:gdLst/>
                <a:ahLst/>
                <a:cxnLst/>
                <a:rect l="l" t="t" r="r" b="b"/>
                <a:pathLst>
                  <a:path w="618" h="342" extrusionOk="0">
                    <a:moveTo>
                      <a:pt x="1" y="0"/>
                    </a:moveTo>
                    <a:lnTo>
                      <a:pt x="1" y="341"/>
                    </a:lnTo>
                    <a:lnTo>
                      <a:pt x="171" y="341"/>
                    </a:lnTo>
                    <a:lnTo>
                      <a:pt x="171" y="184"/>
                    </a:lnTo>
                    <a:lnTo>
                      <a:pt x="617" y="184"/>
                    </a:lnTo>
                    <a:lnTo>
                      <a:pt x="61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0" name="Google Shape;2400;p45"/>
              <p:cNvSpPr/>
              <p:nvPr/>
            </p:nvSpPr>
            <p:spPr>
              <a:xfrm>
                <a:off x="5989196" y="2917885"/>
                <a:ext cx="11075" cy="6139"/>
              </a:xfrm>
              <a:custGeom>
                <a:avLst/>
                <a:gdLst/>
                <a:ahLst/>
                <a:cxnLst/>
                <a:rect l="l" t="t" r="r" b="b"/>
                <a:pathLst>
                  <a:path w="617" h="342" extrusionOk="0">
                    <a:moveTo>
                      <a:pt x="0" y="0"/>
                    </a:moveTo>
                    <a:lnTo>
                      <a:pt x="0" y="184"/>
                    </a:lnTo>
                    <a:lnTo>
                      <a:pt x="446" y="184"/>
                    </a:lnTo>
                    <a:lnTo>
                      <a:pt x="446" y="341"/>
                    </a:lnTo>
                    <a:lnTo>
                      <a:pt x="617" y="341"/>
                    </a:lnTo>
                    <a:lnTo>
                      <a:pt x="617"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1" name="Google Shape;2401;p45"/>
              <p:cNvSpPr/>
              <p:nvPr/>
            </p:nvSpPr>
            <p:spPr>
              <a:xfrm>
                <a:off x="5989196" y="2936948"/>
                <a:ext cx="11075" cy="5906"/>
              </a:xfrm>
              <a:custGeom>
                <a:avLst/>
                <a:gdLst/>
                <a:ahLst/>
                <a:cxnLst/>
                <a:rect l="l" t="t" r="r" b="b"/>
                <a:pathLst>
                  <a:path w="617" h="329" extrusionOk="0">
                    <a:moveTo>
                      <a:pt x="446" y="1"/>
                    </a:moveTo>
                    <a:lnTo>
                      <a:pt x="446" y="158"/>
                    </a:lnTo>
                    <a:lnTo>
                      <a:pt x="0" y="158"/>
                    </a:lnTo>
                    <a:lnTo>
                      <a:pt x="0" y="329"/>
                    </a:lnTo>
                    <a:lnTo>
                      <a:pt x="617" y="329"/>
                    </a:lnTo>
                    <a:lnTo>
                      <a:pt x="617"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2" name="Google Shape;2402;p45"/>
              <p:cNvSpPr/>
              <p:nvPr/>
            </p:nvSpPr>
            <p:spPr>
              <a:xfrm>
                <a:off x="5956689" y="2936948"/>
                <a:ext cx="11093" cy="5906"/>
              </a:xfrm>
              <a:custGeom>
                <a:avLst/>
                <a:gdLst/>
                <a:ahLst/>
                <a:cxnLst/>
                <a:rect l="l" t="t" r="r" b="b"/>
                <a:pathLst>
                  <a:path w="618" h="329" extrusionOk="0">
                    <a:moveTo>
                      <a:pt x="1" y="1"/>
                    </a:moveTo>
                    <a:lnTo>
                      <a:pt x="1" y="329"/>
                    </a:lnTo>
                    <a:lnTo>
                      <a:pt x="617" y="329"/>
                    </a:lnTo>
                    <a:lnTo>
                      <a:pt x="617" y="158"/>
                    </a:lnTo>
                    <a:lnTo>
                      <a:pt x="171" y="158"/>
                    </a:lnTo>
                    <a:lnTo>
                      <a:pt x="171"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3" name="Google Shape;2403;p45"/>
              <p:cNvSpPr/>
              <p:nvPr/>
            </p:nvSpPr>
            <p:spPr>
              <a:xfrm>
                <a:off x="5890292" y="2917885"/>
                <a:ext cx="47101" cy="24968"/>
              </a:xfrm>
              <a:custGeom>
                <a:avLst/>
                <a:gdLst/>
                <a:ahLst/>
                <a:cxnLst/>
                <a:rect l="l" t="t" r="r" b="b"/>
                <a:pathLst>
                  <a:path w="2624" h="1391" extrusionOk="0">
                    <a:moveTo>
                      <a:pt x="0" y="0"/>
                    </a:moveTo>
                    <a:lnTo>
                      <a:pt x="0" y="1391"/>
                    </a:lnTo>
                    <a:lnTo>
                      <a:pt x="2624" y="1391"/>
                    </a:lnTo>
                    <a:lnTo>
                      <a:pt x="2624"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4" name="Google Shape;2404;p45"/>
              <p:cNvSpPr/>
              <p:nvPr/>
            </p:nvSpPr>
            <p:spPr>
              <a:xfrm>
                <a:off x="5907237" y="2922121"/>
                <a:ext cx="15796" cy="16729"/>
              </a:xfrm>
              <a:custGeom>
                <a:avLst/>
                <a:gdLst/>
                <a:ahLst/>
                <a:cxnLst/>
                <a:rect l="l" t="t" r="r" b="b"/>
                <a:pathLst>
                  <a:path w="880" h="932" extrusionOk="0">
                    <a:moveTo>
                      <a:pt x="1" y="0"/>
                    </a:moveTo>
                    <a:lnTo>
                      <a:pt x="1" y="459"/>
                    </a:lnTo>
                    <a:lnTo>
                      <a:pt x="1" y="932"/>
                    </a:lnTo>
                    <a:lnTo>
                      <a:pt x="447" y="695"/>
                    </a:lnTo>
                    <a:lnTo>
                      <a:pt x="880" y="459"/>
                    </a:lnTo>
                    <a:lnTo>
                      <a:pt x="447" y="223"/>
                    </a:lnTo>
                    <a:lnTo>
                      <a:pt x="1"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5" name="Google Shape;2405;p45"/>
              <p:cNvSpPr/>
              <p:nvPr/>
            </p:nvSpPr>
            <p:spPr>
              <a:xfrm>
                <a:off x="5097171" y="2413221"/>
                <a:ext cx="931587" cy="52540"/>
              </a:xfrm>
              <a:custGeom>
                <a:avLst/>
                <a:gdLst/>
                <a:ahLst/>
                <a:cxnLst/>
                <a:rect l="l" t="t" r="r" b="b"/>
                <a:pathLst>
                  <a:path w="51899" h="2927" extrusionOk="0">
                    <a:moveTo>
                      <a:pt x="0" y="1"/>
                    </a:moveTo>
                    <a:lnTo>
                      <a:pt x="0" y="2927"/>
                    </a:lnTo>
                    <a:lnTo>
                      <a:pt x="51899" y="2927"/>
                    </a:lnTo>
                    <a:lnTo>
                      <a:pt x="5189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6" name="Google Shape;2406;p45"/>
              <p:cNvSpPr/>
              <p:nvPr/>
            </p:nvSpPr>
            <p:spPr>
              <a:xfrm>
                <a:off x="5343966" y="2582777"/>
                <a:ext cx="438016" cy="207484"/>
              </a:xfrm>
              <a:custGeom>
                <a:avLst/>
                <a:gdLst/>
                <a:ahLst/>
                <a:cxnLst/>
                <a:rect l="l" t="t" r="r" b="b"/>
                <a:pathLst>
                  <a:path w="24402" h="11559" extrusionOk="0">
                    <a:moveTo>
                      <a:pt x="5431" y="1"/>
                    </a:moveTo>
                    <a:lnTo>
                      <a:pt x="5143" y="27"/>
                    </a:lnTo>
                    <a:lnTo>
                      <a:pt x="4854" y="66"/>
                    </a:lnTo>
                    <a:lnTo>
                      <a:pt x="4565" y="119"/>
                    </a:lnTo>
                    <a:lnTo>
                      <a:pt x="4290" y="184"/>
                    </a:lnTo>
                    <a:lnTo>
                      <a:pt x="4014" y="263"/>
                    </a:lnTo>
                    <a:lnTo>
                      <a:pt x="3752" y="355"/>
                    </a:lnTo>
                    <a:lnTo>
                      <a:pt x="3490" y="460"/>
                    </a:lnTo>
                    <a:lnTo>
                      <a:pt x="3240" y="578"/>
                    </a:lnTo>
                    <a:lnTo>
                      <a:pt x="2991" y="709"/>
                    </a:lnTo>
                    <a:lnTo>
                      <a:pt x="2742" y="840"/>
                    </a:lnTo>
                    <a:lnTo>
                      <a:pt x="2519" y="998"/>
                    </a:lnTo>
                    <a:lnTo>
                      <a:pt x="2296" y="1155"/>
                    </a:lnTo>
                    <a:lnTo>
                      <a:pt x="2073" y="1326"/>
                    </a:lnTo>
                    <a:lnTo>
                      <a:pt x="1863" y="1509"/>
                    </a:lnTo>
                    <a:lnTo>
                      <a:pt x="1666" y="1706"/>
                    </a:lnTo>
                    <a:lnTo>
                      <a:pt x="1483" y="1903"/>
                    </a:lnTo>
                    <a:lnTo>
                      <a:pt x="1299" y="2113"/>
                    </a:lnTo>
                    <a:lnTo>
                      <a:pt x="1128" y="2336"/>
                    </a:lnTo>
                    <a:lnTo>
                      <a:pt x="971" y="2559"/>
                    </a:lnTo>
                    <a:lnTo>
                      <a:pt x="813" y="2795"/>
                    </a:lnTo>
                    <a:lnTo>
                      <a:pt x="682" y="3031"/>
                    </a:lnTo>
                    <a:lnTo>
                      <a:pt x="551" y="3280"/>
                    </a:lnTo>
                    <a:lnTo>
                      <a:pt x="446" y="3530"/>
                    </a:lnTo>
                    <a:lnTo>
                      <a:pt x="341" y="3792"/>
                    </a:lnTo>
                    <a:lnTo>
                      <a:pt x="249" y="4068"/>
                    </a:lnTo>
                    <a:lnTo>
                      <a:pt x="171" y="4343"/>
                    </a:lnTo>
                    <a:lnTo>
                      <a:pt x="105" y="4619"/>
                    </a:lnTo>
                    <a:lnTo>
                      <a:pt x="66" y="4894"/>
                    </a:lnTo>
                    <a:lnTo>
                      <a:pt x="26" y="5183"/>
                    </a:lnTo>
                    <a:lnTo>
                      <a:pt x="0" y="5471"/>
                    </a:lnTo>
                    <a:lnTo>
                      <a:pt x="0" y="5773"/>
                    </a:lnTo>
                    <a:lnTo>
                      <a:pt x="13" y="6075"/>
                    </a:lnTo>
                    <a:lnTo>
                      <a:pt x="26" y="6363"/>
                    </a:lnTo>
                    <a:lnTo>
                      <a:pt x="66" y="6652"/>
                    </a:lnTo>
                    <a:lnTo>
                      <a:pt x="118" y="6928"/>
                    </a:lnTo>
                    <a:lnTo>
                      <a:pt x="184" y="7203"/>
                    </a:lnTo>
                    <a:lnTo>
                      <a:pt x="262" y="7479"/>
                    </a:lnTo>
                    <a:lnTo>
                      <a:pt x="354" y="7741"/>
                    </a:lnTo>
                    <a:lnTo>
                      <a:pt x="459" y="8003"/>
                    </a:lnTo>
                    <a:lnTo>
                      <a:pt x="577" y="8266"/>
                    </a:lnTo>
                    <a:lnTo>
                      <a:pt x="708" y="8515"/>
                    </a:lnTo>
                    <a:lnTo>
                      <a:pt x="853" y="8751"/>
                    </a:lnTo>
                    <a:lnTo>
                      <a:pt x="997" y="8987"/>
                    </a:lnTo>
                    <a:lnTo>
                      <a:pt x="1155" y="9210"/>
                    </a:lnTo>
                    <a:lnTo>
                      <a:pt x="1338" y="9420"/>
                    </a:lnTo>
                    <a:lnTo>
                      <a:pt x="1509" y="9630"/>
                    </a:lnTo>
                    <a:lnTo>
                      <a:pt x="1706" y="9827"/>
                    </a:lnTo>
                    <a:lnTo>
                      <a:pt x="1902" y="10024"/>
                    </a:lnTo>
                    <a:lnTo>
                      <a:pt x="2112" y="10194"/>
                    </a:lnTo>
                    <a:lnTo>
                      <a:pt x="2335" y="10365"/>
                    </a:lnTo>
                    <a:lnTo>
                      <a:pt x="2558" y="10522"/>
                    </a:lnTo>
                    <a:lnTo>
                      <a:pt x="2794" y="10680"/>
                    </a:lnTo>
                    <a:lnTo>
                      <a:pt x="3031" y="10811"/>
                    </a:lnTo>
                    <a:lnTo>
                      <a:pt x="3280" y="10942"/>
                    </a:lnTo>
                    <a:lnTo>
                      <a:pt x="3542" y="11060"/>
                    </a:lnTo>
                    <a:lnTo>
                      <a:pt x="3805" y="11152"/>
                    </a:lnTo>
                    <a:lnTo>
                      <a:pt x="4067" y="11244"/>
                    </a:lnTo>
                    <a:lnTo>
                      <a:pt x="4342" y="11322"/>
                    </a:lnTo>
                    <a:lnTo>
                      <a:pt x="4618" y="11388"/>
                    </a:lnTo>
                    <a:lnTo>
                      <a:pt x="4907" y="11440"/>
                    </a:lnTo>
                    <a:lnTo>
                      <a:pt x="5195" y="11467"/>
                    </a:lnTo>
                    <a:lnTo>
                      <a:pt x="5484" y="11493"/>
                    </a:lnTo>
                    <a:lnTo>
                      <a:pt x="6061" y="11493"/>
                    </a:lnTo>
                    <a:lnTo>
                      <a:pt x="6337" y="11467"/>
                    </a:lnTo>
                    <a:lnTo>
                      <a:pt x="6612" y="11427"/>
                    </a:lnTo>
                    <a:lnTo>
                      <a:pt x="6888" y="11388"/>
                    </a:lnTo>
                    <a:lnTo>
                      <a:pt x="7150" y="11322"/>
                    </a:lnTo>
                    <a:lnTo>
                      <a:pt x="7412" y="11244"/>
                    </a:lnTo>
                    <a:lnTo>
                      <a:pt x="7675" y="11165"/>
                    </a:lnTo>
                    <a:lnTo>
                      <a:pt x="7924" y="11060"/>
                    </a:lnTo>
                    <a:lnTo>
                      <a:pt x="8173" y="10955"/>
                    </a:lnTo>
                    <a:lnTo>
                      <a:pt x="8409" y="10837"/>
                    </a:lnTo>
                    <a:lnTo>
                      <a:pt x="8645" y="10706"/>
                    </a:lnTo>
                    <a:lnTo>
                      <a:pt x="8868" y="10561"/>
                    </a:lnTo>
                    <a:lnTo>
                      <a:pt x="9092" y="10404"/>
                    </a:lnTo>
                    <a:lnTo>
                      <a:pt x="9301" y="10247"/>
                    </a:lnTo>
                    <a:lnTo>
                      <a:pt x="9511" y="10076"/>
                    </a:lnTo>
                    <a:lnTo>
                      <a:pt x="9708" y="9892"/>
                    </a:lnTo>
                    <a:lnTo>
                      <a:pt x="9905" y="9709"/>
                    </a:lnTo>
                    <a:lnTo>
                      <a:pt x="10075" y="9512"/>
                    </a:lnTo>
                    <a:lnTo>
                      <a:pt x="10246" y="9302"/>
                    </a:lnTo>
                    <a:lnTo>
                      <a:pt x="10417" y="9092"/>
                    </a:lnTo>
                    <a:lnTo>
                      <a:pt x="10561" y="8869"/>
                    </a:lnTo>
                    <a:lnTo>
                      <a:pt x="10705" y="8646"/>
                    </a:lnTo>
                    <a:lnTo>
                      <a:pt x="10836" y="8410"/>
                    </a:lnTo>
                    <a:lnTo>
                      <a:pt x="10954" y="8161"/>
                    </a:lnTo>
                    <a:lnTo>
                      <a:pt x="11059" y="7925"/>
                    </a:lnTo>
                    <a:lnTo>
                      <a:pt x="11164" y="7662"/>
                    </a:lnTo>
                    <a:lnTo>
                      <a:pt x="11243" y="7413"/>
                    </a:lnTo>
                    <a:lnTo>
                      <a:pt x="11322" y="7137"/>
                    </a:lnTo>
                    <a:lnTo>
                      <a:pt x="11387" y="6875"/>
                    </a:lnTo>
                    <a:lnTo>
                      <a:pt x="11427" y="6600"/>
                    </a:lnTo>
                    <a:lnTo>
                      <a:pt x="11466" y="6324"/>
                    </a:lnTo>
                    <a:lnTo>
                      <a:pt x="11492" y="6049"/>
                    </a:lnTo>
                    <a:lnTo>
                      <a:pt x="11623" y="5996"/>
                    </a:lnTo>
                    <a:lnTo>
                      <a:pt x="11781" y="5944"/>
                    </a:lnTo>
                    <a:lnTo>
                      <a:pt x="11978" y="5917"/>
                    </a:lnTo>
                    <a:lnTo>
                      <a:pt x="12188" y="5904"/>
                    </a:lnTo>
                    <a:lnTo>
                      <a:pt x="12358" y="5904"/>
                    </a:lnTo>
                    <a:lnTo>
                      <a:pt x="12542" y="5930"/>
                    </a:lnTo>
                    <a:lnTo>
                      <a:pt x="12725" y="5970"/>
                    </a:lnTo>
                    <a:lnTo>
                      <a:pt x="12909" y="6022"/>
                    </a:lnTo>
                    <a:lnTo>
                      <a:pt x="12922" y="6311"/>
                    </a:lnTo>
                    <a:lnTo>
                      <a:pt x="12962" y="6600"/>
                    </a:lnTo>
                    <a:lnTo>
                      <a:pt x="13001" y="6875"/>
                    </a:lnTo>
                    <a:lnTo>
                      <a:pt x="13067" y="7151"/>
                    </a:lnTo>
                    <a:lnTo>
                      <a:pt x="13132" y="7426"/>
                    </a:lnTo>
                    <a:lnTo>
                      <a:pt x="13224" y="7688"/>
                    </a:lnTo>
                    <a:lnTo>
                      <a:pt x="13316" y="7951"/>
                    </a:lnTo>
                    <a:lnTo>
                      <a:pt x="13434" y="8200"/>
                    </a:lnTo>
                    <a:lnTo>
                      <a:pt x="13552" y="8449"/>
                    </a:lnTo>
                    <a:lnTo>
                      <a:pt x="13683" y="8685"/>
                    </a:lnTo>
                    <a:lnTo>
                      <a:pt x="13814" y="8922"/>
                    </a:lnTo>
                    <a:lnTo>
                      <a:pt x="13972" y="9145"/>
                    </a:lnTo>
                    <a:lnTo>
                      <a:pt x="14129" y="9355"/>
                    </a:lnTo>
                    <a:lnTo>
                      <a:pt x="14313" y="9564"/>
                    </a:lnTo>
                    <a:lnTo>
                      <a:pt x="14483" y="9774"/>
                    </a:lnTo>
                    <a:lnTo>
                      <a:pt x="14680" y="9958"/>
                    </a:lnTo>
                    <a:lnTo>
                      <a:pt x="14877" y="10142"/>
                    </a:lnTo>
                    <a:lnTo>
                      <a:pt x="15087" y="10312"/>
                    </a:lnTo>
                    <a:lnTo>
                      <a:pt x="15297" y="10483"/>
                    </a:lnTo>
                    <a:lnTo>
                      <a:pt x="15520" y="10627"/>
                    </a:lnTo>
                    <a:lnTo>
                      <a:pt x="15756" y="10771"/>
                    </a:lnTo>
                    <a:lnTo>
                      <a:pt x="15992" y="10903"/>
                    </a:lnTo>
                    <a:lnTo>
                      <a:pt x="16241" y="11034"/>
                    </a:lnTo>
                    <a:lnTo>
                      <a:pt x="16491" y="11139"/>
                    </a:lnTo>
                    <a:lnTo>
                      <a:pt x="16740" y="11231"/>
                    </a:lnTo>
                    <a:lnTo>
                      <a:pt x="17002" y="11322"/>
                    </a:lnTo>
                    <a:lnTo>
                      <a:pt x="17278" y="11388"/>
                    </a:lnTo>
                    <a:lnTo>
                      <a:pt x="17553" y="11454"/>
                    </a:lnTo>
                    <a:lnTo>
                      <a:pt x="17829" y="11506"/>
                    </a:lnTo>
                    <a:lnTo>
                      <a:pt x="18104" y="11532"/>
                    </a:lnTo>
                    <a:lnTo>
                      <a:pt x="18393" y="11559"/>
                    </a:lnTo>
                    <a:lnTo>
                      <a:pt x="18681" y="11559"/>
                    </a:lnTo>
                    <a:lnTo>
                      <a:pt x="18970" y="11545"/>
                    </a:lnTo>
                    <a:lnTo>
                      <a:pt x="19272" y="11532"/>
                    </a:lnTo>
                    <a:lnTo>
                      <a:pt x="19560" y="11493"/>
                    </a:lnTo>
                    <a:lnTo>
                      <a:pt x="19836" y="11440"/>
                    </a:lnTo>
                    <a:lnTo>
                      <a:pt x="20111" y="11375"/>
                    </a:lnTo>
                    <a:lnTo>
                      <a:pt x="20387" y="11296"/>
                    </a:lnTo>
                    <a:lnTo>
                      <a:pt x="20649" y="11204"/>
                    </a:lnTo>
                    <a:lnTo>
                      <a:pt x="20912" y="11099"/>
                    </a:lnTo>
                    <a:lnTo>
                      <a:pt x="21174" y="10981"/>
                    </a:lnTo>
                    <a:lnTo>
                      <a:pt x="21410" y="10850"/>
                    </a:lnTo>
                    <a:lnTo>
                      <a:pt x="21659" y="10719"/>
                    </a:lnTo>
                    <a:lnTo>
                      <a:pt x="21882" y="10561"/>
                    </a:lnTo>
                    <a:lnTo>
                      <a:pt x="22119" y="10404"/>
                    </a:lnTo>
                    <a:lnTo>
                      <a:pt x="22329" y="10234"/>
                    </a:lnTo>
                    <a:lnTo>
                      <a:pt x="22538" y="10050"/>
                    </a:lnTo>
                    <a:lnTo>
                      <a:pt x="22735" y="9853"/>
                    </a:lnTo>
                    <a:lnTo>
                      <a:pt x="22932" y="9656"/>
                    </a:lnTo>
                    <a:lnTo>
                      <a:pt x="23103" y="9446"/>
                    </a:lnTo>
                    <a:lnTo>
                      <a:pt x="23273" y="9223"/>
                    </a:lnTo>
                    <a:lnTo>
                      <a:pt x="23431" y="9000"/>
                    </a:lnTo>
                    <a:lnTo>
                      <a:pt x="23588" y="8764"/>
                    </a:lnTo>
                    <a:lnTo>
                      <a:pt x="23719" y="8528"/>
                    </a:lnTo>
                    <a:lnTo>
                      <a:pt x="23850" y="8279"/>
                    </a:lnTo>
                    <a:lnTo>
                      <a:pt x="23968" y="8016"/>
                    </a:lnTo>
                    <a:lnTo>
                      <a:pt x="24060" y="7754"/>
                    </a:lnTo>
                    <a:lnTo>
                      <a:pt x="24152" y="7492"/>
                    </a:lnTo>
                    <a:lnTo>
                      <a:pt x="24231" y="7216"/>
                    </a:lnTo>
                    <a:lnTo>
                      <a:pt x="24296" y="6941"/>
                    </a:lnTo>
                    <a:lnTo>
                      <a:pt x="24336" y="6652"/>
                    </a:lnTo>
                    <a:lnTo>
                      <a:pt x="24375" y="6377"/>
                    </a:lnTo>
                    <a:lnTo>
                      <a:pt x="24401" y="6075"/>
                    </a:lnTo>
                    <a:lnTo>
                      <a:pt x="24401" y="5786"/>
                    </a:lnTo>
                    <a:lnTo>
                      <a:pt x="24401" y="5484"/>
                    </a:lnTo>
                    <a:lnTo>
                      <a:pt x="24375" y="5196"/>
                    </a:lnTo>
                    <a:lnTo>
                      <a:pt x="24336" y="4907"/>
                    </a:lnTo>
                    <a:lnTo>
                      <a:pt x="24283" y="4632"/>
                    </a:lnTo>
                    <a:lnTo>
                      <a:pt x="24218" y="4343"/>
                    </a:lnTo>
                    <a:lnTo>
                      <a:pt x="24139" y="4081"/>
                    </a:lnTo>
                    <a:lnTo>
                      <a:pt x="24047" y="3805"/>
                    </a:lnTo>
                    <a:lnTo>
                      <a:pt x="23942" y="3543"/>
                    </a:lnTo>
                    <a:lnTo>
                      <a:pt x="23824" y="3294"/>
                    </a:lnTo>
                    <a:lnTo>
                      <a:pt x="23693" y="3044"/>
                    </a:lnTo>
                    <a:lnTo>
                      <a:pt x="23562" y="2808"/>
                    </a:lnTo>
                    <a:lnTo>
                      <a:pt x="23404" y="2572"/>
                    </a:lnTo>
                    <a:lnTo>
                      <a:pt x="23247" y="2349"/>
                    </a:lnTo>
                    <a:lnTo>
                      <a:pt x="23076" y="2139"/>
                    </a:lnTo>
                    <a:lnTo>
                      <a:pt x="22893" y="1929"/>
                    </a:lnTo>
                    <a:lnTo>
                      <a:pt x="22696" y="1732"/>
                    </a:lnTo>
                    <a:lnTo>
                      <a:pt x="22499" y="1536"/>
                    </a:lnTo>
                    <a:lnTo>
                      <a:pt x="22289" y="1352"/>
                    </a:lnTo>
                    <a:lnTo>
                      <a:pt x="22066" y="1181"/>
                    </a:lnTo>
                    <a:lnTo>
                      <a:pt x="21843" y="1024"/>
                    </a:lnTo>
                    <a:lnTo>
                      <a:pt x="21607" y="880"/>
                    </a:lnTo>
                    <a:lnTo>
                      <a:pt x="21371" y="735"/>
                    </a:lnTo>
                    <a:lnTo>
                      <a:pt x="21122" y="617"/>
                    </a:lnTo>
                    <a:lnTo>
                      <a:pt x="20859" y="499"/>
                    </a:lnTo>
                    <a:lnTo>
                      <a:pt x="20610" y="394"/>
                    </a:lnTo>
                    <a:lnTo>
                      <a:pt x="20334" y="316"/>
                    </a:lnTo>
                    <a:lnTo>
                      <a:pt x="20059" y="237"/>
                    </a:lnTo>
                    <a:lnTo>
                      <a:pt x="19783" y="171"/>
                    </a:lnTo>
                    <a:lnTo>
                      <a:pt x="19508" y="119"/>
                    </a:lnTo>
                    <a:lnTo>
                      <a:pt x="19219" y="93"/>
                    </a:lnTo>
                    <a:lnTo>
                      <a:pt x="18918" y="66"/>
                    </a:lnTo>
                    <a:lnTo>
                      <a:pt x="18629" y="53"/>
                    </a:lnTo>
                    <a:lnTo>
                      <a:pt x="18367" y="66"/>
                    </a:lnTo>
                    <a:lnTo>
                      <a:pt x="18104" y="79"/>
                    </a:lnTo>
                    <a:lnTo>
                      <a:pt x="17855" y="119"/>
                    </a:lnTo>
                    <a:lnTo>
                      <a:pt x="17593" y="158"/>
                    </a:lnTo>
                    <a:lnTo>
                      <a:pt x="17343" y="211"/>
                    </a:lnTo>
                    <a:lnTo>
                      <a:pt x="17107" y="276"/>
                    </a:lnTo>
                    <a:lnTo>
                      <a:pt x="16858" y="342"/>
                    </a:lnTo>
                    <a:lnTo>
                      <a:pt x="16622" y="420"/>
                    </a:lnTo>
                    <a:lnTo>
                      <a:pt x="16399" y="525"/>
                    </a:lnTo>
                    <a:lnTo>
                      <a:pt x="16163" y="617"/>
                    </a:lnTo>
                    <a:lnTo>
                      <a:pt x="15940" y="735"/>
                    </a:lnTo>
                    <a:lnTo>
                      <a:pt x="15730" y="853"/>
                    </a:lnTo>
                    <a:lnTo>
                      <a:pt x="15520" y="985"/>
                    </a:lnTo>
                    <a:lnTo>
                      <a:pt x="15310" y="1129"/>
                    </a:lnTo>
                    <a:lnTo>
                      <a:pt x="15113" y="1273"/>
                    </a:lnTo>
                    <a:lnTo>
                      <a:pt x="14929" y="1431"/>
                    </a:lnTo>
                    <a:lnTo>
                      <a:pt x="14746" y="1588"/>
                    </a:lnTo>
                    <a:lnTo>
                      <a:pt x="14562" y="1759"/>
                    </a:lnTo>
                    <a:lnTo>
                      <a:pt x="14392" y="1942"/>
                    </a:lnTo>
                    <a:lnTo>
                      <a:pt x="14234" y="2126"/>
                    </a:lnTo>
                    <a:lnTo>
                      <a:pt x="14077" y="2323"/>
                    </a:lnTo>
                    <a:lnTo>
                      <a:pt x="13932" y="2520"/>
                    </a:lnTo>
                    <a:lnTo>
                      <a:pt x="13801" y="2729"/>
                    </a:lnTo>
                    <a:lnTo>
                      <a:pt x="13670" y="2939"/>
                    </a:lnTo>
                    <a:lnTo>
                      <a:pt x="13552" y="3162"/>
                    </a:lnTo>
                    <a:lnTo>
                      <a:pt x="13434" y="3385"/>
                    </a:lnTo>
                    <a:lnTo>
                      <a:pt x="13342" y="3608"/>
                    </a:lnTo>
                    <a:lnTo>
                      <a:pt x="13250" y="3845"/>
                    </a:lnTo>
                    <a:lnTo>
                      <a:pt x="13172" y="4081"/>
                    </a:lnTo>
                    <a:lnTo>
                      <a:pt x="13093" y="4330"/>
                    </a:lnTo>
                    <a:lnTo>
                      <a:pt x="13040" y="4579"/>
                    </a:lnTo>
                    <a:lnTo>
                      <a:pt x="12988" y="4842"/>
                    </a:lnTo>
                    <a:lnTo>
                      <a:pt x="12778" y="4789"/>
                    </a:lnTo>
                    <a:lnTo>
                      <a:pt x="12581" y="4763"/>
                    </a:lnTo>
                    <a:lnTo>
                      <a:pt x="12384" y="4750"/>
                    </a:lnTo>
                    <a:lnTo>
                      <a:pt x="12188" y="4737"/>
                    </a:lnTo>
                    <a:lnTo>
                      <a:pt x="11991" y="4750"/>
                    </a:lnTo>
                    <a:lnTo>
                      <a:pt x="11794" y="4763"/>
                    </a:lnTo>
                    <a:lnTo>
                      <a:pt x="11610" y="4789"/>
                    </a:lnTo>
                    <a:lnTo>
                      <a:pt x="11427" y="4842"/>
                    </a:lnTo>
                    <a:lnTo>
                      <a:pt x="11374" y="4579"/>
                    </a:lnTo>
                    <a:lnTo>
                      <a:pt x="11322" y="4330"/>
                    </a:lnTo>
                    <a:lnTo>
                      <a:pt x="11256" y="4081"/>
                    </a:lnTo>
                    <a:lnTo>
                      <a:pt x="11164" y="3845"/>
                    </a:lnTo>
                    <a:lnTo>
                      <a:pt x="11072" y="3595"/>
                    </a:lnTo>
                    <a:lnTo>
                      <a:pt x="10981" y="3372"/>
                    </a:lnTo>
                    <a:lnTo>
                      <a:pt x="10863" y="3136"/>
                    </a:lnTo>
                    <a:lnTo>
                      <a:pt x="10745" y="2913"/>
                    </a:lnTo>
                    <a:lnTo>
                      <a:pt x="10613" y="2703"/>
                    </a:lnTo>
                    <a:lnTo>
                      <a:pt x="10482" y="2493"/>
                    </a:lnTo>
                    <a:lnTo>
                      <a:pt x="10325" y="2283"/>
                    </a:lnTo>
                    <a:lnTo>
                      <a:pt x="10167" y="2087"/>
                    </a:lnTo>
                    <a:lnTo>
                      <a:pt x="10010" y="1903"/>
                    </a:lnTo>
                    <a:lnTo>
                      <a:pt x="9839" y="1719"/>
                    </a:lnTo>
                    <a:lnTo>
                      <a:pt x="9656" y="1549"/>
                    </a:lnTo>
                    <a:lnTo>
                      <a:pt x="9472" y="1378"/>
                    </a:lnTo>
                    <a:lnTo>
                      <a:pt x="9275" y="1221"/>
                    </a:lnTo>
                    <a:lnTo>
                      <a:pt x="9078" y="1063"/>
                    </a:lnTo>
                    <a:lnTo>
                      <a:pt x="8868" y="932"/>
                    </a:lnTo>
                    <a:lnTo>
                      <a:pt x="8659" y="801"/>
                    </a:lnTo>
                    <a:lnTo>
                      <a:pt x="8436" y="670"/>
                    </a:lnTo>
                    <a:lnTo>
                      <a:pt x="8213" y="552"/>
                    </a:lnTo>
                    <a:lnTo>
                      <a:pt x="7976" y="460"/>
                    </a:lnTo>
                    <a:lnTo>
                      <a:pt x="7740" y="355"/>
                    </a:lnTo>
                    <a:lnTo>
                      <a:pt x="7504" y="276"/>
                    </a:lnTo>
                    <a:lnTo>
                      <a:pt x="7268" y="197"/>
                    </a:lnTo>
                    <a:lnTo>
                      <a:pt x="7019" y="145"/>
                    </a:lnTo>
                    <a:lnTo>
                      <a:pt x="6756" y="93"/>
                    </a:lnTo>
                    <a:lnTo>
                      <a:pt x="6507" y="53"/>
                    </a:lnTo>
                    <a:lnTo>
                      <a:pt x="6245" y="14"/>
                    </a:lnTo>
                    <a:lnTo>
                      <a:pt x="598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7" name="Google Shape;2407;p45"/>
              <p:cNvSpPr/>
              <p:nvPr/>
            </p:nvSpPr>
            <p:spPr>
              <a:xfrm>
                <a:off x="5343966" y="2582777"/>
                <a:ext cx="438016" cy="207484"/>
              </a:xfrm>
              <a:custGeom>
                <a:avLst/>
                <a:gdLst/>
                <a:ahLst/>
                <a:cxnLst/>
                <a:rect l="l" t="t" r="r" b="b"/>
                <a:pathLst>
                  <a:path w="24402" h="11559" fill="none" extrusionOk="0">
                    <a:moveTo>
                      <a:pt x="5720" y="1"/>
                    </a:moveTo>
                    <a:lnTo>
                      <a:pt x="5720" y="1"/>
                    </a:lnTo>
                    <a:lnTo>
                      <a:pt x="5982" y="1"/>
                    </a:lnTo>
                    <a:lnTo>
                      <a:pt x="6245" y="14"/>
                    </a:lnTo>
                    <a:lnTo>
                      <a:pt x="6507" y="53"/>
                    </a:lnTo>
                    <a:lnTo>
                      <a:pt x="6756" y="93"/>
                    </a:lnTo>
                    <a:lnTo>
                      <a:pt x="7019" y="145"/>
                    </a:lnTo>
                    <a:lnTo>
                      <a:pt x="7268" y="197"/>
                    </a:lnTo>
                    <a:lnTo>
                      <a:pt x="7504" y="276"/>
                    </a:lnTo>
                    <a:lnTo>
                      <a:pt x="7740" y="355"/>
                    </a:lnTo>
                    <a:lnTo>
                      <a:pt x="7976" y="460"/>
                    </a:lnTo>
                    <a:lnTo>
                      <a:pt x="8213" y="552"/>
                    </a:lnTo>
                    <a:lnTo>
                      <a:pt x="8436" y="670"/>
                    </a:lnTo>
                    <a:lnTo>
                      <a:pt x="8659" y="801"/>
                    </a:lnTo>
                    <a:lnTo>
                      <a:pt x="8868" y="932"/>
                    </a:lnTo>
                    <a:lnTo>
                      <a:pt x="9078" y="1063"/>
                    </a:lnTo>
                    <a:lnTo>
                      <a:pt x="9275" y="1221"/>
                    </a:lnTo>
                    <a:lnTo>
                      <a:pt x="9472" y="1378"/>
                    </a:lnTo>
                    <a:lnTo>
                      <a:pt x="9656" y="1549"/>
                    </a:lnTo>
                    <a:lnTo>
                      <a:pt x="9839" y="1719"/>
                    </a:lnTo>
                    <a:lnTo>
                      <a:pt x="10010" y="1903"/>
                    </a:lnTo>
                    <a:lnTo>
                      <a:pt x="10167" y="2087"/>
                    </a:lnTo>
                    <a:lnTo>
                      <a:pt x="10325" y="2283"/>
                    </a:lnTo>
                    <a:lnTo>
                      <a:pt x="10482" y="2493"/>
                    </a:lnTo>
                    <a:lnTo>
                      <a:pt x="10613" y="2703"/>
                    </a:lnTo>
                    <a:lnTo>
                      <a:pt x="10745" y="2913"/>
                    </a:lnTo>
                    <a:lnTo>
                      <a:pt x="10863" y="3136"/>
                    </a:lnTo>
                    <a:lnTo>
                      <a:pt x="10981" y="3372"/>
                    </a:lnTo>
                    <a:lnTo>
                      <a:pt x="11072" y="3595"/>
                    </a:lnTo>
                    <a:lnTo>
                      <a:pt x="11164" y="3845"/>
                    </a:lnTo>
                    <a:lnTo>
                      <a:pt x="11256" y="4081"/>
                    </a:lnTo>
                    <a:lnTo>
                      <a:pt x="11322" y="4330"/>
                    </a:lnTo>
                    <a:lnTo>
                      <a:pt x="11374" y="4579"/>
                    </a:lnTo>
                    <a:lnTo>
                      <a:pt x="11427" y="4842"/>
                    </a:lnTo>
                    <a:lnTo>
                      <a:pt x="11427" y="4842"/>
                    </a:lnTo>
                    <a:lnTo>
                      <a:pt x="11610" y="4789"/>
                    </a:lnTo>
                    <a:lnTo>
                      <a:pt x="11794" y="4763"/>
                    </a:lnTo>
                    <a:lnTo>
                      <a:pt x="11991" y="4750"/>
                    </a:lnTo>
                    <a:lnTo>
                      <a:pt x="12188" y="4737"/>
                    </a:lnTo>
                    <a:lnTo>
                      <a:pt x="12188" y="4737"/>
                    </a:lnTo>
                    <a:lnTo>
                      <a:pt x="12384" y="4750"/>
                    </a:lnTo>
                    <a:lnTo>
                      <a:pt x="12581" y="4763"/>
                    </a:lnTo>
                    <a:lnTo>
                      <a:pt x="12778" y="4789"/>
                    </a:lnTo>
                    <a:lnTo>
                      <a:pt x="12988" y="4842"/>
                    </a:lnTo>
                    <a:lnTo>
                      <a:pt x="12988" y="4842"/>
                    </a:lnTo>
                    <a:lnTo>
                      <a:pt x="13040" y="4579"/>
                    </a:lnTo>
                    <a:lnTo>
                      <a:pt x="13093" y="4330"/>
                    </a:lnTo>
                    <a:lnTo>
                      <a:pt x="13172" y="4081"/>
                    </a:lnTo>
                    <a:lnTo>
                      <a:pt x="13250" y="3845"/>
                    </a:lnTo>
                    <a:lnTo>
                      <a:pt x="13342" y="3608"/>
                    </a:lnTo>
                    <a:lnTo>
                      <a:pt x="13434" y="3385"/>
                    </a:lnTo>
                    <a:lnTo>
                      <a:pt x="13552" y="3162"/>
                    </a:lnTo>
                    <a:lnTo>
                      <a:pt x="13670" y="2939"/>
                    </a:lnTo>
                    <a:lnTo>
                      <a:pt x="13801" y="2729"/>
                    </a:lnTo>
                    <a:lnTo>
                      <a:pt x="13932" y="2520"/>
                    </a:lnTo>
                    <a:lnTo>
                      <a:pt x="14077" y="2323"/>
                    </a:lnTo>
                    <a:lnTo>
                      <a:pt x="14234" y="2126"/>
                    </a:lnTo>
                    <a:lnTo>
                      <a:pt x="14392" y="1942"/>
                    </a:lnTo>
                    <a:lnTo>
                      <a:pt x="14562" y="1759"/>
                    </a:lnTo>
                    <a:lnTo>
                      <a:pt x="14746" y="1588"/>
                    </a:lnTo>
                    <a:lnTo>
                      <a:pt x="14929" y="1431"/>
                    </a:lnTo>
                    <a:lnTo>
                      <a:pt x="15113" y="1273"/>
                    </a:lnTo>
                    <a:lnTo>
                      <a:pt x="15310" y="1129"/>
                    </a:lnTo>
                    <a:lnTo>
                      <a:pt x="15520" y="985"/>
                    </a:lnTo>
                    <a:lnTo>
                      <a:pt x="15730" y="853"/>
                    </a:lnTo>
                    <a:lnTo>
                      <a:pt x="15940" y="735"/>
                    </a:lnTo>
                    <a:lnTo>
                      <a:pt x="16163" y="617"/>
                    </a:lnTo>
                    <a:lnTo>
                      <a:pt x="16399" y="525"/>
                    </a:lnTo>
                    <a:lnTo>
                      <a:pt x="16622" y="420"/>
                    </a:lnTo>
                    <a:lnTo>
                      <a:pt x="16858" y="342"/>
                    </a:lnTo>
                    <a:lnTo>
                      <a:pt x="17107" y="276"/>
                    </a:lnTo>
                    <a:lnTo>
                      <a:pt x="17343" y="211"/>
                    </a:lnTo>
                    <a:lnTo>
                      <a:pt x="17593" y="158"/>
                    </a:lnTo>
                    <a:lnTo>
                      <a:pt x="17855" y="119"/>
                    </a:lnTo>
                    <a:lnTo>
                      <a:pt x="18104" y="79"/>
                    </a:lnTo>
                    <a:lnTo>
                      <a:pt x="18367" y="66"/>
                    </a:lnTo>
                    <a:lnTo>
                      <a:pt x="18629" y="53"/>
                    </a:lnTo>
                    <a:lnTo>
                      <a:pt x="18629" y="53"/>
                    </a:lnTo>
                    <a:lnTo>
                      <a:pt x="18918" y="66"/>
                    </a:lnTo>
                    <a:lnTo>
                      <a:pt x="19219" y="93"/>
                    </a:lnTo>
                    <a:lnTo>
                      <a:pt x="19508" y="119"/>
                    </a:lnTo>
                    <a:lnTo>
                      <a:pt x="19783" y="171"/>
                    </a:lnTo>
                    <a:lnTo>
                      <a:pt x="20059" y="237"/>
                    </a:lnTo>
                    <a:lnTo>
                      <a:pt x="20334" y="316"/>
                    </a:lnTo>
                    <a:lnTo>
                      <a:pt x="20610" y="394"/>
                    </a:lnTo>
                    <a:lnTo>
                      <a:pt x="20859" y="499"/>
                    </a:lnTo>
                    <a:lnTo>
                      <a:pt x="21122" y="617"/>
                    </a:lnTo>
                    <a:lnTo>
                      <a:pt x="21371" y="735"/>
                    </a:lnTo>
                    <a:lnTo>
                      <a:pt x="21607" y="880"/>
                    </a:lnTo>
                    <a:lnTo>
                      <a:pt x="21843" y="1024"/>
                    </a:lnTo>
                    <a:lnTo>
                      <a:pt x="22066" y="1181"/>
                    </a:lnTo>
                    <a:lnTo>
                      <a:pt x="22289" y="1352"/>
                    </a:lnTo>
                    <a:lnTo>
                      <a:pt x="22499" y="1536"/>
                    </a:lnTo>
                    <a:lnTo>
                      <a:pt x="22696" y="1732"/>
                    </a:lnTo>
                    <a:lnTo>
                      <a:pt x="22893" y="1929"/>
                    </a:lnTo>
                    <a:lnTo>
                      <a:pt x="23076" y="2139"/>
                    </a:lnTo>
                    <a:lnTo>
                      <a:pt x="23247" y="2349"/>
                    </a:lnTo>
                    <a:lnTo>
                      <a:pt x="23404" y="2572"/>
                    </a:lnTo>
                    <a:lnTo>
                      <a:pt x="23562" y="2808"/>
                    </a:lnTo>
                    <a:lnTo>
                      <a:pt x="23693" y="3044"/>
                    </a:lnTo>
                    <a:lnTo>
                      <a:pt x="23824" y="3294"/>
                    </a:lnTo>
                    <a:lnTo>
                      <a:pt x="23942" y="3543"/>
                    </a:lnTo>
                    <a:lnTo>
                      <a:pt x="24047" y="3805"/>
                    </a:lnTo>
                    <a:lnTo>
                      <a:pt x="24139" y="4081"/>
                    </a:lnTo>
                    <a:lnTo>
                      <a:pt x="24218" y="4343"/>
                    </a:lnTo>
                    <a:lnTo>
                      <a:pt x="24283" y="4632"/>
                    </a:lnTo>
                    <a:lnTo>
                      <a:pt x="24336" y="4907"/>
                    </a:lnTo>
                    <a:lnTo>
                      <a:pt x="24375" y="5196"/>
                    </a:lnTo>
                    <a:lnTo>
                      <a:pt x="24401" y="5484"/>
                    </a:lnTo>
                    <a:lnTo>
                      <a:pt x="24401" y="5786"/>
                    </a:lnTo>
                    <a:lnTo>
                      <a:pt x="24401" y="5786"/>
                    </a:lnTo>
                    <a:lnTo>
                      <a:pt x="24401" y="6075"/>
                    </a:lnTo>
                    <a:lnTo>
                      <a:pt x="24375" y="6377"/>
                    </a:lnTo>
                    <a:lnTo>
                      <a:pt x="24336" y="6652"/>
                    </a:lnTo>
                    <a:lnTo>
                      <a:pt x="24296" y="6941"/>
                    </a:lnTo>
                    <a:lnTo>
                      <a:pt x="24231" y="7216"/>
                    </a:lnTo>
                    <a:lnTo>
                      <a:pt x="24152" y="7492"/>
                    </a:lnTo>
                    <a:lnTo>
                      <a:pt x="24060" y="7754"/>
                    </a:lnTo>
                    <a:lnTo>
                      <a:pt x="23968" y="8016"/>
                    </a:lnTo>
                    <a:lnTo>
                      <a:pt x="23850" y="8279"/>
                    </a:lnTo>
                    <a:lnTo>
                      <a:pt x="23719" y="8528"/>
                    </a:lnTo>
                    <a:lnTo>
                      <a:pt x="23588" y="8764"/>
                    </a:lnTo>
                    <a:lnTo>
                      <a:pt x="23431" y="9000"/>
                    </a:lnTo>
                    <a:lnTo>
                      <a:pt x="23273" y="9223"/>
                    </a:lnTo>
                    <a:lnTo>
                      <a:pt x="23103" y="9446"/>
                    </a:lnTo>
                    <a:lnTo>
                      <a:pt x="22932" y="9656"/>
                    </a:lnTo>
                    <a:lnTo>
                      <a:pt x="22735" y="9853"/>
                    </a:lnTo>
                    <a:lnTo>
                      <a:pt x="22538" y="10050"/>
                    </a:lnTo>
                    <a:lnTo>
                      <a:pt x="22329" y="10234"/>
                    </a:lnTo>
                    <a:lnTo>
                      <a:pt x="22119" y="10404"/>
                    </a:lnTo>
                    <a:lnTo>
                      <a:pt x="21882" y="10561"/>
                    </a:lnTo>
                    <a:lnTo>
                      <a:pt x="21659" y="10719"/>
                    </a:lnTo>
                    <a:lnTo>
                      <a:pt x="21410" y="10850"/>
                    </a:lnTo>
                    <a:lnTo>
                      <a:pt x="21174" y="10981"/>
                    </a:lnTo>
                    <a:lnTo>
                      <a:pt x="20912" y="11099"/>
                    </a:lnTo>
                    <a:lnTo>
                      <a:pt x="20649" y="11204"/>
                    </a:lnTo>
                    <a:lnTo>
                      <a:pt x="20387" y="11296"/>
                    </a:lnTo>
                    <a:lnTo>
                      <a:pt x="20111" y="11375"/>
                    </a:lnTo>
                    <a:lnTo>
                      <a:pt x="19836" y="11440"/>
                    </a:lnTo>
                    <a:lnTo>
                      <a:pt x="19560" y="11493"/>
                    </a:lnTo>
                    <a:lnTo>
                      <a:pt x="19272" y="11532"/>
                    </a:lnTo>
                    <a:lnTo>
                      <a:pt x="18970" y="11545"/>
                    </a:lnTo>
                    <a:lnTo>
                      <a:pt x="18681" y="11559"/>
                    </a:lnTo>
                    <a:lnTo>
                      <a:pt x="18681" y="11559"/>
                    </a:lnTo>
                    <a:lnTo>
                      <a:pt x="18393" y="11559"/>
                    </a:lnTo>
                    <a:lnTo>
                      <a:pt x="18104" y="11532"/>
                    </a:lnTo>
                    <a:lnTo>
                      <a:pt x="17829" y="11506"/>
                    </a:lnTo>
                    <a:lnTo>
                      <a:pt x="17553" y="11454"/>
                    </a:lnTo>
                    <a:lnTo>
                      <a:pt x="17278" y="11388"/>
                    </a:lnTo>
                    <a:lnTo>
                      <a:pt x="17002" y="11322"/>
                    </a:lnTo>
                    <a:lnTo>
                      <a:pt x="16740" y="11231"/>
                    </a:lnTo>
                    <a:lnTo>
                      <a:pt x="16491" y="11139"/>
                    </a:lnTo>
                    <a:lnTo>
                      <a:pt x="16241" y="11034"/>
                    </a:lnTo>
                    <a:lnTo>
                      <a:pt x="15992" y="10903"/>
                    </a:lnTo>
                    <a:lnTo>
                      <a:pt x="15756" y="10771"/>
                    </a:lnTo>
                    <a:lnTo>
                      <a:pt x="15520" y="10627"/>
                    </a:lnTo>
                    <a:lnTo>
                      <a:pt x="15297" y="10483"/>
                    </a:lnTo>
                    <a:lnTo>
                      <a:pt x="15087" y="10312"/>
                    </a:lnTo>
                    <a:lnTo>
                      <a:pt x="14877" y="10142"/>
                    </a:lnTo>
                    <a:lnTo>
                      <a:pt x="14680" y="9958"/>
                    </a:lnTo>
                    <a:lnTo>
                      <a:pt x="14483" y="9774"/>
                    </a:lnTo>
                    <a:lnTo>
                      <a:pt x="14313" y="9564"/>
                    </a:lnTo>
                    <a:lnTo>
                      <a:pt x="14129" y="9355"/>
                    </a:lnTo>
                    <a:lnTo>
                      <a:pt x="13972" y="9145"/>
                    </a:lnTo>
                    <a:lnTo>
                      <a:pt x="13814" y="8922"/>
                    </a:lnTo>
                    <a:lnTo>
                      <a:pt x="13683" y="8685"/>
                    </a:lnTo>
                    <a:lnTo>
                      <a:pt x="13552" y="8449"/>
                    </a:lnTo>
                    <a:lnTo>
                      <a:pt x="13434" y="8200"/>
                    </a:lnTo>
                    <a:lnTo>
                      <a:pt x="13316" y="7951"/>
                    </a:lnTo>
                    <a:lnTo>
                      <a:pt x="13224" y="7688"/>
                    </a:lnTo>
                    <a:lnTo>
                      <a:pt x="13132" y="7426"/>
                    </a:lnTo>
                    <a:lnTo>
                      <a:pt x="13067" y="7151"/>
                    </a:lnTo>
                    <a:lnTo>
                      <a:pt x="13001" y="6875"/>
                    </a:lnTo>
                    <a:lnTo>
                      <a:pt x="12962" y="6600"/>
                    </a:lnTo>
                    <a:lnTo>
                      <a:pt x="12922" y="6311"/>
                    </a:lnTo>
                    <a:lnTo>
                      <a:pt x="12909" y="6022"/>
                    </a:lnTo>
                    <a:lnTo>
                      <a:pt x="12909" y="6022"/>
                    </a:lnTo>
                    <a:lnTo>
                      <a:pt x="12725" y="5970"/>
                    </a:lnTo>
                    <a:lnTo>
                      <a:pt x="12542" y="5930"/>
                    </a:lnTo>
                    <a:lnTo>
                      <a:pt x="12358" y="5904"/>
                    </a:lnTo>
                    <a:lnTo>
                      <a:pt x="12188" y="5904"/>
                    </a:lnTo>
                    <a:lnTo>
                      <a:pt x="12188" y="5904"/>
                    </a:lnTo>
                    <a:lnTo>
                      <a:pt x="11978" y="5917"/>
                    </a:lnTo>
                    <a:lnTo>
                      <a:pt x="11781" y="5944"/>
                    </a:lnTo>
                    <a:lnTo>
                      <a:pt x="11623" y="5996"/>
                    </a:lnTo>
                    <a:lnTo>
                      <a:pt x="11492" y="6049"/>
                    </a:lnTo>
                    <a:lnTo>
                      <a:pt x="11492" y="6049"/>
                    </a:lnTo>
                    <a:lnTo>
                      <a:pt x="11466" y="6324"/>
                    </a:lnTo>
                    <a:lnTo>
                      <a:pt x="11427" y="6600"/>
                    </a:lnTo>
                    <a:lnTo>
                      <a:pt x="11387" y="6875"/>
                    </a:lnTo>
                    <a:lnTo>
                      <a:pt x="11322" y="7137"/>
                    </a:lnTo>
                    <a:lnTo>
                      <a:pt x="11243" y="7413"/>
                    </a:lnTo>
                    <a:lnTo>
                      <a:pt x="11164" y="7662"/>
                    </a:lnTo>
                    <a:lnTo>
                      <a:pt x="11059" y="7925"/>
                    </a:lnTo>
                    <a:lnTo>
                      <a:pt x="10954" y="8161"/>
                    </a:lnTo>
                    <a:lnTo>
                      <a:pt x="10836" y="8410"/>
                    </a:lnTo>
                    <a:lnTo>
                      <a:pt x="10705" y="8646"/>
                    </a:lnTo>
                    <a:lnTo>
                      <a:pt x="10561" y="8869"/>
                    </a:lnTo>
                    <a:lnTo>
                      <a:pt x="10417" y="9092"/>
                    </a:lnTo>
                    <a:lnTo>
                      <a:pt x="10246" y="9302"/>
                    </a:lnTo>
                    <a:lnTo>
                      <a:pt x="10075" y="9512"/>
                    </a:lnTo>
                    <a:lnTo>
                      <a:pt x="9905" y="9709"/>
                    </a:lnTo>
                    <a:lnTo>
                      <a:pt x="9708" y="9892"/>
                    </a:lnTo>
                    <a:lnTo>
                      <a:pt x="9511" y="10076"/>
                    </a:lnTo>
                    <a:lnTo>
                      <a:pt x="9301" y="10247"/>
                    </a:lnTo>
                    <a:lnTo>
                      <a:pt x="9092" y="10404"/>
                    </a:lnTo>
                    <a:lnTo>
                      <a:pt x="8868" y="10561"/>
                    </a:lnTo>
                    <a:lnTo>
                      <a:pt x="8645" y="10706"/>
                    </a:lnTo>
                    <a:lnTo>
                      <a:pt x="8409" y="10837"/>
                    </a:lnTo>
                    <a:lnTo>
                      <a:pt x="8173" y="10955"/>
                    </a:lnTo>
                    <a:lnTo>
                      <a:pt x="7924" y="11060"/>
                    </a:lnTo>
                    <a:lnTo>
                      <a:pt x="7675" y="11165"/>
                    </a:lnTo>
                    <a:lnTo>
                      <a:pt x="7412" y="11244"/>
                    </a:lnTo>
                    <a:lnTo>
                      <a:pt x="7150" y="11322"/>
                    </a:lnTo>
                    <a:lnTo>
                      <a:pt x="6888" y="11388"/>
                    </a:lnTo>
                    <a:lnTo>
                      <a:pt x="6612" y="11427"/>
                    </a:lnTo>
                    <a:lnTo>
                      <a:pt x="6337" y="11467"/>
                    </a:lnTo>
                    <a:lnTo>
                      <a:pt x="6061" y="11493"/>
                    </a:lnTo>
                    <a:lnTo>
                      <a:pt x="5772" y="11493"/>
                    </a:lnTo>
                    <a:lnTo>
                      <a:pt x="5772" y="11493"/>
                    </a:lnTo>
                    <a:lnTo>
                      <a:pt x="5484" y="11493"/>
                    </a:lnTo>
                    <a:lnTo>
                      <a:pt x="5195" y="11467"/>
                    </a:lnTo>
                    <a:lnTo>
                      <a:pt x="4907" y="11440"/>
                    </a:lnTo>
                    <a:lnTo>
                      <a:pt x="4618" y="11388"/>
                    </a:lnTo>
                    <a:lnTo>
                      <a:pt x="4342" y="11322"/>
                    </a:lnTo>
                    <a:lnTo>
                      <a:pt x="4067" y="11244"/>
                    </a:lnTo>
                    <a:lnTo>
                      <a:pt x="3805" y="11152"/>
                    </a:lnTo>
                    <a:lnTo>
                      <a:pt x="3542" y="11060"/>
                    </a:lnTo>
                    <a:lnTo>
                      <a:pt x="3280" y="10942"/>
                    </a:lnTo>
                    <a:lnTo>
                      <a:pt x="3031" y="10811"/>
                    </a:lnTo>
                    <a:lnTo>
                      <a:pt x="2794" y="10680"/>
                    </a:lnTo>
                    <a:lnTo>
                      <a:pt x="2558" y="10522"/>
                    </a:lnTo>
                    <a:lnTo>
                      <a:pt x="2335" y="10365"/>
                    </a:lnTo>
                    <a:lnTo>
                      <a:pt x="2112" y="10194"/>
                    </a:lnTo>
                    <a:lnTo>
                      <a:pt x="1902" y="10024"/>
                    </a:lnTo>
                    <a:lnTo>
                      <a:pt x="1706" y="9827"/>
                    </a:lnTo>
                    <a:lnTo>
                      <a:pt x="1509" y="9630"/>
                    </a:lnTo>
                    <a:lnTo>
                      <a:pt x="1338" y="9420"/>
                    </a:lnTo>
                    <a:lnTo>
                      <a:pt x="1155" y="9210"/>
                    </a:lnTo>
                    <a:lnTo>
                      <a:pt x="997" y="8987"/>
                    </a:lnTo>
                    <a:lnTo>
                      <a:pt x="853" y="8751"/>
                    </a:lnTo>
                    <a:lnTo>
                      <a:pt x="708" y="8515"/>
                    </a:lnTo>
                    <a:lnTo>
                      <a:pt x="577" y="8266"/>
                    </a:lnTo>
                    <a:lnTo>
                      <a:pt x="459" y="8003"/>
                    </a:lnTo>
                    <a:lnTo>
                      <a:pt x="354" y="7741"/>
                    </a:lnTo>
                    <a:lnTo>
                      <a:pt x="262" y="7479"/>
                    </a:lnTo>
                    <a:lnTo>
                      <a:pt x="184" y="7203"/>
                    </a:lnTo>
                    <a:lnTo>
                      <a:pt x="118" y="6928"/>
                    </a:lnTo>
                    <a:lnTo>
                      <a:pt x="66" y="6652"/>
                    </a:lnTo>
                    <a:lnTo>
                      <a:pt x="26" y="6363"/>
                    </a:lnTo>
                    <a:lnTo>
                      <a:pt x="13" y="6075"/>
                    </a:lnTo>
                    <a:lnTo>
                      <a:pt x="0" y="5773"/>
                    </a:lnTo>
                    <a:lnTo>
                      <a:pt x="0" y="5773"/>
                    </a:lnTo>
                    <a:lnTo>
                      <a:pt x="0" y="5471"/>
                    </a:lnTo>
                    <a:lnTo>
                      <a:pt x="26" y="5183"/>
                    </a:lnTo>
                    <a:lnTo>
                      <a:pt x="66" y="4894"/>
                    </a:lnTo>
                    <a:lnTo>
                      <a:pt x="105" y="4619"/>
                    </a:lnTo>
                    <a:lnTo>
                      <a:pt x="171" y="4343"/>
                    </a:lnTo>
                    <a:lnTo>
                      <a:pt x="249" y="4068"/>
                    </a:lnTo>
                    <a:lnTo>
                      <a:pt x="341" y="3792"/>
                    </a:lnTo>
                    <a:lnTo>
                      <a:pt x="446" y="3530"/>
                    </a:lnTo>
                    <a:lnTo>
                      <a:pt x="551" y="3280"/>
                    </a:lnTo>
                    <a:lnTo>
                      <a:pt x="682" y="3031"/>
                    </a:lnTo>
                    <a:lnTo>
                      <a:pt x="813" y="2795"/>
                    </a:lnTo>
                    <a:lnTo>
                      <a:pt x="971" y="2559"/>
                    </a:lnTo>
                    <a:lnTo>
                      <a:pt x="1128" y="2336"/>
                    </a:lnTo>
                    <a:lnTo>
                      <a:pt x="1299" y="2113"/>
                    </a:lnTo>
                    <a:lnTo>
                      <a:pt x="1483" y="1903"/>
                    </a:lnTo>
                    <a:lnTo>
                      <a:pt x="1666" y="1706"/>
                    </a:lnTo>
                    <a:lnTo>
                      <a:pt x="1863" y="1509"/>
                    </a:lnTo>
                    <a:lnTo>
                      <a:pt x="2073" y="1326"/>
                    </a:lnTo>
                    <a:lnTo>
                      <a:pt x="2296" y="1155"/>
                    </a:lnTo>
                    <a:lnTo>
                      <a:pt x="2519" y="998"/>
                    </a:lnTo>
                    <a:lnTo>
                      <a:pt x="2742" y="840"/>
                    </a:lnTo>
                    <a:lnTo>
                      <a:pt x="2991" y="709"/>
                    </a:lnTo>
                    <a:lnTo>
                      <a:pt x="3240" y="578"/>
                    </a:lnTo>
                    <a:lnTo>
                      <a:pt x="3490" y="460"/>
                    </a:lnTo>
                    <a:lnTo>
                      <a:pt x="3752" y="355"/>
                    </a:lnTo>
                    <a:lnTo>
                      <a:pt x="4014" y="263"/>
                    </a:lnTo>
                    <a:lnTo>
                      <a:pt x="4290" y="184"/>
                    </a:lnTo>
                    <a:lnTo>
                      <a:pt x="4565" y="119"/>
                    </a:lnTo>
                    <a:lnTo>
                      <a:pt x="4854" y="66"/>
                    </a:lnTo>
                    <a:lnTo>
                      <a:pt x="5143" y="27"/>
                    </a:lnTo>
                    <a:lnTo>
                      <a:pt x="5431" y="1"/>
                    </a:lnTo>
                    <a:lnTo>
                      <a:pt x="5720"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8" name="Google Shape;2408;p45"/>
              <p:cNvSpPr/>
              <p:nvPr/>
            </p:nvSpPr>
            <p:spPr>
              <a:xfrm>
                <a:off x="5595463" y="2603024"/>
                <a:ext cx="162268" cy="163453"/>
              </a:xfrm>
              <a:custGeom>
                <a:avLst/>
                <a:gdLst/>
                <a:ahLst/>
                <a:cxnLst/>
                <a:rect l="l" t="t" r="r" b="b"/>
                <a:pathLst>
                  <a:path w="9040" h="9106" extrusionOk="0">
                    <a:moveTo>
                      <a:pt x="7963" y="1"/>
                    </a:moveTo>
                    <a:lnTo>
                      <a:pt x="5982" y="2021"/>
                    </a:lnTo>
                    <a:lnTo>
                      <a:pt x="4001" y="4028"/>
                    </a:lnTo>
                    <a:lnTo>
                      <a:pt x="0" y="8043"/>
                    </a:lnTo>
                    <a:lnTo>
                      <a:pt x="223" y="8331"/>
                    </a:lnTo>
                    <a:lnTo>
                      <a:pt x="459" y="8607"/>
                    </a:lnTo>
                    <a:lnTo>
                      <a:pt x="709" y="8869"/>
                    </a:lnTo>
                    <a:lnTo>
                      <a:pt x="984" y="9106"/>
                    </a:lnTo>
                    <a:lnTo>
                      <a:pt x="9039" y="972"/>
                    </a:lnTo>
                    <a:lnTo>
                      <a:pt x="8790" y="709"/>
                    </a:lnTo>
                    <a:lnTo>
                      <a:pt x="8527" y="447"/>
                    </a:lnTo>
                    <a:lnTo>
                      <a:pt x="8252" y="211"/>
                    </a:lnTo>
                    <a:lnTo>
                      <a:pt x="796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9" name="Google Shape;2409;p45"/>
              <p:cNvSpPr/>
              <p:nvPr/>
            </p:nvSpPr>
            <p:spPr>
              <a:xfrm>
                <a:off x="5595463" y="2603024"/>
                <a:ext cx="162268" cy="163453"/>
              </a:xfrm>
              <a:custGeom>
                <a:avLst/>
                <a:gdLst/>
                <a:ahLst/>
                <a:cxnLst/>
                <a:rect l="l" t="t" r="r" b="b"/>
                <a:pathLst>
                  <a:path w="9040" h="9106" fill="none" extrusionOk="0">
                    <a:moveTo>
                      <a:pt x="7963" y="1"/>
                    </a:moveTo>
                    <a:lnTo>
                      <a:pt x="7963" y="1"/>
                    </a:lnTo>
                    <a:lnTo>
                      <a:pt x="5982" y="2021"/>
                    </a:lnTo>
                    <a:lnTo>
                      <a:pt x="4001" y="4028"/>
                    </a:lnTo>
                    <a:lnTo>
                      <a:pt x="0" y="8043"/>
                    </a:lnTo>
                    <a:lnTo>
                      <a:pt x="0" y="8043"/>
                    </a:lnTo>
                    <a:lnTo>
                      <a:pt x="223" y="8331"/>
                    </a:lnTo>
                    <a:lnTo>
                      <a:pt x="459" y="8607"/>
                    </a:lnTo>
                    <a:lnTo>
                      <a:pt x="709" y="8869"/>
                    </a:lnTo>
                    <a:lnTo>
                      <a:pt x="984" y="9106"/>
                    </a:lnTo>
                    <a:lnTo>
                      <a:pt x="984" y="9106"/>
                    </a:lnTo>
                    <a:lnTo>
                      <a:pt x="9039" y="972"/>
                    </a:lnTo>
                    <a:lnTo>
                      <a:pt x="9039" y="972"/>
                    </a:lnTo>
                    <a:lnTo>
                      <a:pt x="8790" y="709"/>
                    </a:lnTo>
                    <a:lnTo>
                      <a:pt x="8527" y="447"/>
                    </a:lnTo>
                    <a:lnTo>
                      <a:pt x="8252" y="211"/>
                    </a:lnTo>
                    <a:lnTo>
                      <a:pt x="7963"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0" name="Google Shape;2410;p45"/>
              <p:cNvSpPr/>
              <p:nvPr/>
            </p:nvSpPr>
            <p:spPr>
              <a:xfrm>
                <a:off x="5354556" y="2592667"/>
                <a:ext cx="163686" cy="165104"/>
              </a:xfrm>
              <a:custGeom>
                <a:avLst/>
                <a:gdLst/>
                <a:ahLst/>
                <a:cxnLst/>
                <a:rect l="l" t="t" r="r" b="b"/>
                <a:pathLst>
                  <a:path w="9119" h="9198" extrusionOk="0">
                    <a:moveTo>
                      <a:pt x="7583" y="1"/>
                    </a:moveTo>
                    <a:lnTo>
                      <a:pt x="7570" y="53"/>
                    </a:lnTo>
                    <a:lnTo>
                      <a:pt x="7544" y="106"/>
                    </a:lnTo>
                    <a:lnTo>
                      <a:pt x="0" y="7715"/>
                    </a:lnTo>
                    <a:lnTo>
                      <a:pt x="105" y="7925"/>
                    </a:lnTo>
                    <a:lnTo>
                      <a:pt x="223" y="8121"/>
                    </a:lnTo>
                    <a:lnTo>
                      <a:pt x="342" y="8318"/>
                    </a:lnTo>
                    <a:lnTo>
                      <a:pt x="460" y="8502"/>
                    </a:lnTo>
                    <a:lnTo>
                      <a:pt x="604" y="8685"/>
                    </a:lnTo>
                    <a:lnTo>
                      <a:pt x="735" y="8856"/>
                    </a:lnTo>
                    <a:lnTo>
                      <a:pt x="893" y="9027"/>
                    </a:lnTo>
                    <a:lnTo>
                      <a:pt x="1037" y="9197"/>
                    </a:lnTo>
                    <a:lnTo>
                      <a:pt x="9118" y="1050"/>
                    </a:lnTo>
                    <a:lnTo>
                      <a:pt x="8948" y="893"/>
                    </a:lnTo>
                    <a:lnTo>
                      <a:pt x="8764" y="735"/>
                    </a:lnTo>
                    <a:lnTo>
                      <a:pt x="8580" y="604"/>
                    </a:lnTo>
                    <a:lnTo>
                      <a:pt x="8397" y="460"/>
                    </a:lnTo>
                    <a:lnTo>
                      <a:pt x="8200" y="342"/>
                    </a:lnTo>
                    <a:lnTo>
                      <a:pt x="8003" y="224"/>
                    </a:lnTo>
                    <a:lnTo>
                      <a:pt x="7793" y="106"/>
                    </a:lnTo>
                    <a:lnTo>
                      <a:pt x="7583"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1" name="Google Shape;2411;p45"/>
              <p:cNvSpPr/>
              <p:nvPr/>
            </p:nvSpPr>
            <p:spPr>
              <a:xfrm>
                <a:off x="5354556" y="2592667"/>
                <a:ext cx="163686" cy="165104"/>
              </a:xfrm>
              <a:custGeom>
                <a:avLst/>
                <a:gdLst/>
                <a:ahLst/>
                <a:cxnLst/>
                <a:rect l="l" t="t" r="r" b="b"/>
                <a:pathLst>
                  <a:path w="9119" h="9198" fill="none" extrusionOk="0">
                    <a:moveTo>
                      <a:pt x="7583" y="1"/>
                    </a:moveTo>
                    <a:lnTo>
                      <a:pt x="7583" y="1"/>
                    </a:lnTo>
                    <a:lnTo>
                      <a:pt x="7570" y="53"/>
                    </a:lnTo>
                    <a:lnTo>
                      <a:pt x="7544" y="106"/>
                    </a:lnTo>
                    <a:lnTo>
                      <a:pt x="0" y="7715"/>
                    </a:lnTo>
                    <a:lnTo>
                      <a:pt x="0" y="7715"/>
                    </a:lnTo>
                    <a:lnTo>
                      <a:pt x="105" y="7925"/>
                    </a:lnTo>
                    <a:lnTo>
                      <a:pt x="223" y="8121"/>
                    </a:lnTo>
                    <a:lnTo>
                      <a:pt x="342" y="8318"/>
                    </a:lnTo>
                    <a:lnTo>
                      <a:pt x="460" y="8502"/>
                    </a:lnTo>
                    <a:lnTo>
                      <a:pt x="604" y="8685"/>
                    </a:lnTo>
                    <a:lnTo>
                      <a:pt x="735" y="8856"/>
                    </a:lnTo>
                    <a:lnTo>
                      <a:pt x="893" y="9027"/>
                    </a:lnTo>
                    <a:lnTo>
                      <a:pt x="1037" y="9197"/>
                    </a:lnTo>
                    <a:lnTo>
                      <a:pt x="9118" y="1050"/>
                    </a:lnTo>
                    <a:lnTo>
                      <a:pt x="9118" y="1050"/>
                    </a:lnTo>
                    <a:lnTo>
                      <a:pt x="8948" y="893"/>
                    </a:lnTo>
                    <a:lnTo>
                      <a:pt x="8764" y="735"/>
                    </a:lnTo>
                    <a:lnTo>
                      <a:pt x="8580" y="604"/>
                    </a:lnTo>
                    <a:lnTo>
                      <a:pt x="8397" y="460"/>
                    </a:lnTo>
                    <a:lnTo>
                      <a:pt x="8200" y="342"/>
                    </a:lnTo>
                    <a:lnTo>
                      <a:pt x="8003" y="224"/>
                    </a:lnTo>
                    <a:lnTo>
                      <a:pt x="7793" y="106"/>
                    </a:lnTo>
                    <a:lnTo>
                      <a:pt x="7583"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2" name="Google Shape;2412;p45"/>
              <p:cNvSpPr/>
              <p:nvPr/>
            </p:nvSpPr>
            <p:spPr>
              <a:xfrm>
                <a:off x="5392933" y="2630811"/>
                <a:ext cx="150726" cy="151911"/>
              </a:xfrm>
              <a:custGeom>
                <a:avLst/>
                <a:gdLst/>
                <a:ahLst/>
                <a:cxnLst/>
                <a:rect l="l" t="t" r="r" b="b"/>
                <a:pathLst>
                  <a:path w="8397" h="8463" extrusionOk="0">
                    <a:moveTo>
                      <a:pt x="7859" y="1"/>
                    </a:moveTo>
                    <a:lnTo>
                      <a:pt x="1" y="7951"/>
                    </a:lnTo>
                    <a:lnTo>
                      <a:pt x="250" y="8095"/>
                    </a:lnTo>
                    <a:lnTo>
                      <a:pt x="512" y="8227"/>
                    </a:lnTo>
                    <a:lnTo>
                      <a:pt x="775" y="8358"/>
                    </a:lnTo>
                    <a:lnTo>
                      <a:pt x="1063" y="8463"/>
                    </a:lnTo>
                    <a:lnTo>
                      <a:pt x="8397" y="1064"/>
                    </a:lnTo>
                    <a:lnTo>
                      <a:pt x="8279" y="788"/>
                    </a:lnTo>
                    <a:lnTo>
                      <a:pt x="8161" y="513"/>
                    </a:lnTo>
                    <a:lnTo>
                      <a:pt x="8017" y="250"/>
                    </a:lnTo>
                    <a:lnTo>
                      <a:pt x="7859"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3" name="Google Shape;2413;p45"/>
              <p:cNvSpPr/>
              <p:nvPr/>
            </p:nvSpPr>
            <p:spPr>
              <a:xfrm>
                <a:off x="5392933" y="2630811"/>
                <a:ext cx="150726" cy="151911"/>
              </a:xfrm>
              <a:custGeom>
                <a:avLst/>
                <a:gdLst/>
                <a:ahLst/>
                <a:cxnLst/>
                <a:rect l="l" t="t" r="r" b="b"/>
                <a:pathLst>
                  <a:path w="8397" h="8463" fill="none" extrusionOk="0">
                    <a:moveTo>
                      <a:pt x="7859" y="1"/>
                    </a:moveTo>
                    <a:lnTo>
                      <a:pt x="1" y="7951"/>
                    </a:lnTo>
                    <a:lnTo>
                      <a:pt x="1" y="7951"/>
                    </a:lnTo>
                    <a:lnTo>
                      <a:pt x="250" y="8095"/>
                    </a:lnTo>
                    <a:lnTo>
                      <a:pt x="512" y="8227"/>
                    </a:lnTo>
                    <a:lnTo>
                      <a:pt x="775" y="8358"/>
                    </a:lnTo>
                    <a:lnTo>
                      <a:pt x="1063" y="8463"/>
                    </a:lnTo>
                    <a:lnTo>
                      <a:pt x="8397" y="1064"/>
                    </a:lnTo>
                    <a:lnTo>
                      <a:pt x="8397" y="1064"/>
                    </a:lnTo>
                    <a:lnTo>
                      <a:pt x="8279" y="788"/>
                    </a:lnTo>
                    <a:lnTo>
                      <a:pt x="8161" y="513"/>
                    </a:lnTo>
                    <a:lnTo>
                      <a:pt x="8017" y="250"/>
                    </a:lnTo>
                    <a:lnTo>
                      <a:pt x="7859"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4" name="Google Shape;2414;p45"/>
              <p:cNvSpPr/>
              <p:nvPr/>
            </p:nvSpPr>
            <p:spPr>
              <a:xfrm>
                <a:off x="5640428" y="2647774"/>
                <a:ext cx="136833" cy="138251"/>
              </a:xfrm>
              <a:custGeom>
                <a:avLst/>
                <a:gdLst/>
                <a:ahLst/>
                <a:cxnLst/>
                <a:rect l="l" t="t" r="r" b="b"/>
                <a:pathLst>
                  <a:path w="7623" h="7702" extrusionOk="0">
                    <a:moveTo>
                      <a:pt x="7452" y="1"/>
                    </a:moveTo>
                    <a:lnTo>
                      <a:pt x="1" y="7518"/>
                    </a:lnTo>
                    <a:lnTo>
                      <a:pt x="250" y="7610"/>
                    </a:lnTo>
                    <a:lnTo>
                      <a:pt x="512" y="7701"/>
                    </a:lnTo>
                    <a:lnTo>
                      <a:pt x="2297" y="5904"/>
                    </a:lnTo>
                    <a:lnTo>
                      <a:pt x="4081" y="4107"/>
                    </a:lnTo>
                    <a:lnTo>
                      <a:pt x="5852" y="2296"/>
                    </a:lnTo>
                    <a:lnTo>
                      <a:pt x="7623" y="486"/>
                    </a:lnTo>
                    <a:lnTo>
                      <a:pt x="7544" y="237"/>
                    </a:lnTo>
                    <a:lnTo>
                      <a:pt x="7452"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5" name="Google Shape;2415;p45"/>
              <p:cNvSpPr/>
              <p:nvPr/>
            </p:nvSpPr>
            <p:spPr>
              <a:xfrm>
                <a:off x="5640428" y="2647774"/>
                <a:ext cx="136833" cy="138251"/>
              </a:xfrm>
              <a:custGeom>
                <a:avLst/>
                <a:gdLst/>
                <a:ahLst/>
                <a:cxnLst/>
                <a:rect l="l" t="t" r="r" b="b"/>
                <a:pathLst>
                  <a:path w="7623" h="7702" fill="none" extrusionOk="0">
                    <a:moveTo>
                      <a:pt x="7452" y="1"/>
                    </a:moveTo>
                    <a:lnTo>
                      <a:pt x="1" y="7518"/>
                    </a:lnTo>
                    <a:lnTo>
                      <a:pt x="1" y="7518"/>
                    </a:lnTo>
                    <a:lnTo>
                      <a:pt x="250" y="7610"/>
                    </a:lnTo>
                    <a:lnTo>
                      <a:pt x="512" y="7701"/>
                    </a:lnTo>
                    <a:lnTo>
                      <a:pt x="512" y="7701"/>
                    </a:lnTo>
                    <a:lnTo>
                      <a:pt x="2297" y="5904"/>
                    </a:lnTo>
                    <a:lnTo>
                      <a:pt x="4081" y="4107"/>
                    </a:lnTo>
                    <a:lnTo>
                      <a:pt x="5852" y="2296"/>
                    </a:lnTo>
                    <a:lnTo>
                      <a:pt x="7623" y="486"/>
                    </a:lnTo>
                    <a:lnTo>
                      <a:pt x="7623" y="486"/>
                    </a:lnTo>
                    <a:lnTo>
                      <a:pt x="7544" y="237"/>
                    </a:lnTo>
                    <a:lnTo>
                      <a:pt x="7452"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6" name="Google Shape;2416;p45"/>
              <p:cNvSpPr/>
              <p:nvPr/>
            </p:nvSpPr>
            <p:spPr>
              <a:xfrm>
                <a:off x="5343966" y="2582777"/>
                <a:ext cx="438016" cy="207484"/>
              </a:xfrm>
              <a:custGeom>
                <a:avLst/>
                <a:gdLst/>
                <a:ahLst/>
                <a:cxnLst/>
                <a:rect l="l" t="t" r="r" b="b"/>
                <a:pathLst>
                  <a:path w="24402" h="11559" extrusionOk="0">
                    <a:moveTo>
                      <a:pt x="5733" y="1155"/>
                    </a:moveTo>
                    <a:lnTo>
                      <a:pt x="5969" y="1168"/>
                    </a:lnTo>
                    <a:lnTo>
                      <a:pt x="6192" y="1181"/>
                    </a:lnTo>
                    <a:lnTo>
                      <a:pt x="6428" y="1208"/>
                    </a:lnTo>
                    <a:lnTo>
                      <a:pt x="6651" y="1247"/>
                    </a:lnTo>
                    <a:lnTo>
                      <a:pt x="6874" y="1299"/>
                    </a:lnTo>
                    <a:lnTo>
                      <a:pt x="7097" y="1365"/>
                    </a:lnTo>
                    <a:lnTo>
                      <a:pt x="7307" y="1431"/>
                    </a:lnTo>
                    <a:lnTo>
                      <a:pt x="7517" y="1509"/>
                    </a:lnTo>
                    <a:lnTo>
                      <a:pt x="7714" y="1601"/>
                    </a:lnTo>
                    <a:lnTo>
                      <a:pt x="7911" y="1706"/>
                    </a:lnTo>
                    <a:lnTo>
                      <a:pt x="8108" y="1811"/>
                    </a:lnTo>
                    <a:lnTo>
                      <a:pt x="8291" y="1929"/>
                    </a:lnTo>
                    <a:lnTo>
                      <a:pt x="8475" y="2060"/>
                    </a:lnTo>
                    <a:lnTo>
                      <a:pt x="8645" y="2192"/>
                    </a:lnTo>
                    <a:lnTo>
                      <a:pt x="8816" y="2336"/>
                    </a:lnTo>
                    <a:lnTo>
                      <a:pt x="8973" y="2493"/>
                    </a:lnTo>
                    <a:lnTo>
                      <a:pt x="9131" y="2651"/>
                    </a:lnTo>
                    <a:lnTo>
                      <a:pt x="9275" y="2821"/>
                    </a:lnTo>
                    <a:lnTo>
                      <a:pt x="9406" y="2992"/>
                    </a:lnTo>
                    <a:lnTo>
                      <a:pt x="9538" y="3162"/>
                    </a:lnTo>
                    <a:lnTo>
                      <a:pt x="9656" y="3346"/>
                    </a:lnTo>
                    <a:lnTo>
                      <a:pt x="9774" y="3543"/>
                    </a:lnTo>
                    <a:lnTo>
                      <a:pt x="9879" y="3740"/>
                    </a:lnTo>
                    <a:lnTo>
                      <a:pt x="9970" y="3949"/>
                    </a:lnTo>
                    <a:lnTo>
                      <a:pt x="10049" y="4146"/>
                    </a:lnTo>
                    <a:lnTo>
                      <a:pt x="10128" y="4369"/>
                    </a:lnTo>
                    <a:lnTo>
                      <a:pt x="10180" y="4579"/>
                    </a:lnTo>
                    <a:lnTo>
                      <a:pt x="10233" y="4802"/>
                    </a:lnTo>
                    <a:lnTo>
                      <a:pt x="10285" y="5025"/>
                    </a:lnTo>
                    <a:lnTo>
                      <a:pt x="10312" y="5261"/>
                    </a:lnTo>
                    <a:lnTo>
                      <a:pt x="10325" y="5484"/>
                    </a:lnTo>
                    <a:lnTo>
                      <a:pt x="10338" y="5721"/>
                    </a:lnTo>
                    <a:lnTo>
                      <a:pt x="10325" y="5957"/>
                    </a:lnTo>
                    <a:lnTo>
                      <a:pt x="10312" y="6193"/>
                    </a:lnTo>
                    <a:lnTo>
                      <a:pt x="10285" y="6429"/>
                    </a:lnTo>
                    <a:lnTo>
                      <a:pt x="10246" y="6652"/>
                    </a:lnTo>
                    <a:lnTo>
                      <a:pt x="10194" y="6875"/>
                    </a:lnTo>
                    <a:lnTo>
                      <a:pt x="10141" y="7085"/>
                    </a:lnTo>
                    <a:lnTo>
                      <a:pt x="10062" y="7295"/>
                    </a:lnTo>
                    <a:lnTo>
                      <a:pt x="9984" y="7505"/>
                    </a:lnTo>
                    <a:lnTo>
                      <a:pt x="9892" y="7715"/>
                    </a:lnTo>
                    <a:lnTo>
                      <a:pt x="9787" y="7911"/>
                    </a:lnTo>
                    <a:lnTo>
                      <a:pt x="9682" y="8108"/>
                    </a:lnTo>
                    <a:lnTo>
                      <a:pt x="9564" y="8292"/>
                    </a:lnTo>
                    <a:lnTo>
                      <a:pt x="9433" y="8476"/>
                    </a:lnTo>
                    <a:lnTo>
                      <a:pt x="9301" y="8646"/>
                    </a:lnTo>
                    <a:lnTo>
                      <a:pt x="9157" y="8817"/>
                    </a:lnTo>
                    <a:lnTo>
                      <a:pt x="9013" y="8974"/>
                    </a:lnTo>
                    <a:lnTo>
                      <a:pt x="8842" y="9118"/>
                    </a:lnTo>
                    <a:lnTo>
                      <a:pt x="8685" y="9276"/>
                    </a:lnTo>
                    <a:lnTo>
                      <a:pt x="8514" y="9407"/>
                    </a:lnTo>
                    <a:lnTo>
                      <a:pt x="8331" y="9538"/>
                    </a:lnTo>
                    <a:lnTo>
                      <a:pt x="8147" y="9656"/>
                    </a:lnTo>
                    <a:lnTo>
                      <a:pt x="7950" y="9761"/>
                    </a:lnTo>
                    <a:lnTo>
                      <a:pt x="7753" y="9866"/>
                    </a:lnTo>
                    <a:lnTo>
                      <a:pt x="7557" y="9958"/>
                    </a:lnTo>
                    <a:lnTo>
                      <a:pt x="7347" y="10050"/>
                    </a:lnTo>
                    <a:lnTo>
                      <a:pt x="7137" y="10115"/>
                    </a:lnTo>
                    <a:lnTo>
                      <a:pt x="6914" y="10181"/>
                    </a:lnTo>
                    <a:lnTo>
                      <a:pt x="6691" y="10234"/>
                    </a:lnTo>
                    <a:lnTo>
                      <a:pt x="6468" y="10273"/>
                    </a:lnTo>
                    <a:lnTo>
                      <a:pt x="6245" y="10299"/>
                    </a:lnTo>
                    <a:lnTo>
                      <a:pt x="6009" y="10325"/>
                    </a:lnTo>
                    <a:lnTo>
                      <a:pt x="5536" y="10325"/>
                    </a:lnTo>
                    <a:lnTo>
                      <a:pt x="5300" y="10312"/>
                    </a:lnTo>
                    <a:lnTo>
                      <a:pt x="5077" y="10286"/>
                    </a:lnTo>
                    <a:lnTo>
                      <a:pt x="4854" y="10247"/>
                    </a:lnTo>
                    <a:lnTo>
                      <a:pt x="4631" y="10194"/>
                    </a:lnTo>
                    <a:lnTo>
                      <a:pt x="4408" y="10129"/>
                    </a:lnTo>
                    <a:lnTo>
                      <a:pt x="4198" y="10063"/>
                    </a:lnTo>
                    <a:lnTo>
                      <a:pt x="3988" y="9984"/>
                    </a:lnTo>
                    <a:lnTo>
                      <a:pt x="3778" y="9892"/>
                    </a:lnTo>
                    <a:lnTo>
                      <a:pt x="3582" y="9787"/>
                    </a:lnTo>
                    <a:lnTo>
                      <a:pt x="3398" y="9683"/>
                    </a:lnTo>
                    <a:lnTo>
                      <a:pt x="3201" y="9564"/>
                    </a:lnTo>
                    <a:lnTo>
                      <a:pt x="3031" y="9433"/>
                    </a:lnTo>
                    <a:lnTo>
                      <a:pt x="2847" y="9302"/>
                    </a:lnTo>
                    <a:lnTo>
                      <a:pt x="2689" y="9158"/>
                    </a:lnTo>
                    <a:lnTo>
                      <a:pt x="2519" y="9000"/>
                    </a:lnTo>
                    <a:lnTo>
                      <a:pt x="2375" y="8843"/>
                    </a:lnTo>
                    <a:lnTo>
                      <a:pt x="2230" y="8672"/>
                    </a:lnTo>
                    <a:lnTo>
                      <a:pt x="2086" y="8502"/>
                    </a:lnTo>
                    <a:lnTo>
                      <a:pt x="1968" y="8331"/>
                    </a:lnTo>
                    <a:lnTo>
                      <a:pt x="1837" y="8134"/>
                    </a:lnTo>
                    <a:lnTo>
                      <a:pt x="1732" y="7951"/>
                    </a:lnTo>
                    <a:lnTo>
                      <a:pt x="1627" y="7754"/>
                    </a:lnTo>
                    <a:lnTo>
                      <a:pt x="1535" y="7544"/>
                    </a:lnTo>
                    <a:lnTo>
                      <a:pt x="1456" y="7347"/>
                    </a:lnTo>
                    <a:lnTo>
                      <a:pt x="1378" y="7124"/>
                    </a:lnTo>
                    <a:lnTo>
                      <a:pt x="1312" y="6914"/>
                    </a:lnTo>
                    <a:lnTo>
                      <a:pt x="1259" y="6691"/>
                    </a:lnTo>
                    <a:lnTo>
                      <a:pt x="1220" y="6468"/>
                    </a:lnTo>
                    <a:lnTo>
                      <a:pt x="1194" y="6232"/>
                    </a:lnTo>
                    <a:lnTo>
                      <a:pt x="1168" y="6009"/>
                    </a:lnTo>
                    <a:lnTo>
                      <a:pt x="1168" y="5773"/>
                    </a:lnTo>
                    <a:lnTo>
                      <a:pt x="1168" y="5537"/>
                    </a:lnTo>
                    <a:lnTo>
                      <a:pt x="1181" y="5301"/>
                    </a:lnTo>
                    <a:lnTo>
                      <a:pt x="1220" y="5065"/>
                    </a:lnTo>
                    <a:lnTo>
                      <a:pt x="1259" y="4842"/>
                    </a:lnTo>
                    <a:lnTo>
                      <a:pt x="1299" y="4619"/>
                    </a:lnTo>
                    <a:lnTo>
                      <a:pt x="1364" y="4409"/>
                    </a:lnTo>
                    <a:lnTo>
                      <a:pt x="1443" y="4186"/>
                    </a:lnTo>
                    <a:lnTo>
                      <a:pt x="1522" y="3989"/>
                    </a:lnTo>
                    <a:lnTo>
                      <a:pt x="1614" y="3779"/>
                    </a:lnTo>
                    <a:lnTo>
                      <a:pt x="1706" y="3582"/>
                    </a:lnTo>
                    <a:lnTo>
                      <a:pt x="1824" y="3385"/>
                    </a:lnTo>
                    <a:lnTo>
                      <a:pt x="1942" y="3202"/>
                    </a:lnTo>
                    <a:lnTo>
                      <a:pt x="2060" y="3018"/>
                    </a:lnTo>
                    <a:lnTo>
                      <a:pt x="2204" y="2847"/>
                    </a:lnTo>
                    <a:lnTo>
                      <a:pt x="2348" y="2677"/>
                    </a:lnTo>
                    <a:lnTo>
                      <a:pt x="2493" y="2520"/>
                    </a:lnTo>
                    <a:lnTo>
                      <a:pt x="2650" y="2362"/>
                    </a:lnTo>
                    <a:lnTo>
                      <a:pt x="2821" y="2218"/>
                    </a:lnTo>
                    <a:lnTo>
                      <a:pt x="2991" y="2087"/>
                    </a:lnTo>
                    <a:lnTo>
                      <a:pt x="3175" y="1955"/>
                    </a:lnTo>
                    <a:lnTo>
                      <a:pt x="3359" y="1837"/>
                    </a:lnTo>
                    <a:lnTo>
                      <a:pt x="3542" y="1719"/>
                    </a:lnTo>
                    <a:lnTo>
                      <a:pt x="3739" y="1627"/>
                    </a:lnTo>
                    <a:lnTo>
                      <a:pt x="3949" y="1536"/>
                    </a:lnTo>
                    <a:lnTo>
                      <a:pt x="4159" y="1444"/>
                    </a:lnTo>
                    <a:lnTo>
                      <a:pt x="4369" y="1378"/>
                    </a:lnTo>
                    <a:lnTo>
                      <a:pt x="4592" y="1313"/>
                    </a:lnTo>
                    <a:lnTo>
                      <a:pt x="4802" y="1260"/>
                    </a:lnTo>
                    <a:lnTo>
                      <a:pt x="5038" y="1221"/>
                    </a:lnTo>
                    <a:lnTo>
                      <a:pt x="5261" y="1181"/>
                    </a:lnTo>
                    <a:lnTo>
                      <a:pt x="5497" y="1168"/>
                    </a:lnTo>
                    <a:lnTo>
                      <a:pt x="5733" y="1155"/>
                    </a:lnTo>
                    <a:close/>
                    <a:moveTo>
                      <a:pt x="18629" y="1221"/>
                    </a:moveTo>
                    <a:lnTo>
                      <a:pt x="18865" y="1234"/>
                    </a:lnTo>
                    <a:lnTo>
                      <a:pt x="19101" y="1247"/>
                    </a:lnTo>
                    <a:lnTo>
                      <a:pt x="19324" y="1273"/>
                    </a:lnTo>
                    <a:lnTo>
                      <a:pt x="19560" y="1313"/>
                    </a:lnTo>
                    <a:lnTo>
                      <a:pt x="19783" y="1365"/>
                    </a:lnTo>
                    <a:lnTo>
                      <a:pt x="19993" y="1431"/>
                    </a:lnTo>
                    <a:lnTo>
                      <a:pt x="20203" y="1496"/>
                    </a:lnTo>
                    <a:lnTo>
                      <a:pt x="20413" y="1575"/>
                    </a:lnTo>
                    <a:lnTo>
                      <a:pt x="20623" y="1667"/>
                    </a:lnTo>
                    <a:lnTo>
                      <a:pt x="20820" y="1772"/>
                    </a:lnTo>
                    <a:lnTo>
                      <a:pt x="21017" y="1877"/>
                    </a:lnTo>
                    <a:lnTo>
                      <a:pt x="21200" y="1995"/>
                    </a:lnTo>
                    <a:lnTo>
                      <a:pt x="21384" y="2126"/>
                    </a:lnTo>
                    <a:lnTo>
                      <a:pt x="21555" y="2257"/>
                    </a:lnTo>
                    <a:lnTo>
                      <a:pt x="21725" y="2401"/>
                    </a:lnTo>
                    <a:lnTo>
                      <a:pt x="21882" y="2559"/>
                    </a:lnTo>
                    <a:lnTo>
                      <a:pt x="22027" y="2716"/>
                    </a:lnTo>
                    <a:lnTo>
                      <a:pt x="22171" y="2874"/>
                    </a:lnTo>
                    <a:lnTo>
                      <a:pt x="22315" y="3057"/>
                    </a:lnTo>
                    <a:lnTo>
                      <a:pt x="22447" y="3228"/>
                    </a:lnTo>
                    <a:lnTo>
                      <a:pt x="22565" y="3412"/>
                    </a:lnTo>
                    <a:lnTo>
                      <a:pt x="22670" y="3608"/>
                    </a:lnTo>
                    <a:lnTo>
                      <a:pt x="22775" y="3805"/>
                    </a:lnTo>
                    <a:lnTo>
                      <a:pt x="22866" y="4002"/>
                    </a:lnTo>
                    <a:lnTo>
                      <a:pt x="22958" y="4212"/>
                    </a:lnTo>
                    <a:lnTo>
                      <a:pt x="23024" y="4422"/>
                    </a:lnTo>
                    <a:lnTo>
                      <a:pt x="23089" y="4645"/>
                    </a:lnTo>
                    <a:lnTo>
                      <a:pt x="23142" y="4868"/>
                    </a:lnTo>
                    <a:lnTo>
                      <a:pt x="23181" y="5091"/>
                    </a:lnTo>
                    <a:lnTo>
                      <a:pt x="23208" y="5327"/>
                    </a:lnTo>
                    <a:lnTo>
                      <a:pt x="23234" y="5550"/>
                    </a:lnTo>
                    <a:lnTo>
                      <a:pt x="23234" y="5786"/>
                    </a:lnTo>
                    <a:lnTo>
                      <a:pt x="23234" y="6022"/>
                    </a:lnTo>
                    <a:lnTo>
                      <a:pt x="23221" y="6258"/>
                    </a:lnTo>
                    <a:lnTo>
                      <a:pt x="23194" y="6481"/>
                    </a:lnTo>
                    <a:lnTo>
                      <a:pt x="23155" y="6718"/>
                    </a:lnTo>
                    <a:lnTo>
                      <a:pt x="23103" y="6928"/>
                    </a:lnTo>
                    <a:lnTo>
                      <a:pt x="23037" y="7151"/>
                    </a:lnTo>
                    <a:lnTo>
                      <a:pt x="22971" y="7360"/>
                    </a:lnTo>
                    <a:lnTo>
                      <a:pt x="22893" y="7570"/>
                    </a:lnTo>
                    <a:lnTo>
                      <a:pt x="22801" y="7780"/>
                    </a:lnTo>
                    <a:lnTo>
                      <a:pt x="22696" y="7977"/>
                    </a:lnTo>
                    <a:lnTo>
                      <a:pt x="22591" y="8174"/>
                    </a:lnTo>
                    <a:lnTo>
                      <a:pt x="22473" y="8357"/>
                    </a:lnTo>
                    <a:lnTo>
                      <a:pt x="22342" y="8528"/>
                    </a:lnTo>
                    <a:lnTo>
                      <a:pt x="22210" y="8712"/>
                    </a:lnTo>
                    <a:lnTo>
                      <a:pt x="22066" y="8869"/>
                    </a:lnTo>
                    <a:lnTo>
                      <a:pt x="21909" y="9040"/>
                    </a:lnTo>
                    <a:lnTo>
                      <a:pt x="21751" y="9184"/>
                    </a:lnTo>
                    <a:lnTo>
                      <a:pt x="21581" y="9328"/>
                    </a:lnTo>
                    <a:lnTo>
                      <a:pt x="21410" y="9473"/>
                    </a:lnTo>
                    <a:lnTo>
                      <a:pt x="21240" y="9604"/>
                    </a:lnTo>
                    <a:lnTo>
                      <a:pt x="21043" y="9722"/>
                    </a:lnTo>
                    <a:lnTo>
                      <a:pt x="20859" y="9827"/>
                    </a:lnTo>
                    <a:lnTo>
                      <a:pt x="20662" y="9932"/>
                    </a:lnTo>
                    <a:lnTo>
                      <a:pt x="20453" y="10024"/>
                    </a:lnTo>
                    <a:lnTo>
                      <a:pt x="20243" y="10115"/>
                    </a:lnTo>
                    <a:lnTo>
                      <a:pt x="20033" y="10181"/>
                    </a:lnTo>
                    <a:lnTo>
                      <a:pt x="19823" y="10247"/>
                    </a:lnTo>
                    <a:lnTo>
                      <a:pt x="19600" y="10299"/>
                    </a:lnTo>
                    <a:lnTo>
                      <a:pt x="19377" y="10338"/>
                    </a:lnTo>
                    <a:lnTo>
                      <a:pt x="19141" y="10365"/>
                    </a:lnTo>
                    <a:lnTo>
                      <a:pt x="18904" y="10391"/>
                    </a:lnTo>
                    <a:lnTo>
                      <a:pt x="18472" y="10391"/>
                    </a:lnTo>
                    <a:lnTo>
                      <a:pt x="18275" y="10378"/>
                    </a:lnTo>
                    <a:lnTo>
                      <a:pt x="18065" y="10352"/>
                    </a:lnTo>
                    <a:lnTo>
                      <a:pt x="17868" y="10325"/>
                    </a:lnTo>
                    <a:lnTo>
                      <a:pt x="17671" y="10286"/>
                    </a:lnTo>
                    <a:lnTo>
                      <a:pt x="17475" y="10234"/>
                    </a:lnTo>
                    <a:lnTo>
                      <a:pt x="17278" y="10181"/>
                    </a:lnTo>
                    <a:lnTo>
                      <a:pt x="17081" y="10115"/>
                    </a:lnTo>
                    <a:lnTo>
                      <a:pt x="16897" y="10050"/>
                    </a:lnTo>
                    <a:lnTo>
                      <a:pt x="16714" y="9958"/>
                    </a:lnTo>
                    <a:lnTo>
                      <a:pt x="16530" y="9866"/>
                    </a:lnTo>
                    <a:lnTo>
                      <a:pt x="16359" y="9774"/>
                    </a:lnTo>
                    <a:lnTo>
                      <a:pt x="16176" y="9669"/>
                    </a:lnTo>
                    <a:lnTo>
                      <a:pt x="16018" y="9551"/>
                    </a:lnTo>
                    <a:lnTo>
                      <a:pt x="15848" y="9433"/>
                    </a:lnTo>
                    <a:lnTo>
                      <a:pt x="15690" y="9302"/>
                    </a:lnTo>
                    <a:lnTo>
                      <a:pt x="15480" y="9118"/>
                    </a:lnTo>
                    <a:lnTo>
                      <a:pt x="15284" y="8908"/>
                    </a:lnTo>
                    <a:lnTo>
                      <a:pt x="15100" y="8699"/>
                    </a:lnTo>
                    <a:lnTo>
                      <a:pt x="14929" y="8476"/>
                    </a:lnTo>
                    <a:lnTo>
                      <a:pt x="14772" y="8239"/>
                    </a:lnTo>
                    <a:lnTo>
                      <a:pt x="14628" y="7990"/>
                    </a:lnTo>
                    <a:lnTo>
                      <a:pt x="14497" y="7741"/>
                    </a:lnTo>
                    <a:lnTo>
                      <a:pt x="14392" y="7492"/>
                    </a:lnTo>
                    <a:lnTo>
                      <a:pt x="14300" y="7216"/>
                    </a:lnTo>
                    <a:lnTo>
                      <a:pt x="14221" y="6954"/>
                    </a:lnTo>
                    <a:lnTo>
                      <a:pt x="14155" y="6678"/>
                    </a:lnTo>
                    <a:lnTo>
                      <a:pt x="14116" y="6403"/>
                    </a:lnTo>
                    <a:lnTo>
                      <a:pt x="14090" y="6114"/>
                    </a:lnTo>
                    <a:lnTo>
                      <a:pt x="14077" y="5839"/>
                    </a:lnTo>
                    <a:lnTo>
                      <a:pt x="14077" y="5550"/>
                    </a:lnTo>
                    <a:lnTo>
                      <a:pt x="14103" y="5261"/>
                    </a:lnTo>
                    <a:lnTo>
                      <a:pt x="14129" y="5051"/>
                    </a:lnTo>
                    <a:lnTo>
                      <a:pt x="14182" y="4842"/>
                    </a:lnTo>
                    <a:lnTo>
                      <a:pt x="14221" y="4645"/>
                    </a:lnTo>
                    <a:lnTo>
                      <a:pt x="14287" y="4448"/>
                    </a:lnTo>
                    <a:lnTo>
                      <a:pt x="14352" y="4238"/>
                    </a:lnTo>
                    <a:lnTo>
                      <a:pt x="14431" y="4054"/>
                    </a:lnTo>
                    <a:lnTo>
                      <a:pt x="14510" y="3858"/>
                    </a:lnTo>
                    <a:lnTo>
                      <a:pt x="14601" y="3674"/>
                    </a:lnTo>
                    <a:lnTo>
                      <a:pt x="14706" y="3503"/>
                    </a:lnTo>
                    <a:lnTo>
                      <a:pt x="14811" y="3320"/>
                    </a:lnTo>
                    <a:lnTo>
                      <a:pt x="14929" y="3149"/>
                    </a:lnTo>
                    <a:lnTo>
                      <a:pt x="15048" y="2992"/>
                    </a:lnTo>
                    <a:lnTo>
                      <a:pt x="15179" y="2834"/>
                    </a:lnTo>
                    <a:lnTo>
                      <a:pt x="15310" y="2677"/>
                    </a:lnTo>
                    <a:lnTo>
                      <a:pt x="15454" y="2533"/>
                    </a:lnTo>
                    <a:lnTo>
                      <a:pt x="15599" y="2401"/>
                    </a:lnTo>
                    <a:lnTo>
                      <a:pt x="15756" y="2270"/>
                    </a:lnTo>
                    <a:lnTo>
                      <a:pt x="15913" y="2139"/>
                    </a:lnTo>
                    <a:lnTo>
                      <a:pt x="16084" y="2021"/>
                    </a:lnTo>
                    <a:lnTo>
                      <a:pt x="16254" y="1903"/>
                    </a:lnTo>
                    <a:lnTo>
                      <a:pt x="16438" y="1811"/>
                    </a:lnTo>
                    <a:lnTo>
                      <a:pt x="16609" y="1706"/>
                    </a:lnTo>
                    <a:lnTo>
                      <a:pt x="16792" y="1627"/>
                    </a:lnTo>
                    <a:lnTo>
                      <a:pt x="16989" y="1536"/>
                    </a:lnTo>
                    <a:lnTo>
                      <a:pt x="17186" y="1470"/>
                    </a:lnTo>
                    <a:lnTo>
                      <a:pt x="17383" y="1404"/>
                    </a:lnTo>
                    <a:lnTo>
                      <a:pt x="17579" y="1352"/>
                    </a:lnTo>
                    <a:lnTo>
                      <a:pt x="17789" y="1313"/>
                    </a:lnTo>
                    <a:lnTo>
                      <a:pt x="17999" y="1273"/>
                    </a:lnTo>
                    <a:lnTo>
                      <a:pt x="18209" y="1247"/>
                    </a:lnTo>
                    <a:lnTo>
                      <a:pt x="18419" y="1234"/>
                    </a:lnTo>
                    <a:lnTo>
                      <a:pt x="18629" y="1221"/>
                    </a:lnTo>
                    <a:close/>
                    <a:moveTo>
                      <a:pt x="5431" y="1"/>
                    </a:moveTo>
                    <a:lnTo>
                      <a:pt x="5143" y="27"/>
                    </a:lnTo>
                    <a:lnTo>
                      <a:pt x="4854" y="66"/>
                    </a:lnTo>
                    <a:lnTo>
                      <a:pt x="4565" y="119"/>
                    </a:lnTo>
                    <a:lnTo>
                      <a:pt x="4290" y="184"/>
                    </a:lnTo>
                    <a:lnTo>
                      <a:pt x="4014" y="263"/>
                    </a:lnTo>
                    <a:lnTo>
                      <a:pt x="3752" y="355"/>
                    </a:lnTo>
                    <a:lnTo>
                      <a:pt x="3490" y="460"/>
                    </a:lnTo>
                    <a:lnTo>
                      <a:pt x="3240" y="578"/>
                    </a:lnTo>
                    <a:lnTo>
                      <a:pt x="2991" y="709"/>
                    </a:lnTo>
                    <a:lnTo>
                      <a:pt x="2742" y="840"/>
                    </a:lnTo>
                    <a:lnTo>
                      <a:pt x="2519" y="998"/>
                    </a:lnTo>
                    <a:lnTo>
                      <a:pt x="2296" y="1155"/>
                    </a:lnTo>
                    <a:lnTo>
                      <a:pt x="2073" y="1326"/>
                    </a:lnTo>
                    <a:lnTo>
                      <a:pt x="1863" y="1509"/>
                    </a:lnTo>
                    <a:lnTo>
                      <a:pt x="1666" y="1706"/>
                    </a:lnTo>
                    <a:lnTo>
                      <a:pt x="1483" y="1903"/>
                    </a:lnTo>
                    <a:lnTo>
                      <a:pt x="1299" y="2113"/>
                    </a:lnTo>
                    <a:lnTo>
                      <a:pt x="1128" y="2336"/>
                    </a:lnTo>
                    <a:lnTo>
                      <a:pt x="971" y="2559"/>
                    </a:lnTo>
                    <a:lnTo>
                      <a:pt x="813" y="2795"/>
                    </a:lnTo>
                    <a:lnTo>
                      <a:pt x="682" y="3031"/>
                    </a:lnTo>
                    <a:lnTo>
                      <a:pt x="551" y="3280"/>
                    </a:lnTo>
                    <a:lnTo>
                      <a:pt x="446" y="3530"/>
                    </a:lnTo>
                    <a:lnTo>
                      <a:pt x="341" y="3792"/>
                    </a:lnTo>
                    <a:lnTo>
                      <a:pt x="249" y="4068"/>
                    </a:lnTo>
                    <a:lnTo>
                      <a:pt x="171" y="4343"/>
                    </a:lnTo>
                    <a:lnTo>
                      <a:pt x="105" y="4619"/>
                    </a:lnTo>
                    <a:lnTo>
                      <a:pt x="66" y="4894"/>
                    </a:lnTo>
                    <a:lnTo>
                      <a:pt x="26" y="5183"/>
                    </a:lnTo>
                    <a:lnTo>
                      <a:pt x="0" y="5471"/>
                    </a:lnTo>
                    <a:lnTo>
                      <a:pt x="0" y="5773"/>
                    </a:lnTo>
                    <a:lnTo>
                      <a:pt x="13" y="6075"/>
                    </a:lnTo>
                    <a:lnTo>
                      <a:pt x="26" y="6363"/>
                    </a:lnTo>
                    <a:lnTo>
                      <a:pt x="66" y="6652"/>
                    </a:lnTo>
                    <a:lnTo>
                      <a:pt x="118" y="6928"/>
                    </a:lnTo>
                    <a:lnTo>
                      <a:pt x="184" y="7203"/>
                    </a:lnTo>
                    <a:lnTo>
                      <a:pt x="262" y="7479"/>
                    </a:lnTo>
                    <a:lnTo>
                      <a:pt x="354" y="7741"/>
                    </a:lnTo>
                    <a:lnTo>
                      <a:pt x="459" y="8003"/>
                    </a:lnTo>
                    <a:lnTo>
                      <a:pt x="577" y="8266"/>
                    </a:lnTo>
                    <a:lnTo>
                      <a:pt x="708" y="8515"/>
                    </a:lnTo>
                    <a:lnTo>
                      <a:pt x="853" y="8751"/>
                    </a:lnTo>
                    <a:lnTo>
                      <a:pt x="997" y="8987"/>
                    </a:lnTo>
                    <a:lnTo>
                      <a:pt x="1155" y="9210"/>
                    </a:lnTo>
                    <a:lnTo>
                      <a:pt x="1338" y="9420"/>
                    </a:lnTo>
                    <a:lnTo>
                      <a:pt x="1509" y="9630"/>
                    </a:lnTo>
                    <a:lnTo>
                      <a:pt x="1706" y="9827"/>
                    </a:lnTo>
                    <a:lnTo>
                      <a:pt x="1902" y="10024"/>
                    </a:lnTo>
                    <a:lnTo>
                      <a:pt x="2112" y="10194"/>
                    </a:lnTo>
                    <a:lnTo>
                      <a:pt x="2335" y="10365"/>
                    </a:lnTo>
                    <a:lnTo>
                      <a:pt x="2558" y="10522"/>
                    </a:lnTo>
                    <a:lnTo>
                      <a:pt x="2794" y="10680"/>
                    </a:lnTo>
                    <a:lnTo>
                      <a:pt x="3031" y="10811"/>
                    </a:lnTo>
                    <a:lnTo>
                      <a:pt x="3280" y="10942"/>
                    </a:lnTo>
                    <a:lnTo>
                      <a:pt x="3542" y="11060"/>
                    </a:lnTo>
                    <a:lnTo>
                      <a:pt x="3805" y="11152"/>
                    </a:lnTo>
                    <a:lnTo>
                      <a:pt x="4067" y="11244"/>
                    </a:lnTo>
                    <a:lnTo>
                      <a:pt x="4342" y="11322"/>
                    </a:lnTo>
                    <a:lnTo>
                      <a:pt x="4618" y="11388"/>
                    </a:lnTo>
                    <a:lnTo>
                      <a:pt x="4907" y="11440"/>
                    </a:lnTo>
                    <a:lnTo>
                      <a:pt x="5195" y="11467"/>
                    </a:lnTo>
                    <a:lnTo>
                      <a:pt x="5484" y="11493"/>
                    </a:lnTo>
                    <a:lnTo>
                      <a:pt x="6061" y="11493"/>
                    </a:lnTo>
                    <a:lnTo>
                      <a:pt x="6337" y="11467"/>
                    </a:lnTo>
                    <a:lnTo>
                      <a:pt x="6612" y="11427"/>
                    </a:lnTo>
                    <a:lnTo>
                      <a:pt x="6888" y="11388"/>
                    </a:lnTo>
                    <a:lnTo>
                      <a:pt x="7150" y="11322"/>
                    </a:lnTo>
                    <a:lnTo>
                      <a:pt x="7412" y="11244"/>
                    </a:lnTo>
                    <a:lnTo>
                      <a:pt x="7675" y="11165"/>
                    </a:lnTo>
                    <a:lnTo>
                      <a:pt x="7924" y="11060"/>
                    </a:lnTo>
                    <a:lnTo>
                      <a:pt x="8173" y="10955"/>
                    </a:lnTo>
                    <a:lnTo>
                      <a:pt x="8409" y="10837"/>
                    </a:lnTo>
                    <a:lnTo>
                      <a:pt x="8645" y="10706"/>
                    </a:lnTo>
                    <a:lnTo>
                      <a:pt x="8868" y="10561"/>
                    </a:lnTo>
                    <a:lnTo>
                      <a:pt x="9092" y="10404"/>
                    </a:lnTo>
                    <a:lnTo>
                      <a:pt x="9301" y="10247"/>
                    </a:lnTo>
                    <a:lnTo>
                      <a:pt x="9511" y="10076"/>
                    </a:lnTo>
                    <a:lnTo>
                      <a:pt x="9708" y="9892"/>
                    </a:lnTo>
                    <a:lnTo>
                      <a:pt x="9905" y="9709"/>
                    </a:lnTo>
                    <a:lnTo>
                      <a:pt x="10075" y="9512"/>
                    </a:lnTo>
                    <a:lnTo>
                      <a:pt x="10246" y="9302"/>
                    </a:lnTo>
                    <a:lnTo>
                      <a:pt x="10417" y="9092"/>
                    </a:lnTo>
                    <a:lnTo>
                      <a:pt x="10561" y="8869"/>
                    </a:lnTo>
                    <a:lnTo>
                      <a:pt x="10705" y="8646"/>
                    </a:lnTo>
                    <a:lnTo>
                      <a:pt x="10836" y="8410"/>
                    </a:lnTo>
                    <a:lnTo>
                      <a:pt x="10954" y="8161"/>
                    </a:lnTo>
                    <a:lnTo>
                      <a:pt x="11059" y="7925"/>
                    </a:lnTo>
                    <a:lnTo>
                      <a:pt x="11164" y="7662"/>
                    </a:lnTo>
                    <a:lnTo>
                      <a:pt x="11243" y="7413"/>
                    </a:lnTo>
                    <a:lnTo>
                      <a:pt x="11322" y="7137"/>
                    </a:lnTo>
                    <a:lnTo>
                      <a:pt x="11387" y="6875"/>
                    </a:lnTo>
                    <a:lnTo>
                      <a:pt x="11427" y="6600"/>
                    </a:lnTo>
                    <a:lnTo>
                      <a:pt x="11466" y="6324"/>
                    </a:lnTo>
                    <a:lnTo>
                      <a:pt x="11492" y="6049"/>
                    </a:lnTo>
                    <a:lnTo>
                      <a:pt x="11623" y="5996"/>
                    </a:lnTo>
                    <a:lnTo>
                      <a:pt x="11781" y="5944"/>
                    </a:lnTo>
                    <a:lnTo>
                      <a:pt x="11978" y="5917"/>
                    </a:lnTo>
                    <a:lnTo>
                      <a:pt x="12188" y="5904"/>
                    </a:lnTo>
                    <a:lnTo>
                      <a:pt x="12358" y="5904"/>
                    </a:lnTo>
                    <a:lnTo>
                      <a:pt x="12542" y="5930"/>
                    </a:lnTo>
                    <a:lnTo>
                      <a:pt x="12725" y="5970"/>
                    </a:lnTo>
                    <a:lnTo>
                      <a:pt x="12909" y="6022"/>
                    </a:lnTo>
                    <a:lnTo>
                      <a:pt x="12922" y="6311"/>
                    </a:lnTo>
                    <a:lnTo>
                      <a:pt x="12962" y="6600"/>
                    </a:lnTo>
                    <a:lnTo>
                      <a:pt x="13001" y="6875"/>
                    </a:lnTo>
                    <a:lnTo>
                      <a:pt x="13067" y="7151"/>
                    </a:lnTo>
                    <a:lnTo>
                      <a:pt x="13132" y="7426"/>
                    </a:lnTo>
                    <a:lnTo>
                      <a:pt x="13224" y="7688"/>
                    </a:lnTo>
                    <a:lnTo>
                      <a:pt x="13316" y="7951"/>
                    </a:lnTo>
                    <a:lnTo>
                      <a:pt x="13434" y="8200"/>
                    </a:lnTo>
                    <a:lnTo>
                      <a:pt x="13552" y="8449"/>
                    </a:lnTo>
                    <a:lnTo>
                      <a:pt x="13683" y="8685"/>
                    </a:lnTo>
                    <a:lnTo>
                      <a:pt x="13814" y="8922"/>
                    </a:lnTo>
                    <a:lnTo>
                      <a:pt x="13972" y="9145"/>
                    </a:lnTo>
                    <a:lnTo>
                      <a:pt x="14129" y="9355"/>
                    </a:lnTo>
                    <a:lnTo>
                      <a:pt x="14313" y="9564"/>
                    </a:lnTo>
                    <a:lnTo>
                      <a:pt x="14483" y="9774"/>
                    </a:lnTo>
                    <a:lnTo>
                      <a:pt x="14680" y="9958"/>
                    </a:lnTo>
                    <a:lnTo>
                      <a:pt x="14877" y="10142"/>
                    </a:lnTo>
                    <a:lnTo>
                      <a:pt x="15087" y="10312"/>
                    </a:lnTo>
                    <a:lnTo>
                      <a:pt x="15297" y="10483"/>
                    </a:lnTo>
                    <a:lnTo>
                      <a:pt x="15520" y="10627"/>
                    </a:lnTo>
                    <a:lnTo>
                      <a:pt x="15756" y="10771"/>
                    </a:lnTo>
                    <a:lnTo>
                      <a:pt x="15992" y="10903"/>
                    </a:lnTo>
                    <a:lnTo>
                      <a:pt x="16241" y="11034"/>
                    </a:lnTo>
                    <a:lnTo>
                      <a:pt x="16491" y="11139"/>
                    </a:lnTo>
                    <a:lnTo>
                      <a:pt x="16740" y="11231"/>
                    </a:lnTo>
                    <a:lnTo>
                      <a:pt x="17002" y="11322"/>
                    </a:lnTo>
                    <a:lnTo>
                      <a:pt x="17278" y="11388"/>
                    </a:lnTo>
                    <a:lnTo>
                      <a:pt x="17553" y="11454"/>
                    </a:lnTo>
                    <a:lnTo>
                      <a:pt x="17829" y="11506"/>
                    </a:lnTo>
                    <a:lnTo>
                      <a:pt x="18104" y="11532"/>
                    </a:lnTo>
                    <a:lnTo>
                      <a:pt x="18393" y="11559"/>
                    </a:lnTo>
                    <a:lnTo>
                      <a:pt x="18681" y="11559"/>
                    </a:lnTo>
                    <a:lnTo>
                      <a:pt x="18970" y="11545"/>
                    </a:lnTo>
                    <a:lnTo>
                      <a:pt x="19272" y="11532"/>
                    </a:lnTo>
                    <a:lnTo>
                      <a:pt x="19560" y="11493"/>
                    </a:lnTo>
                    <a:lnTo>
                      <a:pt x="19836" y="11440"/>
                    </a:lnTo>
                    <a:lnTo>
                      <a:pt x="20111" y="11375"/>
                    </a:lnTo>
                    <a:lnTo>
                      <a:pt x="20387" y="11296"/>
                    </a:lnTo>
                    <a:lnTo>
                      <a:pt x="20649" y="11204"/>
                    </a:lnTo>
                    <a:lnTo>
                      <a:pt x="20912" y="11099"/>
                    </a:lnTo>
                    <a:lnTo>
                      <a:pt x="21174" y="10981"/>
                    </a:lnTo>
                    <a:lnTo>
                      <a:pt x="21410" y="10850"/>
                    </a:lnTo>
                    <a:lnTo>
                      <a:pt x="21659" y="10719"/>
                    </a:lnTo>
                    <a:lnTo>
                      <a:pt x="21882" y="10561"/>
                    </a:lnTo>
                    <a:lnTo>
                      <a:pt x="22119" y="10404"/>
                    </a:lnTo>
                    <a:lnTo>
                      <a:pt x="22329" y="10234"/>
                    </a:lnTo>
                    <a:lnTo>
                      <a:pt x="22538" y="10050"/>
                    </a:lnTo>
                    <a:lnTo>
                      <a:pt x="22735" y="9853"/>
                    </a:lnTo>
                    <a:lnTo>
                      <a:pt x="22932" y="9656"/>
                    </a:lnTo>
                    <a:lnTo>
                      <a:pt x="23103" y="9446"/>
                    </a:lnTo>
                    <a:lnTo>
                      <a:pt x="23273" y="9223"/>
                    </a:lnTo>
                    <a:lnTo>
                      <a:pt x="23431" y="9000"/>
                    </a:lnTo>
                    <a:lnTo>
                      <a:pt x="23588" y="8764"/>
                    </a:lnTo>
                    <a:lnTo>
                      <a:pt x="23719" y="8528"/>
                    </a:lnTo>
                    <a:lnTo>
                      <a:pt x="23850" y="8279"/>
                    </a:lnTo>
                    <a:lnTo>
                      <a:pt x="23968" y="8016"/>
                    </a:lnTo>
                    <a:lnTo>
                      <a:pt x="24060" y="7754"/>
                    </a:lnTo>
                    <a:lnTo>
                      <a:pt x="24152" y="7492"/>
                    </a:lnTo>
                    <a:lnTo>
                      <a:pt x="24231" y="7216"/>
                    </a:lnTo>
                    <a:lnTo>
                      <a:pt x="24296" y="6941"/>
                    </a:lnTo>
                    <a:lnTo>
                      <a:pt x="24336" y="6652"/>
                    </a:lnTo>
                    <a:lnTo>
                      <a:pt x="24375" y="6377"/>
                    </a:lnTo>
                    <a:lnTo>
                      <a:pt x="24401" y="6075"/>
                    </a:lnTo>
                    <a:lnTo>
                      <a:pt x="24401" y="5786"/>
                    </a:lnTo>
                    <a:lnTo>
                      <a:pt x="24401" y="5484"/>
                    </a:lnTo>
                    <a:lnTo>
                      <a:pt x="24375" y="5196"/>
                    </a:lnTo>
                    <a:lnTo>
                      <a:pt x="24336" y="4907"/>
                    </a:lnTo>
                    <a:lnTo>
                      <a:pt x="24283" y="4632"/>
                    </a:lnTo>
                    <a:lnTo>
                      <a:pt x="24218" y="4343"/>
                    </a:lnTo>
                    <a:lnTo>
                      <a:pt x="24139" y="4081"/>
                    </a:lnTo>
                    <a:lnTo>
                      <a:pt x="24047" y="3805"/>
                    </a:lnTo>
                    <a:lnTo>
                      <a:pt x="23942" y="3543"/>
                    </a:lnTo>
                    <a:lnTo>
                      <a:pt x="23824" y="3294"/>
                    </a:lnTo>
                    <a:lnTo>
                      <a:pt x="23693" y="3044"/>
                    </a:lnTo>
                    <a:lnTo>
                      <a:pt x="23562" y="2808"/>
                    </a:lnTo>
                    <a:lnTo>
                      <a:pt x="23404" y="2572"/>
                    </a:lnTo>
                    <a:lnTo>
                      <a:pt x="23247" y="2349"/>
                    </a:lnTo>
                    <a:lnTo>
                      <a:pt x="23076" y="2139"/>
                    </a:lnTo>
                    <a:lnTo>
                      <a:pt x="22893" y="1929"/>
                    </a:lnTo>
                    <a:lnTo>
                      <a:pt x="22696" y="1732"/>
                    </a:lnTo>
                    <a:lnTo>
                      <a:pt x="22499" y="1536"/>
                    </a:lnTo>
                    <a:lnTo>
                      <a:pt x="22289" y="1352"/>
                    </a:lnTo>
                    <a:lnTo>
                      <a:pt x="22066" y="1181"/>
                    </a:lnTo>
                    <a:lnTo>
                      <a:pt x="21843" y="1024"/>
                    </a:lnTo>
                    <a:lnTo>
                      <a:pt x="21607" y="880"/>
                    </a:lnTo>
                    <a:lnTo>
                      <a:pt x="21371" y="735"/>
                    </a:lnTo>
                    <a:lnTo>
                      <a:pt x="21122" y="617"/>
                    </a:lnTo>
                    <a:lnTo>
                      <a:pt x="20859" y="499"/>
                    </a:lnTo>
                    <a:lnTo>
                      <a:pt x="20610" y="394"/>
                    </a:lnTo>
                    <a:lnTo>
                      <a:pt x="20334" y="316"/>
                    </a:lnTo>
                    <a:lnTo>
                      <a:pt x="20059" y="237"/>
                    </a:lnTo>
                    <a:lnTo>
                      <a:pt x="19783" y="171"/>
                    </a:lnTo>
                    <a:lnTo>
                      <a:pt x="19508" y="119"/>
                    </a:lnTo>
                    <a:lnTo>
                      <a:pt x="19219" y="93"/>
                    </a:lnTo>
                    <a:lnTo>
                      <a:pt x="18918" y="66"/>
                    </a:lnTo>
                    <a:lnTo>
                      <a:pt x="18629" y="53"/>
                    </a:lnTo>
                    <a:lnTo>
                      <a:pt x="18367" y="66"/>
                    </a:lnTo>
                    <a:lnTo>
                      <a:pt x="18104" y="79"/>
                    </a:lnTo>
                    <a:lnTo>
                      <a:pt x="17855" y="119"/>
                    </a:lnTo>
                    <a:lnTo>
                      <a:pt x="17593" y="158"/>
                    </a:lnTo>
                    <a:lnTo>
                      <a:pt x="17343" y="211"/>
                    </a:lnTo>
                    <a:lnTo>
                      <a:pt x="17107" y="276"/>
                    </a:lnTo>
                    <a:lnTo>
                      <a:pt x="16858" y="342"/>
                    </a:lnTo>
                    <a:lnTo>
                      <a:pt x="16622" y="420"/>
                    </a:lnTo>
                    <a:lnTo>
                      <a:pt x="16399" y="525"/>
                    </a:lnTo>
                    <a:lnTo>
                      <a:pt x="16163" y="617"/>
                    </a:lnTo>
                    <a:lnTo>
                      <a:pt x="15940" y="735"/>
                    </a:lnTo>
                    <a:lnTo>
                      <a:pt x="15730" y="853"/>
                    </a:lnTo>
                    <a:lnTo>
                      <a:pt x="15520" y="985"/>
                    </a:lnTo>
                    <a:lnTo>
                      <a:pt x="15310" y="1129"/>
                    </a:lnTo>
                    <a:lnTo>
                      <a:pt x="15113" y="1273"/>
                    </a:lnTo>
                    <a:lnTo>
                      <a:pt x="14929" y="1431"/>
                    </a:lnTo>
                    <a:lnTo>
                      <a:pt x="14746" y="1588"/>
                    </a:lnTo>
                    <a:lnTo>
                      <a:pt x="14562" y="1759"/>
                    </a:lnTo>
                    <a:lnTo>
                      <a:pt x="14392" y="1942"/>
                    </a:lnTo>
                    <a:lnTo>
                      <a:pt x="14234" y="2126"/>
                    </a:lnTo>
                    <a:lnTo>
                      <a:pt x="14077" y="2323"/>
                    </a:lnTo>
                    <a:lnTo>
                      <a:pt x="13932" y="2520"/>
                    </a:lnTo>
                    <a:lnTo>
                      <a:pt x="13801" y="2729"/>
                    </a:lnTo>
                    <a:lnTo>
                      <a:pt x="13670" y="2939"/>
                    </a:lnTo>
                    <a:lnTo>
                      <a:pt x="13552" y="3162"/>
                    </a:lnTo>
                    <a:lnTo>
                      <a:pt x="13434" y="3385"/>
                    </a:lnTo>
                    <a:lnTo>
                      <a:pt x="13342" y="3608"/>
                    </a:lnTo>
                    <a:lnTo>
                      <a:pt x="13250" y="3845"/>
                    </a:lnTo>
                    <a:lnTo>
                      <a:pt x="13172" y="4081"/>
                    </a:lnTo>
                    <a:lnTo>
                      <a:pt x="13093" y="4330"/>
                    </a:lnTo>
                    <a:lnTo>
                      <a:pt x="13040" y="4579"/>
                    </a:lnTo>
                    <a:lnTo>
                      <a:pt x="12988" y="4842"/>
                    </a:lnTo>
                    <a:lnTo>
                      <a:pt x="12778" y="4789"/>
                    </a:lnTo>
                    <a:lnTo>
                      <a:pt x="12581" y="4763"/>
                    </a:lnTo>
                    <a:lnTo>
                      <a:pt x="12384" y="4750"/>
                    </a:lnTo>
                    <a:lnTo>
                      <a:pt x="12188" y="4737"/>
                    </a:lnTo>
                    <a:lnTo>
                      <a:pt x="11991" y="4750"/>
                    </a:lnTo>
                    <a:lnTo>
                      <a:pt x="11794" y="4763"/>
                    </a:lnTo>
                    <a:lnTo>
                      <a:pt x="11610" y="4789"/>
                    </a:lnTo>
                    <a:lnTo>
                      <a:pt x="11427" y="4842"/>
                    </a:lnTo>
                    <a:lnTo>
                      <a:pt x="11374" y="4579"/>
                    </a:lnTo>
                    <a:lnTo>
                      <a:pt x="11322" y="4330"/>
                    </a:lnTo>
                    <a:lnTo>
                      <a:pt x="11256" y="4081"/>
                    </a:lnTo>
                    <a:lnTo>
                      <a:pt x="11164" y="3845"/>
                    </a:lnTo>
                    <a:lnTo>
                      <a:pt x="11072" y="3595"/>
                    </a:lnTo>
                    <a:lnTo>
                      <a:pt x="10981" y="3372"/>
                    </a:lnTo>
                    <a:lnTo>
                      <a:pt x="10863" y="3136"/>
                    </a:lnTo>
                    <a:lnTo>
                      <a:pt x="10745" y="2913"/>
                    </a:lnTo>
                    <a:lnTo>
                      <a:pt x="10613" y="2703"/>
                    </a:lnTo>
                    <a:lnTo>
                      <a:pt x="10482" y="2493"/>
                    </a:lnTo>
                    <a:lnTo>
                      <a:pt x="10325" y="2283"/>
                    </a:lnTo>
                    <a:lnTo>
                      <a:pt x="10167" y="2087"/>
                    </a:lnTo>
                    <a:lnTo>
                      <a:pt x="10010" y="1903"/>
                    </a:lnTo>
                    <a:lnTo>
                      <a:pt x="9839" y="1719"/>
                    </a:lnTo>
                    <a:lnTo>
                      <a:pt x="9656" y="1549"/>
                    </a:lnTo>
                    <a:lnTo>
                      <a:pt x="9472" y="1378"/>
                    </a:lnTo>
                    <a:lnTo>
                      <a:pt x="9275" y="1221"/>
                    </a:lnTo>
                    <a:lnTo>
                      <a:pt x="9078" y="1063"/>
                    </a:lnTo>
                    <a:lnTo>
                      <a:pt x="8868" y="932"/>
                    </a:lnTo>
                    <a:lnTo>
                      <a:pt x="8659" y="801"/>
                    </a:lnTo>
                    <a:lnTo>
                      <a:pt x="8436" y="670"/>
                    </a:lnTo>
                    <a:lnTo>
                      <a:pt x="8213" y="552"/>
                    </a:lnTo>
                    <a:lnTo>
                      <a:pt x="7976" y="460"/>
                    </a:lnTo>
                    <a:lnTo>
                      <a:pt x="7740" y="355"/>
                    </a:lnTo>
                    <a:lnTo>
                      <a:pt x="7504" y="276"/>
                    </a:lnTo>
                    <a:lnTo>
                      <a:pt x="7268" y="197"/>
                    </a:lnTo>
                    <a:lnTo>
                      <a:pt x="7019" y="145"/>
                    </a:lnTo>
                    <a:lnTo>
                      <a:pt x="6756" y="93"/>
                    </a:lnTo>
                    <a:lnTo>
                      <a:pt x="6507" y="53"/>
                    </a:lnTo>
                    <a:lnTo>
                      <a:pt x="6245" y="14"/>
                    </a:lnTo>
                    <a:lnTo>
                      <a:pt x="598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17" name="Google Shape;2417;p45"/>
            <p:cNvGrpSpPr/>
            <p:nvPr/>
          </p:nvGrpSpPr>
          <p:grpSpPr>
            <a:xfrm>
              <a:off x="3124753" y="2097067"/>
              <a:ext cx="2904005" cy="2628275"/>
              <a:chOff x="735516" y="1544617"/>
              <a:chExt cx="2904005" cy="2628275"/>
            </a:xfrm>
          </p:grpSpPr>
          <p:sp>
            <p:nvSpPr>
              <p:cNvPr id="2418" name="Google Shape;2418;p45"/>
              <p:cNvSpPr/>
              <p:nvPr/>
            </p:nvSpPr>
            <p:spPr>
              <a:xfrm>
                <a:off x="1961914" y="2680601"/>
                <a:ext cx="305922" cy="16514"/>
              </a:xfrm>
              <a:custGeom>
                <a:avLst/>
                <a:gdLst/>
                <a:ahLst/>
                <a:cxnLst/>
                <a:rect l="l" t="t" r="r" b="b"/>
                <a:pathLst>
                  <a:path w="17043" h="920" extrusionOk="0">
                    <a:moveTo>
                      <a:pt x="1" y="1"/>
                    </a:moveTo>
                    <a:lnTo>
                      <a:pt x="1" y="919"/>
                    </a:lnTo>
                    <a:lnTo>
                      <a:pt x="17042" y="919"/>
                    </a:lnTo>
                    <a:lnTo>
                      <a:pt x="17042" y="1"/>
                    </a:lnTo>
                    <a:close/>
                  </a:path>
                </a:pathLst>
              </a:custGeom>
              <a:solidFill>
                <a:srgbClr val="393F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9" name="Google Shape;2419;p45"/>
              <p:cNvSpPr/>
              <p:nvPr/>
            </p:nvSpPr>
            <p:spPr>
              <a:xfrm>
                <a:off x="2274872" y="2680601"/>
                <a:ext cx="97738" cy="16514"/>
              </a:xfrm>
              <a:custGeom>
                <a:avLst/>
                <a:gdLst/>
                <a:ahLst/>
                <a:cxnLst/>
                <a:rect l="l" t="t" r="r" b="b"/>
                <a:pathLst>
                  <a:path w="5445" h="920" extrusionOk="0">
                    <a:moveTo>
                      <a:pt x="1" y="1"/>
                    </a:moveTo>
                    <a:lnTo>
                      <a:pt x="1" y="919"/>
                    </a:lnTo>
                    <a:lnTo>
                      <a:pt x="5445" y="919"/>
                    </a:lnTo>
                    <a:lnTo>
                      <a:pt x="5445" y="1"/>
                    </a:lnTo>
                    <a:close/>
                  </a:path>
                </a:pathLst>
              </a:custGeom>
              <a:solidFill>
                <a:srgbClr val="393F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0" name="Google Shape;2420;p45"/>
              <p:cNvSpPr/>
              <p:nvPr/>
            </p:nvSpPr>
            <p:spPr>
              <a:xfrm>
                <a:off x="2379664" y="2680601"/>
                <a:ext cx="115167" cy="16514"/>
              </a:xfrm>
              <a:custGeom>
                <a:avLst/>
                <a:gdLst/>
                <a:ahLst/>
                <a:cxnLst/>
                <a:rect l="l" t="t" r="r" b="b"/>
                <a:pathLst>
                  <a:path w="6416" h="920" extrusionOk="0">
                    <a:moveTo>
                      <a:pt x="1" y="1"/>
                    </a:moveTo>
                    <a:lnTo>
                      <a:pt x="1" y="919"/>
                    </a:lnTo>
                    <a:lnTo>
                      <a:pt x="6416" y="919"/>
                    </a:lnTo>
                    <a:lnTo>
                      <a:pt x="6416" y="1"/>
                    </a:lnTo>
                    <a:close/>
                  </a:path>
                </a:pathLst>
              </a:custGeom>
              <a:solidFill>
                <a:srgbClr val="393F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1" name="Google Shape;2421;p45"/>
              <p:cNvSpPr/>
              <p:nvPr/>
            </p:nvSpPr>
            <p:spPr>
              <a:xfrm>
                <a:off x="1896683" y="2717111"/>
                <a:ext cx="254818" cy="16496"/>
              </a:xfrm>
              <a:custGeom>
                <a:avLst/>
                <a:gdLst/>
                <a:ahLst/>
                <a:cxnLst/>
                <a:rect l="l" t="t" r="r" b="b"/>
                <a:pathLst>
                  <a:path w="14196" h="919" extrusionOk="0">
                    <a:moveTo>
                      <a:pt x="1" y="0"/>
                    </a:moveTo>
                    <a:lnTo>
                      <a:pt x="1" y="919"/>
                    </a:lnTo>
                    <a:lnTo>
                      <a:pt x="14195" y="919"/>
                    </a:lnTo>
                    <a:lnTo>
                      <a:pt x="14195" y="0"/>
                    </a:lnTo>
                    <a:close/>
                  </a:path>
                </a:pathLst>
              </a:custGeom>
              <a:solidFill>
                <a:srgbClr val="393F7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2" name="Google Shape;2422;p45"/>
              <p:cNvSpPr/>
              <p:nvPr/>
            </p:nvSpPr>
            <p:spPr>
              <a:xfrm>
                <a:off x="2159723" y="2717111"/>
                <a:ext cx="83378" cy="16496"/>
              </a:xfrm>
              <a:custGeom>
                <a:avLst/>
                <a:gdLst/>
                <a:ahLst/>
                <a:cxnLst/>
                <a:rect l="l" t="t" r="r" b="b"/>
                <a:pathLst>
                  <a:path w="4645" h="919" extrusionOk="0">
                    <a:moveTo>
                      <a:pt x="0" y="0"/>
                    </a:moveTo>
                    <a:lnTo>
                      <a:pt x="0" y="919"/>
                    </a:lnTo>
                    <a:lnTo>
                      <a:pt x="4645" y="919"/>
                    </a:lnTo>
                    <a:lnTo>
                      <a:pt x="4645" y="0"/>
                    </a:lnTo>
                    <a:close/>
                  </a:path>
                </a:pathLst>
              </a:custGeom>
              <a:solidFill>
                <a:srgbClr val="E7C95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3" name="Google Shape;2423;p45"/>
              <p:cNvSpPr/>
              <p:nvPr/>
            </p:nvSpPr>
            <p:spPr>
              <a:xfrm>
                <a:off x="2050928" y="4038428"/>
                <a:ext cx="116119" cy="75139"/>
              </a:xfrm>
              <a:custGeom>
                <a:avLst/>
                <a:gdLst/>
                <a:ahLst/>
                <a:cxnLst/>
                <a:rect l="l" t="t" r="r" b="b"/>
                <a:pathLst>
                  <a:path w="6469" h="4186" extrusionOk="0">
                    <a:moveTo>
                      <a:pt x="1" y="0"/>
                    </a:moveTo>
                    <a:lnTo>
                      <a:pt x="132" y="4185"/>
                    </a:lnTo>
                    <a:lnTo>
                      <a:pt x="1483" y="4185"/>
                    </a:lnTo>
                    <a:lnTo>
                      <a:pt x="1732" y="4172"/>
                    </a:lnTo>
                    <a:lnTo>
                      <a:pt x="1995" y="4146"/>
                    </a:lnTo>
                    <a:lnTo>
                      <a:pt x="2244" y="4106"/>
                    </a:lnTo>
                    <a:lnTo>
                      <a:pt x="2493" y="4054"/>
                    </a:lnTo>
                    <a:lnTo>
                      <a:pt x="2729" y="4001"/>
                    </a:lnTo>
                    <a:lnTo>
                      <a:pt x="2979" y="3923"/>
                    </a:lnTo>
                    <a:lnTo>
                      <a:pt x="3215" y="3844"/>
                    </a:lnTo>
                    <a:lnTo>
                      <a:pt x="3451" y="3765"/>
                    </a:lnTo>
                    <a:lnTo>
                      <a:pt x="3674" y="3660"/>
                    </a:lnTo>
                    <a:lnTo>
                      <a:pt x="3910" y="3555"/>
                    </a:lnTo>
                    <a:lnTo>
                      <a:pt x="4120" y="3437"/>
                    </a:lnTo>
                    <a:lnTo>
                      <a:pt x="4343" y="3306"/>
                    </a:lnTo>
                    <a:lnTo>
                      <a:pt x="4553" y="3162"/>
                    </a:lnTo>
                    <a:lnTo>
                      <a:pt x="4763" y="3017"/>
                    </a:lnTo>
                    <a:lnTo>
                      <a:pt x="4959" y="2860"/>
                    </a:lnTo>
                    <a:lnTo>
                      <a:pt x="6245" y="1797"/>
                    </a:lnTo>
                    <a:lnTo>
                      <a:pt x="6311" y="1732"/>
                    </a:lnTo>
                    <a:lnTo>
                      <a:pt x="6363" y="1666"/>
                    </a:lnTo>
                    <a:lnTo>
                      <a:pt x="6403" y="1601"/>
                    </a:lnTo>
                    <a:lnTo>
                      <a:pt x="6429" y="1522"/>
                    </a:lnTo>
                    <a:lnTo>
                      <a:pt x="6455" y="1443"/>
                    </a:lnTo>
                    <a:lnTo>
                      <a:pt x="6468" y="1364"/>
                    </a:lnTo>
                    <a:lnTo>
                      <a:pt x="6468" y="1286"/>
                    </a:lnTo>
                    <a:lnTo>
                      <a:pt x="6455" y="1207"/>
                    </a:lnTo>
                    <a:lnTo>
                      <a:pt x="6416" y="1076"/>
                    </a:lnTo>
                    <a:lnTo>
                      <a:pt x="6363" y="945"/>
                    </a:lnTo>
                    <a:lnTo>
                      <a:pt x="6298" y="827"/>
                    </a:lnTo>
                    <a:lnTo>
                      <a:pt x="6232" y="722"/>
                    </a:lnTo>
                    <a:lnTo>
                      <a:pt x="6153" y="617"/>
                    </a:lnTo>
                    <a:lnTo>
                      <a:pt x="6075" y="512"/>
                    </a:lnTo>
                    <a:lnTo>
                      <a:pt x="5983" y="420"/>
                    </a:lnTo>
                    <a:lnTo>
                      <a:pt x="5878" y="341"/>
                    </a:lnTo>
                    <a:lnTo>
                      <a:pt x="5773" y="262"/>
                    </a:lnTo>
                    <a:lnTo>
                      <a:pt x="5668" y="197"/>
                    </a:lnTo>
                    <a:lnTo>
                      <a:pt x="5550" y="131"/>
                    </a:lnTo>
                    <a:lnTo>
                      <a:pt x="5419" y="92"/>
                    </a:lnTo>
                    <a:lnTo>
                      <a:pt x="5301" y="53"/>
                    </a:lnTo>
                    <a:lnTo>
                      <a:pt x="5169" y="26"/>
                    </a:lnTo>
                    <a:lnTo>
                      <a:pt x="502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4" name="Google Shape;2424;p45"/>
              <p:cNvSpPr/>
              <p:nvPr/>
            </p:nvSpPr>
            <p:spPr>
              <a:xfrm>
                <a:off x="2212711" y="4039128"/>
                <a:ext cx="116101" cy="75139"/>
              </a:xfrm>
              <a:custGeom>
                <a:avLst/>
                <a:gdLst/>
                <a:ahLst/>
                <a:cxnLst/>
                <a:rect l="l" t="t" r="r" b="b"/>
                <a:pathLst>
                  <a:path w="6468" h="4186" extrusionOk="0">
                    <a:moveTo>
                      <a:pt x="1443" y="0"/>
                    </a:moveTo>
                    <a:lnTo>
                      <a:pt x="1312" y="14"/>
                    </a:lnTo>
                    <a:lnTo>
                      <a:pt x="1168" y="53"/>
                    </a:lnTo>
                    <a:lnTo>
                      <a:pt x="1050" y="92"/>
                    </a:lnTo>
                    <a:lnTo>
                      <a:pt x="919" y="132"/>
                    </a:lnTo>
                    <a:lnTo>
                      <a:pt x="800" y="197"/>
                    </a:lnTo>
                    <a:lnTo>
                      <a:pt x="696" y="263"/>
                    </a:lnTo>
                    <a:lnTo>
                      <a:pt x="591" y="342"/>
                    </a:lnTo>
                    <a:lnTo>
                      <a:pt x="486" y="420"/>
                    </a:lnTo>
                    <a:lnTo>
                      <a:pt x="394" y="512"/>
                    </a:lnTo>
                    <a:lnTo>
                      <a:pt x="315" y="617"/>
                    </a:lnTo>
                    <a:lnTo>
                      <a:pt x="236" y="722"/>
                    </a:lnTo>
                    <a:lnTo>
                      <a:pt x="171" y="827"/>
                    </a:lnTo>
                    <a:lnTo>
                      <a:pt x="105" y="945"/>
                    </a:lnTo>
                    <a:lnTo>
                      <a:pt x="66" y="1076"/>
                    </a:lnTo>
                    <a:lnTo>
                      <a:pt x="26" y="1194"/>
                    </a:lnTo>
                    <a:lnTo>
                      <a:pt x="0" y="1286"/>
                    </a:lnTo>
                    <a:lnTo>
                      <a:pt x="0" y="1365"/>
                    </a:lnTo>
                    <a:lnTo>
                      <a:pt x="13" y="1443"/>
                    </a:lnTo>
                    <a:lnTo>
                      <a:pt x="40" y="1522"/>
                    </a:lnTo>
                    <a:lnTo>
                      <a:pt x="66" y="1601"/>
                    </a:lnTo>
                    <a:lnTo>
                      <a:pt x="118" y="1667"/>
                    </a:lnTo>
                    <a:lnTo>
                      <a:pt x="171" y="1732"/>
                    </a:lnTo>
                    <a:lnTo>
                      <a:pt x="223" y="1798"/>
                    </a:lnTo>
                    <a:lnTo>
                      <a:pt x="1509" y="2860"/>
                    </a:lnTo>
                    <a:lnTo>
                      <a:pt x="1706" y="3018"/>
                    </a:lnTo>
                    <a:lnTo>
                      <a:pt x="1916" y="3162"/>
                    </a:lnTo>
                    <a:lnTo>
                      <a:pt x="2126" y="3306"/>
                    </a:lnTo>
                    <a:lnTo>
                      <a:pt x="2349" y="3424"/>
                    </a:lnTo>
                    <a:lnTo>
                      <a:pt x="2572" y="3556"/>
                    </a:lnTo>
                    <a:lnTo>
                      <a:pt x="2795" y="3661"/>
                    </a:lnTo>
                    <a:lnTo>
                      <a:pt x="3018" y="3766"/>
                    </a:lnTo>
                    <a:lnTo>
                      <a:pt x="3254" y="3844"/>
                    </a:lnTo>
                    <a:lnTo>
                      <a:pt x="3503" y="3923"/>
                    </a:lnTo>
                    <a:lnTo>
                      <a:pt x="3739" y="4002"/>
                    </a:lnTo>
                    <a:lnTo>
                      <a:pt x="3988" y="4054"/>
                    </a:lnTo>
                    <a:lnTo>
                      <a:pt x="4238" y="4107"/>
                    </a:lnTo>
                    <a:lnTo>
                      <a:pt x="4487" y="4146"/>
                    </a:lnTo>
                    <a:lnTo>
                      <a:pt x="4736" y="4172"/>
                    </a:lnTo>
                    <a:lnTo>
                      <a:pt x="4985" y="4185"/>
                    </a:lnTo>
                    <a:lnTo>
                      <a:pt x="6337" y="4185"/>
                    </a:lnTo>
                    <a:lnTo>
                      <a:pt x="6468"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5" name="Google Shape;2425;p45"/>
              <p:cNvSpPr/>
              <p:nvPr/>
            </p:nvSpPr>
            <p:spPr>
              <a:xfrm>
                <a:off x="735516" y="2825188"/>
                <a:ext cx="2904005" cy="59845"/>
              </a:xfrm>
              <a:custGeom>
                <a:avLst/>
                <a:gdLst/>
                <a:ahLst/>
                <a:cxnLst/>
                <a:rect l="l" t="t" r="r" b="b"/>
                <a:pathLst>
                  <a:path w="161783" h="3334" extrusionOk="0">
                    <a:moveTo>
                      <a:pt x="0" y="1"/>
                    </a:moveTo>
                    <a:lnTo>
                      <a:pt x="0" y="3333"/>
                    </a:lnTo>
                    <a:lnTo>
                      <a:pt x="161783" y="3333"/>
                    </a:lnTo>
                    <a:lnTo>
                      <a:pt x="161783"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6" name="Google Shape;2426;p45"/>
              <p:cNvSpPr/>
              <p:nvPr/>
            </p:nvSpPr>
            <p:spPr>
              <a:xfrm>
                <a:off x="2005245" y="4066448"/>
                <a:ext cx="86914" cy="47585"/>
              </a:xfrm>
              <a:custGeom>
                <a:avLst/>
                <a:gdLst/>
                <a:ahLst/>
                <a:cxnLst/>
                <a:rect l="l" t="t" r="r" b="b"/>
                <a:pathLst>
                  <a:path w="4842" h="2651" extrusionOk="0">
                    <a:moveTo>
                      <a:pt x="0" y="0"/>
                    </a:moveTo>
                    <a:lnTo>
                      <a:pt x="0" y="1312"/>
                    </a:lnTo>
                    <a:lnTo>
                      <a:pt x="14" y="1443"/>
                    </a:lnTo>
                    <a:lnTo>
                      <a:pt x="27" y="1574"/>
                    </a:lnTo>
                    <a:lnTo>
                      <a:pt x="66" y="1706"/>
                    </a:lnTo>
                    <a:lnTo>
                      <a:pt x="105" y="1837"/>
                    </a:lnTo>
                    <a:lnTo>
                      <a:pt x="158" y="1955"/>
                    </a:lnTo>
                    <a:lnTo>
                      <a:pt x="223" y="2060"/>
                    </a:lnTo>
                    <a:lnTo>
                      <a:pt x="302" y="2165"/>
                    </a:lnTo>
                    <a:lnTo>
                      <a:pt x="394" y="2257"/>
                    </a:lnTo>
                    <a:lnTo>
                      <a:pt x="486" y="2349"/>
                    </a:lnTo>
                    <a:lnTo>
                      <a:pt x="591" y="2427"/>
                    </a:lnTo>
                    <a:lnTo>
                      <a:pt x="696" y="2493"/>
                    </a:lnTo>
                    <a:lnTo>
                      <a:pt x="814" y="2545"/>
                    </a:lnTo>
                    <a:lnTo>
                      <a:pt x="945" y="2585"/>
                    </a:lnTo>
                    <a:lnTo>
                      <a:pt x="1063" y="2624"/>
                    </a:lnTo>
                    <a:lnTo>
                      <a:pt x="1207" y="2637"/>
                    </a:lnTo>
                    <a:lnTo>
                      <a:pt x="1339" y="2650"/>
                    </a:lnTo>
                    <a:lnTo>
                      <a:pt x="3490" y="2650"/>
                    </a:lnTo>
                    <a:lnTo>
                      <a:pt x="3634" y="2637"/>
                    </a:lnTo>
                    <a:lnTo>
                      <a:pt x="3766" y="2624"/>
                    </a:lnTo>
                    <a:lnTo>
                      <a:pt x="3897" y="2585"/>
                    </a:lnTo>
                    <a:lnTo>
                      <a:pt x="4015" y="2545"/>
                    </a:lnTo>
                    <a:lnTo>
                      <a:pt x="4133" y="2493"/>
                    </a:lnTo>
                    <a:lnTo>
                      <a:pt x="4251" y="2427"/>
                    </a:lnTo>
                    <a:lnTo>
                      <a:pt x="4343" y="2349"/>
                    </a:lnTo>
                    <a:lnTo>
                      <a:pt x="4448" y="2257"/>
                    </a:lnTo>
                    <a:lnTo>
                      <a:pt x="4526" y="2165"/>
                    </a:lnTo>
                    <a:lnTo>
                      <a:pt x="4605" y="2060"/>
                    </a:lnTo>
                    <a:lnTo>
                      <a:pt x="4671" y="1955"/>
                    </a:lnTo>
                    <a:lnTo>
                      <a:pt x="4736" y="1837"/>
                    </a:lnTo>
                    <a:lnTo>
                      <a:pt x="4776" y="1706"/>
                    </a:lnTo>
                    <a:lnTo>
                      <a:pt x="4802" y="1574"/>
                    </a:lnTo>
                    <a:lnTo>
                      <a:pt x="4828" y="1443"/>
                    </a:lnTo>
                    <a:lnTo>
                      <a:pt x="4841" y="1312"/>
                    </a:lnTo>
                    <a:lnTo>
                      <a:pt x="484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7" name="Google Shape;2427;p45"/>
              <p:cNvSpPr/>
              <p:nvPr/>
            </p:nvSpPr>
            <p:spPr>
              <a:xfrm>
                <a:off x="1903900" y="3163581"/>
                <a:ext cx="191688" cy="904770"/>
              </a:xfrm>
              <a:custGeom>
                <a:avLst/>
                <a:gdLst/>
                <a:ahLst/>
                <a:cxnLst/>
                <a:rect l="l" t="t" r="r" b="b"/>
                <a:pathLst>
                  <a:path w="10679" h="50405" extrusionOk="0">
                    <a:moveTo>
                      <a:pt x="0" y="1"/>
                    </a:moveTo>
                    <a:lnTo>
                      <a:pt x="4723" y="50404"/>
                    </a:lnTo>
                    <a:lnTo>
                      <a:pt x="10679" y="50404"/>
                    </a:lnTo>
                    <a:lnTo>
                      <a:pt x="1067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8" name="Google Shape;2428;p45"/>
              <p:cNvSpPr/>
              <p:nvPr/>
            </p:nvSpPr>
            <p:spPr>
              <a:xfrm>
                <a:off x="2267477" y="4066448"/>
                <a:ext cx="86914" cy="47585"/>
              </a:xfrm>
              <a:custGeom>
                <a:avLst/>
                <a:gdLst/>
                <a:ahLst/>
                <a:cxnLst/>
                <a:rect l="l" t="t" r="r" b="b"/>
                <a:pathLst>
                  <a:path w="4842" h="2651" extrusionOk="0">
                    <a:moveTo>
                      <a:pt x="1" y="0"/>
                    </a:moveTo>
                    <a:lnTo>
                      <a:pt x="1" y="1312"/>
                    </a:lnTo>
                    <a:lnTo>
                      <a:pt x="14" y="1443"/>
                    </a:lnTo>
                    <a:lnTo>
                      <a:pt x="27" y="1574"/>
                    </a:lnTo>
                    <a:lnTo>
                      <a:pt x="66" y="1706"/>
                    </a:lnTo>
                    <a:lnTo>
                      <a:pt x="106" y="1837"/>
                    </a:lnTo>
                    <a:lnTo>
                      <a:pt x="171" y="1955"/>
                    </a:lnTo>
                    <a:lnTo>
                      <a:pt x="237" y="2060"/>
                    </a:lnTo>
                    <a:lnTo>
                      <a:pt x="316" y="2165"/>
                    </a:lnTo>
                    <a:lnTo>
                      <a:pt x="394" y="2257"/>
                    </a:lnTo>
                    <a:lnTo>
                      <a:pt x="486" y="2349"/>
                    </a:lnTo>
                    <a:lnTo>
                      <a:pt x="591" y="2427"/>
                    </a:lnTo>
                    <a:lnTo>
                      <a:pt x="709" y="2493"/>
                    </a:lnTo>
                    <a:lnTo>
                      <a:pt x="827" y="2545"/>
                    </a:lnTo>
                    <a:lnTo>
                      <a:pt x="945" y="2585"/>
                    </a:lnTo>
                    <a:lnTo>
                      <a:pt x="1076" y="2624"/>
                    </a:lnTo>
                    <a:lnTo>
                      <a:pt x="1208" y="2637"/>
                    </a:lnTo>
                    <a:lnTo>
                      <a:pt x="1339" y="2650"/>
                    </a:lnTo>
                    <a:lnTo>
                      <a:pt x="3503" y="2650"/>
                    </a:lnTo>
                    <a:lnTo>
                      <a:pt x="3635" y="2637"/>
                    </a:lnTo>
                    <a:lnTo>
                      <a:pt x="3766" y="2624"/>
                    </a:lnTo>
                    <a:lnTo>
                      <a:pt x="3897" y="2585"/>
                    </a:lnTo>
                    <a:lnTo>
                      <a:pt x="4015" y="2545"/>
                    </a:lnTo>
                    <a:lnTo>
                      <a:pt x="4133" y="2493"/>
                    </a:lnTo>
                    <a:lnTo>
                      <a:pt x="4251" y="2427"/>
                    </a:lnTo>
                    <a:lnTo>
                      <a:pt x="4356" y="2349"/>
                    </a:lnTo>
                    <a:lnTo>
                      <a:pt x="4448" y="2257"/>
                    </a:lnTo>
                    <a:lnTo>
                      <a:pt x="4527" y="2165"/>
                    </a:lnTo>
                    <a:lnTo>
                      <a:pt x="4605" y="2060"/>
                    </a:lnTo>
                    <a:lnTo>
                      <a:pt x="4671" y="1955"/>
                    </a:lnTo>
                    <a:lnTo>
                      <a:pt x="4737" y="1837"/>
                    </a:lnTo>
                    <a:lnTo>
                      <a:pt x="4776" y="1706"/>
                    </a:lnTo>
                    <a:lnTo>
                      <a:pt x="4815" y="1574"/>
                    </a:lnTo>
                    <a:lnTo>
                      <a:pt x="4828" y="1443"/>
                    </a:lnTo>
                    <a:lnTo>
                      <a:pt x="4842" y="1312"/>
                    </a:lnTo>
                    <a:lnTo>
                      <a:pt x="4842"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9" name="Google Shape;2429;p45"/>
              <p:cNvSpPr/>
              <p:nvPr/>
            </p:nvSpPr>
            <p:spPr>
              <a:xfrm>
                <a:off x="2260423" y="3163581"/>
                <a:ext cx="191688" cy="904770"/>
              </a:xfrm>
              <a:custGeom>
                <a:avLst/>
                <a:gdLst/>
                <a:ahLst/>
                <a:cxnLst/>
                <a:rect l="l" t="t" r="r" b="b"/>
                <a:pathLst>
                  <a:path w="10679" h="50405" extrusionOk="0">
                    <a:moveTo>
                      <a:pt x="0" y="1"/>
                    </a:moveTo>
                    <a:lnTo>
                      <a:pt x="0" y="50404"/>
                    </a:lnTo>
                    <a:lnTo>
                      <a:pt x="5956" y="50404"/>
                    </a:lnTo>
                    <a:lnTo>
                      <a:pt x="1067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0" name="Google Shape;2430;p45"/>
              <p:cNvSpPr/>
              <p:nvPr/>
            </p:nvSpPr>
            <p:spPr>
              <a:xfrm>
                <a:off x="1640950" y="2743246"/>
                <a:ext cx="66415" cy="99622"/>
              </a:xfrm>
              <a:custGeom>
                <a:avLst/>
                <a:gdLst/>
                <a:ahLst/>
                <a:cxnLst/>
                <a:rect l="l" t="t" r="r" b="b"/>
                <a:pathLst>
                  <a:path w="3700" h="5550" extrusionOk="0">
                    <a:moveTo>
                      <a:pt x="3503" y="0"/>
                    </a:moveTo>
                    <a:lnTo>
                      <a:pt x="3319" y="14"/>
                    </a:lnTo>
                    <a:lnTo>
                      <a:pt x="3136" y="40"/>
                    </a:lnTo>
                    <a:lnTo>
                      <a:pt x="2952" y="66"/>
                    </a:lnTo>
                    <a:lnTo>
                      <a:pt x="2769" y="119"/>
                    </a:lnTo>
                    <a:lnTo>
                      <a:pt x="2598" y="158"/>
                    </a:lnTo>
                    <a:lnTo>
                      <a:pt x="2427" y="224"/>
                    </a:lnTo>
                    <a:lnTo>
                      <a:pt x="2257" y="289"/>
                    </a:lnTo>
                    <a:lnTo>
                      <a:pt x="2086" y="368"/>
                    </a:lnTo>
                    <a:lnTo>
                      <a:pt x="1929" y="447"/>
                    </a:lnTo>
                    <a:lnTo>
                      <a:pt x="1771" y="538"/>
                    </a:lnTo>
                    <a:lnTo>
                      <a:pt x="1627" y="630"/>
                    </a:lnTo>
                    <a:lnTo>
                      <a:pt x="1483" y="735"/>
                    </a:lnTo>
                    <a:lnTo>
                      <a:pt x="1339" y="840"/>
                    </a:lnTo>
                    <a:lnTo>
                      <a:pt x="1207" y="958"/>
                    </a:lnTo>
                    <a:lnTo>
                      <a:pt x="1076" y="1076"/>
                    </a:lnTo>
                    <a:lnTo>
                      <a:pt x="958" y="1207"/>
                    </a:lnTo>
                    <a:lnTo>
                      <a:pt x="840" y="1339"/>
                    </a:lnTo>
                    <a:lnTo>
                      <a:pt x="735" y="1483"/>
                    </a:lnTo>
                    <a:lnTo>
                      <a:pt x="630" y="1627"/>
                    </a:lnTo>
                    <a:lnTo>
                      <a:pt x="525" y="1772"/>
                    </a:lnTo>
                    <a:lnTo>
                      <a:pt x="446" y="1929"/>
                    </a:lnTo>
                    <a:lnTo>
                      <a:pt x="355" y="2086"/>
                    </a:lnTo>
                    <a:lnTo>
                      <a:pt x="289" y="2257"/>
                    </a:lnTo>
                    <a:lnTo>
                      <a:pt x="223" y="2427"/>
                    </a:lnTo>
                    <a:lnTo>
                      <a:pt x="158" y="2598"/>
                    </a:lnTo>
                    <a:lnTo>
                      <a:pt x="118" y="2769"/>
                    </a:lnTo>
                    <a:lnTo>
                      <a:pt x="66" y="2952"/>
                    </a:lnTo>
                    <a:lnTo>
                      <a:pt x="40" y="3136"/>
                    </a:lnTo>
                    <a:lnTo>
                      <a:pt x="14" y="3320"/>
                    </a:lnTo>
                    <a:lnTo>
                      <a:pt x="0" y="3503"/>
                    </a:lnTo>
                    <a:lnTo>
                      <a:pt x="0" y="3700"/>
                    </a:lnTo>
                    <a:lnTo>
                      <a:pt x="0" y="5550"/>
                    </a:lnTo>
                    <a:lnTo>
                      <a:pt x="3700" y="5550"/>
                    </a:lnTo>
                    <a:lnTo>
                      <a:pt x="3700" y="0"/>
                    </a:lnTo>
                    <a:close/>
                  </a:path>
                </a:pathLst>
              </a:custGeom>
              <a:solidFill>
                <a:srgbClr val="FFB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1" name="Google Shape;2431;p45"/>
              <p:cNvSpPr/>
              <p:nvPr/>
            </p:nvSpPr>
            <p:spPr>
              <a:xfrm>
                <a:off x="1640716" y="2524005"/>
                <a:ext cx="235019" cy="385045"/>
              </a:xfrm>
              <a:custGeom>
                <a:avLst/>
                <a:gdLst/>
                <a:ahLst/>
                <a:cxnLst/>
                <a:rect l="l" t="t" r="r" b="b"/>
                <a:pathLst>
                  <a:path w="13093" h="21451" extrusionOk="0">
                    <a:moveTo>
                      <a:pt x="6442" y="1"/>
                    </a:moveTo>
                    <a:lnTo>
                      <a:pt x="145" y="17134"/>
                    </a:lnTo>
                    <a:lnTo>
                      <a:pt x="66" y="17370"/>
                    </a:lnTo>
                    <a:lnTo>
                      <a:pt x="13" y="17620"/>
                    </a:lnTo>
                    <a:lnTo>
                      <a:pt x="0" y="17869"/>
                    </a:lnTo>
                    <a:lnTo>
                      <a:pt x="0" y="18118"/>
                    </a:lnTo>
                    <a:lnTo>
                      <a:pt x="27" y="18367"/>
                    </a:lnTo>
                    <a:lnTo>
                      <a:pt x="79" y="18603"/>
                    </a:lnTo>
                    <a:lnTo>
                      <a:pt x="145" y="18853"/>
                    </a:lnTo>
                    <a:lnTo>
                      <a:pt x="250" y="19076"/>
                    </a:lnTo>
                    <a:lnTo>
                      <a:pt x="761" y="20099"/>
                    </a:lnTo>
                    <a:lnTo>
                      <a:pt x="866" y="20283"/>
                    </a:lnTo>
                    <a:lnTo>
                      <a:pt x="984" y="20453"/>
                    </a:lnTo>
                    <a:lnTo>
                      <a:pt x="1115" y="20624"/>
                    </a:lnTo>
                    <a:lnTo>
                      <a:pt x="1247" y="20768"/>
                    </a:lnTo>
                    <a:lnTo>
                      <a:pt x="1404" y="20899"/>
                    </a:lnTo>
                    <a:lnTo>
                      <a:pt x="1561" y="21017"/>
                    </a:lnTo>
                    <a:lnTo>
                      <a:pt x="1732" y="21135"/>
                    </a:lnTo>
                    <a:lnTo>
                      <a:pt x="1916" y="21227"/>
                    </a:lnTo>
                    <a:lnTo>
                      <a:pt x="2099" y="21306"/>
                    </a:lnTo>
                    <a:lnTo>
                      <a:pt x="2283" y="21358"/>
                    </a:lnTo>
                    <a:lnTo>
                      <a:pt x="2480" y="21411"/>
                    </a:lnTo>
                    <a:lnTo>
                      <a:pt x="2690" y="21437"/>
                    </a:lnTo>
                    <a:lnTo>
                      <a:pt x="2886" y="21450"/>
                    </a:lnTo>
                    <a:lnTo>
                      <a:pt x="3096" y="21450"/>
                    </a:lnTo>
                    <a:lnTo>
                      <a:pt x="3306" y="21437"/>
                    </a:lnTo>
                    <a:lnTo>
                      <a:pt x="3503" y="21398"/>
                    </a:lnTo>
                    <a:lnTo>
                      <a:pt x="3844" y="21306"/>
                    </a:lnTo>
                    <a:lnTo>
                      <a:pt x="4172" y="21201"/>
                    </a:lnTo>
                    <a:lnTo>
                      <a:pt x="4500" y="21070"/>
                    </a:lnTo>
                    <a:lnTo>
                      <a:pt x="4802" y="20912"/>
                    </a:lnTo>
                    <a:lnTo>
                      <a:pt x="5104" y="20755"/>
                    </a:lnTo>
                    <a:lnTo>
                      <a:pt x="5392" y="20571"/>
                    </a:lnTo>
                    <a:lnTo>
                      <a:pt x="5668" y="20361"/>
                    </a:lnTo>
                    <a:lnTo>
                      <a:pt x="5930" y="20151"/>
                    </a:lnTo>
                    <a:lnTo>
                      <a:pt x="6179" y="19915"/>
                    </a:lnTo>
                    <a:lnTo>
                      <a:pt x="6415" y="19666"/>
                    </a:lnTo>
                    <a:lnTo>
                      <a:pt x="6638" y="19404"/>
                    </a:lnTo>
                    <a:lnTo>
                      <a:pt x="6835" y="19128"/>
                    </a:lnTo>
                    <a:lnTo>
                      <a:pt x="7019" y="18840"/>
                    </a:lnTo>
                    <a:lnTo>
                      <a:pt x="7189" y="18538"/>
                    </a:lnTo>
                    <a:lnTo>
                      <a:pt x="7334" y="18223"/>
                    </a:lnTo>
                    <a:lnTo>
                      <a:pt x="7465" y="17895"/>
                    </a:lnTo>
                    <a:lnTo>
                      <a:pt x="13093" y="2598"/>
                    </a:lnTo>
                    <a:lnTo>
                      <a:pt x="6442" y="1"/>
                    </a:lnTo>
                    <a:close/>
                  </a:path>
                </a:pathLst>
              </a:custGeom>
              <a:solidFill>
                <a:srgbClr val="FFC09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2" name="Google Shape;2432;p45"/>
              <p:cNvSpPr/>
              <p:nvPr/>
            </p:nvSpPr>
            <p:spPr>
              <a:xfrm>
                <a:off x="2667672" y="2743246"/>
                <a:ext cx="66415" cy="99622"/>
              </a:xfrm>
              <a:custGeom>
                <a:avLst/>
                <a:gdLst/>
                <a:ahLst/>
                <a:cxnLst/>
                <a:rect l="l" t="t" r="r" b="b"/>
                <a:pathLst>
                  <a:path w="3700" h="5550" extrusionOk="0">
                    <a:moveTo>
                      <a:pt x="0" y="0"/>
                    </a:moveTo>
                    <a:lnTo>
                      <a:pt x="0" y="5550"/>
                    </a:lnTo>
                    <a:lnTo>
                      <a:pt x="3700" y="5550"/>
                    </a:lnTo>
                    <a:lnTo>
                      <a:pt x="3700" y="3700"/>
                    </a:lnTo>
                    <a:lnTo>
                      <a:pt x="3700" y="3503"/>
                    </a:lnTo>
                    <a:lnTo>
                      <a:pt x="3686" y="3320"/>
                    </a:lnTo>
                    <a:lnTo>
                      <a:pt x="3660" y="3136"/>
                    </a:lnTo>
                    <a:lnTo>
                      <a:pt x="3634" y="2952"/>
                    </a:lnTo>
                    <a:lnTo>
                      <a:pt x="3582" y="2769"/>
                    </a:lnTo>
                    <a:lnTo>
                      <a:pt x="3542" y="2598"/>
                    </a:lnTo>
                    <a:lnTo>
                      <a:pt x="3477" y="2427"/>
                    </a:lnTo>
                    <a:lnTo>
                      <a:pt x="3411" y="2257"/>
                    </a:lnTo>
                    <a:lnTo>
                      <a:pt x="3332" y="2086"/>
                    </a:lnTo>
                    <a:lnTo>
                      <a:pt x="3254" y="1929"/>
                    </a:lnTo>
                    <a:lnTo>
                      <a:pt x="3162" y="1772"/>
                    </a:lnTo>
                    <a:lnTo>
                      <a:pt x="3070" y="1627"/>
                    </a:lnTo>
                    <a:lnTo>
                      <a:pt x="2965" y="1483"/>
                    </a:lnTo>
                    <a:lnTo>
                      <a:pt x="2860" y="1339"/>
                    </a:lnTo>
                    <a:lnTo>
                      <a:pt x="2742" y="1207"/>
                    </a:lnTo>
                    <a:lnTo>
                      <a:pt x="2624" y="1076"/>
                    </a:lnTo>
                    <a:lnTo>
                      <a:pt x="2493" y="958"/>
                    </a:lnTo>
                    <a:lnTo>
                      <a:pt x="2361" y="840"/>
                    </a:lnTo>
                    <a:lnTo>
                      <a:pt x="2217" y="735"/>
                    </a:lnTo>
                    <a:lnTo>
                      <a:pt x="2073" y="630"/>
                    </a:lnTo>
                    <a:lnTo>
                      <a:pt x="1929" y="538"/>
                    </a:lnTo>
                    <a:lnTo>
                      <a:pt x="1771" y="447"/>
                    </a:lnTo>
                    <a:lnTo>
                      <a:pt x="1614" y="368"/>
                    </a:lnTo>
                    <a:lnTo>
                      <a:pt x="1443" y="289"/>
                    </a:lnTo>
                    <a:lnTo>
                      <a:pt x="1273" y="224"/>
                    </a:lnTo>
                    <a:lnTo>
                      <a:pt x="1102" y="158"/>
                    </a:lnTo>
                    <a:lnTo>
                      <a:pt x="932" y="119"/>
                    </a:lnTo>
                    <a:lnTo>
                      <a:pt x="748" y="66"/>
                    </a:lnTo>
                    <a:lnTo>
                      <a:pt x="564" y="40"/>
                    </a:lnTo>
                    <a:lnTo>
                      <a:pt x="381" y="14"/>
                    </a:lnTo>
                    <a:lnTo>
                      <a:pt x="197" y="0"/>
                    </a:lnTo>
                    <a:close/>
                  </a:path>
                </a:pathLst>
              </a:custGeom>
              <a:solidFill>
                <a:srgbClr val="FFB7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3" name="Google Shape;2433;p45"/>
              <p:cNvSpPr/>
              <p:nvPr/>
            </p:nvSpPr>
            <p:spPr>
              <a:xfrm>
                <a:off x="2499301" y="2524005"/>
                <a:ext cx="235019" cy="385045"/>
              </a:xfrm>
              <a:custGeom>
                <a:avLst/>
                <a:gdLst/>
                <a:ahLst/>
                <a:cxnLst/>
                <a:rect l="l" t="t" r="r" b="b"/>
                <a:pathLst>
                  <a:path w="13093" h="21451" extrusionOk="0">
                    <a:moveTo>
                      <a:pt x="6651" y="1"/>
                    </a:moveTo>
                    <a:lnTo>
                      <a:pt x="0" y="2598"/>
                    </a:lnTo>
                    <a:lnTo>
                      <a:pt x="5615" y="17895"/>
                    </a:lnTo>
                    <a:lnTo>
                      <a:pt x="5746" y="18223"/>
                    </a:lnTo>
                    <a:lnTo>
                      <a:pt x="5904" y="18538"/>
                    </a:lnTo>
                    <a:lnTo>
                      <a:pt x="6074" y="18840"/>
                    </a:lnTo>
                    <a:lnTo>
                      <a:pt x="6258" y="19128"/>
                    </a:lnTo>
                    <a:lnTo>
                      <a:pt x="6455" y="19404"/>
                    </a:lnTo>
                    <a:lnTo>
                      <a:pt x="6678" y="19666"/>
                    </a:lnTo>
                    <a:lnTo>
                      <a:pt x="6914" y="19915"/>
                    </a:lnTo>
                    <a:lnTo>
                      <a:pt x="7163" y="20151"/>
                    </a:lnTo>
                    <a:lnTo>
                      <a:pt x="7425" y="20361"/>
                    </a:lnTo>
                    <a:lnTo>
                      <a:pt x="7701" y="20571"/>
                    </a:lnTo>
                    <a:lnTo>
                      <a:pt x="7989" y="20755"/>
                    </a:lnTo>
                    <a:lnTo>
                      <a:pt x="8278" y="20912"/>
                    </a:lnTo>
                    <a:lnTo>
                      <a:pt x="8593" y="21070"/>
                    </a:lnTo>
                    <a:lnTo>
                      <a:pt x="8921" y="21201"/>
                    </a:lnTo>
                    <a:lnTo>
                      <a:pt x="9249" y="21306"/>
                    </a:lnTo>
                    <a:lnTo>
                      <a:pt x="9577" y="21398"/>
                    </a:lnTo>
                    <a:lnTo>
                      <a:pt x="9787" y="21437"/>
                    </a:lnTo>
                    <a:lnTo>
                      <a:pt x="9997" y="21450"/>
                    </a:lnTo>
                    <a:lnTo>
                      <a:pt x="10207" y="21450"/>
                    </a:lnTo>
                    <a:lnTo>
                      <a:pt x="10403" y="21437"/>
                    </a:lnTo>
                    <a:lnTo>
                      <a:pt x="10600" y="21411"/>
                    </a:lnTo>
                    <a:lnTo>
                      <a:pt x="10797" y="21358"/>
                    </a:lnTo>
                    <a:lnTo>
                      <a:pt x="10994" y="21306"/>
                    </a:lnTo>
                    <a:lnTo>
                      <a:pt x="11177" y="21227"/>
                    </a:lnTo>
                    <a:lnTo>
                      <a:pt x="11361" y="21135"/>
                    </a:lnTo>
                    <a:lnTo>
                      <a:pt x="11532" y="21017"/>
                    </a:lnTo>
                    <a:lnTo>
                      <a:pt x="11689" y="20899"/>
                    </a:lnTo>
                    <a:lnTo>
                      <a:pt x="11846" y="20768"/>
                    </a:lnTo>
                    <a:lnTo>
                      <a:pt x="11978" y="20624"/>
                    </a:lnTo>
                    <a:lnTo>
                      <a:pt x="12109" y="20453"/>
                    </a:lnTo>
                    <a:lnTo>
                      <a:pt x="12227" y="20283"/>
                    </a:lnTo>
                    <a:lnTo>
                      <a:pt x="12332" y="20099"/>
                    </a:lnTo>
                    <a:lnTo>
                      <a:pt x="12843" y="19076"/>
                    </a:lnTo>
                    <a:lnTo>
                      <a:pt x="12935" y="18853"/>
                    </a:lnTo>
                    <a:lnTo>
                      <a:pt x="13014" y="18603"/>
                    </a:lnTo>
                    <a:lnTo>
                      <a:pt x="13066" y="18367"/>
                    </a:lnTo>
                    <a:lnTo>
                      <a:pt x="13093" y="18118"/>
                    </a:lnTo>
                    <a:lnTo>
                      <a:pt x="13093" y="17869"/>
                    </a:lnTo>
                    <a:lnTo>
                      <a:pt x="13066" y="17620"/>
                    </a:lnTo>
                    <a:lnTo>
                      <a:pt x="13027" y="17370"/>
                    </a:lnTo>
                    <a:lnTo>
                      <a:pt x="12948" y="17134"/>
                    </a:lnTo>
                    <a:lnTo>
                      <a:pt x="6651" y="1"/>
                    </a:lnTo>
                    <a:close/>
                  </a:path>
                </a:pathLst>
              </a:custGeom>
              <a:solidFill>
                <a:srgbClr val="FFC09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4" name="Google Shape;2434;p45"/>
              <p:cNvSpPr/>
              <p:nvPr/>
            </p:nvSpPr>
            <p:spPr>
              <a:xfrm>
                <a:off x="1896683" y="3002516"/>
                <a:ext cx="581670" cy="312276"/>
              </a:xfrm>
              <a:custGeom>
                <a:avLst/>
                <a:gdLst/>
                <a:ahLst/>
                <a:cxnLst/>
                <a:rect l="l" t="t" r="r" b="b"/>
                <a:pathLst>
                  <a:path w="32405" h="17397" extrusionOk="0">
                    <a:moveTo>
                      <a:pt x="1" y="1"/>
                    </a:moveTo>
                    <a:lnTo>
                      <a:pt x="14" y="1076"/>
                    </a:lnTo>
                    <a:lnTo>
                      <a:pt x="1" y="2165"/>
                    </a:lnTo>
                    <a:lnTo>
                      <a:pt x="1" y="4277"/>
                    </a:lnTo>
                    <a:lnTo>
                      <a:pt x="1" y="5314"/>
                    </a:lnTo>
                    <a:lnTo>
                      <a:pt x="14" y="6324"/>
                    </a:lnTo>
                    <a:lnTo>
                      <a:pt x="53" y="7308"/>
                    </a:lnTo>
                    <a:lnTo>
                      <a:pt x="106" y="8252"/>
                    </a:lnTo>
                    <a:lnTo>
                      <a:pt x="145" y="8698"/>
                    </a:lnTo>
                    <a:lnTo>
                      <a:pt x="184" y="9144"/>
                    </a:lnTo>
                    <a:lnTo>
                      <a:pt x="237" y="9577"/>
                    </a:lnTo>
                    <a:lnTo>
                      <a:pt x="289" y="9997"/>
                    </a:lnTo>
                    <a:lnTo>
                      <a:pt x="355" y="10404"/>
                    </a:lnTo>
                    <a:lnTo>
                      <a:pt x="434" y="10797"/>
                    </a:lnTo>
                    <a:lnTo>
                      <a:pt x="525" y="11165"/>
                    </a:lnTo>
                    <a:lnTo>
                      <a:pt x="630" y="11532"/>
                    </a:lnTo>
                    <a:lnTo>
                      <a:pt x="735" y="11873"/>
                    </a:lnTo>
                    <a:lnTo>
                      <a:pt x="853" y="12201"/>
                    </a:lnTo>
                    <a:lnTo>
                      <a:pt x="998" y="12503"/>
                    </a:lnTo>
                    <a:lnTo>
                      <a:pt x="1142" y="12805"/>
                    </a:lnTo>
                    <a:lnTo>
                      <a:pt x="1299" y="13067"/>
                    </a:lnTo>
                    <a:lnTo>
                      <a:pt x="1483" y="13316"/>
                    </a:lnTo>
                    <a:lnTo>
                      <a:pt x="1680" y="13552"/>
                    </a:lnTo>
                    <a:lnTo>
                      <a:pt x="1877" y="13762"/>
                    </a:lnTo>
                    <a:lnTo>
                      <a:pt x="2139" y="13985"/>
                    </a:lnTo>
                    <a:lnTo>
                      <a:pt x="2414" y="14195"/>
                    </a:lnTo>
                    <a:lnTo>
                      <a:pt x="2703" y="14405"/>
                    </a:lnTo>
                    <a:lnTo>
                      <a:pt x="3018" y="14615"/>
                    </a:lnTo>
                    <a:lnTo>
                      <a:pt x="3346" y="14812"/>
                    </a:lnTo>
                    <a:lnTo>
                      <a:pt x="3687" y="14996"/>
                    </a:lnTo>
                    <a:lnTo>
                      <a:pt x="4041" y="15179"/>
                    </a:lnTo>
                    <a:lnTo>
                      <a:pt x="4409" y="15350"/>
                    </a:lnTo>
                    <a:lnTo>
                      <a:pt x="4802" y="15520"/>
                    </a:lnTo>
                    <a:lnTo>
                      <a:pt x="5196" y="15678"/>
                    </a:lnTo>
                    <a:lnTo>
                      <a:pt x="5602" y="15822"/>
                    </a:lnTo>
                    <a:lnTo>
                      <a:pt x="6035" y="15966"/>
                    </a:lnTo>
                    <a:lnTo>
                      <a:pt x="6468" y="16111"/>
                    </a:lnTo>
                    <a:lnTo>
                      <a:pt x="6914" y="16242"/>
                    </a:lnTo>
                    <a:lnTo>
                      <a:pt x="7373" y="16360"/>
                    </a:lnTo>
                    <a:lnTo>
                      <a:pt x="7846" y="16478"/>
                    </a:lnTo>
                    <a:lnTo>
                      <a:pt x="8318" y="16596"/>
                    </a:lnTo>
                    <a:lnTo>
                      <a:pt x="8803" y="16701"/>
                    </a:lnTo>
                    <a:lnTo>
                      <a:pt x="9302" y="16793"/>
                    </a:lnTo>
                    <a:lnTo>
                      <a:pt x="9800" y="16885"/>
                    </a:lnTo>
                    <a:lnTo>
                      <a:pt x="10312" y="16963"/>
                    </a:lnTo>
                    <a:lnTo>
                      <a:pt x="10824" y="17029"/>
                    </a:lnTo>
                    <a:lnTo>
                      <a:pt x="11873" y="17160"/>
                    </a:lnTo>
                    <a:lnTo>
                      <a:pt x="12936" y="17265"/>
                    </a:lnTo>
                    <a:lnTo>
                      <a:pt x="14012" y="17331"/>
                    </a:lnTo>
                    <a:lnTo>
                      <a:pt x="15114" y="17370"/>
                    </a:lnTo>
                    <a:lnTo>
                      <a:pt x="16203" y="17396"/>
                    </a:lnTo>
                    <a:lnTo>
                      <a:pt x="17291" y="17370"/>
                    </a:lnTo>
                    <a:lnTo>
                      <a:pt x="18380" y="17331"/>
                    </a:lnTo>
                    <a:lnTo>
                      <a:pt x="19469" y="17265"/>
                    </a:lnTo>
                    <a:lnTo>
                      <a:pt x="20532" y="17160"/>
                    </a:lnTo>
                    <a:lnTo>
                      <a:pt x="21581" y="17029"/>
                    </a:lnTo>
                    <a:lnTo>
                      <a:pt x="22093" y="16963"/>
                    </a:lnTo>
                    <a:lnTo>
                      <a:pt x="22605" y="16885"/>
                    </a:lnTo>
                    <a:lnTo>
                      <a:pt x="23103" y="16793"/>
                    </a:lnTo>
                    <a:lnTo>
                      <a:pt x="23602" y="16701"/>
                    </a:lnTo>
                    <a:lnTo>
                      <a:pt x="24087" y="16596"/>
                    </a:lnTo>
                    <a:lnTo>
                      <a:pt x="24559" y="16478"/>
                    </a:lnTo>
                    <a:lnTo>
                      <a:pt x="25032" y="16360"/>
                    </a:lnTo>
                    <a:lnTo>
                      <a:pt x="25491" y="16242"/>
                    </a:lnTo>
                    <a:lnTo>
                      <a:pt x="25937" y="16111"/>
                    </a:lnTo>
                    <a:lnTo>
                      <a:pt x="26370" y="15966"/>
                    </a:lnTo>
                    <a:lnTo>
                      <a:pt x="26790" y="15822"/>
                    </a:lnTo>
                    <a:lnTo>
                      <a:pt x="27209" y="15678"/>
                    </a:lnTo>
                    <a:lnTo>
                      <a:pt x="27603" y="15520"/>
                    </a:lnTo>
                    <a:lnTo>
                      <a:pt x="27996" y="15350"/>
                    </a:lnTo>
                    <a:lnTo>
                      <a:pt x="28364" y="15179"/>
                    </a:lnTo>
                    <a:lnTo>
                      <a:pt x="28718" y="14996"/>
                    </a:lnTo>
                    <a:lnTo>
                      <a:pt x="29059" y="14812"/>
                    </a:lnTo>
                    <a:lnTo>
                      <a:pt x="29387" y="14615"/>
                    </a:lnTo>
                    <a:lnTo>
                      <a:pt x="29702" y="14405"/>
                    </a:lnTo>
                    <a:lnTo>
                      <a:pt x="29991" y="14195"/>
                    </a:lnTo>
                    <a:lnTo>
                      <a:pt x="30266" y="13985"/>
                    </a:lnTo>
                    <a:lnTo>
                      <a:pt x="30515" y="13762"/>
                    </a:lnTo>
                    <a:lnTo>
                      <a:pt x="30725" y="13552"/>
                    </a:lnTo>
                    <a:lnTo>
                      <a:pt x="30922" y="13316"/>
                    </a:lnTo>
                    <a:lnTo>
                      <a:pt x="31093" y="13067"/>
                    </a:lnTo>
                    <a:lnTo>
                      <a:pt x="31263" y="12805"/>
                    </a:lnTo>
                    <a:lnTo>
                      <a:pt x="31407" y="12503"/>
                    </a:lnTo>
                    <a:lnTo>
                      <a:pt x="31539" y="12201"/>
                    </a:lnTo>
                    <a:lnTo>
                      <a:pt x="31670" y="11873"/>
                    </a:lnTo>
                    <a:lnTo>
                      <a:pt x="31775" y="11532"/>
                    </a:lnTo>
                    <a:lnTo>
                      <a:pt x="31880" y="11165"/>
                    </a:lnTo>
                    <a:lnTo>
                      <a:pt x="31958" y="10797"/>
                    </a:lnTo>
                    <a:lnTo>
                      <a:pt x="32037" y="10404"/>
                    </a:lnTo>
                    <a:lnTo>
                      <a:pt x="32116" y="9997"/>
                    </a:lnTo>
                    <a:lnTo>
                      <a:pt x="32168" y="9577"/>
                    </a:lnTo>
                    <a:lnTo>
                      <a:pt x="32221" y="9144"/>
                    </a:lnTo>
                    <a:lnTo>
                      <a:pt x="32260" y="8698"/>
                    </a:lnTo>
                    <a:lnTo>
                      <a:pt x="32299" y="8252"/>
                    </a:lnTo>
                    <a:lnTo>
                      <a:pt x="32352" y="7308"/>
                    </a:lnTo>
                    <a:lnTo>
                      <a:pt x="32391" y="6324"/>
                    </a:lnTo>
                    <a:lnTo>
                      <a:pt x="32404" y="5314"/>
                    </a:lnTo>
                    <a:lnTo>
                      <a:pt x="32404" y="4277"/>
                    </a:lnTo>
                    <a:lnTo>
                      <a:pt x="32391" y="2165"/>
                    </a:lnTo>
                    <a:lnTo>
                      <a:pt x="32391" y="1076"/>
                    </a:lnTo>
                    <a:lnTo>
                      <a:pt x="3240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5" name="Google Shape;2435;p45"/>
              <p:cNvSpPr/>
              <p:nvPr/>
            </p:nvSpPr>
            <p:spPr>
              <a:xfrm>
                <a:off x="1715604" y="2185378"/>
                <a:ext cx="943829" cy="944080"/>
              </a:xfrm>
              <a:custGeom>
                <a:avLst/>
                <a:gdLst/>
                <a:ahLst/>
                <a:cxnLst/>
                <a:rect l="l" t="t" r="r" b="b"/>
                <a:pathLst>
                  <a:path w="52581" h="52595" extrusionOk="0">
                    <a:moveTo>
                      <a:pt x="22053" y="1"/>
                    </a:moveTo>
                    <a:lnTo>
                      <a:pt x="21436" y="14"/>
                    </a:lnTo>
                    <a:lnTo>
                      <a:pt x="20833" y="40"/>
                    </a:lnTo>
                    <a:lnTo>
                      <a:pt x="20230" y="92"/>
                    </a:lnTo>
                    <a:lnTo>
                      <a:pt x="19626" y="158"/>
                    </a:lnTo>
                    <a:lnTo>
                      <a:pt x="19036" y="237"/>
                    </a:lnTo>
                    <a:lnTo>
                      <a:pt x="18432" y="342"/>
                    </a:lnTo>
                    <a:lnTo>
                      <a:pt x="17842" y="460"/>
                    </a:lnTo>
                    <a:lnTo>
                      <a:pt x="17252" y="591"/>
                    </a:lnTo>
                    <a:lnTo>
                      <a:pt x="16674" y="748"/>
                    </a:lnTo>
                    <a:lnTo>
                      <a:pt x="16097" y="919"/>
                    </a:lnTo>
                    <a:lnTo>
                      <a:pt x="15520" y="1116"/>
                    </a:lnTo>
                    <a:lnTo>
                      <a:pt x="14956" y="1326"/>
                    </a:lnTo>
                    <a:lnTo>
                      <a:pt x="14392" y="1549"/>
                    </a:lnTo>
                    <a:lnTo>
                      <a:pt x="13841" y="1798"/>
                    </a:lnTo>
                    <a:lnTo>
                      <a:pt x="13303" y="2073"/>
                    </a:lnTo>
                    <a:lnTo>
                      <a:pt x="12765" y="2349"/>
                    </a:lnTo>
                    <a:lnTo>
                      <a:pt x="12345" y="2585"/>
                    </a:lnTo>
                    <a:lnTo>
                      <a:pt x="11912" y="2834"/>
                    </a:lnTo>
                    <a:lnTo>
                      <a:pt x="11492" y="3097"/>
                    </a:lnTo>
                    <a:lnTo>
                      <a:pt x="11059" y="3385"/>
                    </a:lnTo>
                    <a:lnTo>
                      <a:pt x="10613" y="3674"/>
                    </a:lnTo>
                    <a:lnTo>
                      <a:pt x="10180" y="3989"/>
                    </a:lnTo>
                    <a:lnTo>
                      <a:pt x="9734" y="4317"/>
                    </a:lnTo>
                    <a:lnTo>
                      <a:pt x="9288" y="4671"/>
                    </a:lnTo>
                    <a:lnTo>
                      <a:pt x="8842" y="5038"/>
                    </a:lnTo>
                    <a:lnTo>
                      <a:pt x="8396" y="5419"/>
                    </a:lnTo>
                    <a:lnTo>
                      <a:pt x="7963" y="5825"/>
                    </a:lnTo>
                    <a:lnTo>
                      <a:pt x="7517" y="6245"/>
                    </a:lnTo>
                    <a:lnTo>
                      <a:pt x="7071" y="6678"/>
                    </a:lnTo>
                    <a:lnTo>
                      <a:pt x="6638" y="7150"/>
                    </a:lnTo>
                    <a:lnTo>
                      <a:pt x="6205" y="7623"/>
                    </a:lnTo>
                    <a:lnTo>
                      <a:pt x="5772" y="8134"/>
                    </a:lnTo>
                    <a:lnTo>
                      <a:pt x="5340" y="8659"/>
                    </a:lnTo>
                    <a:lnTo>
                      <a:pt x="4920" y="9197"/>
                    </a:lnTo>
                    <a:lnTo>
                      <a:pt x="4513" y="9774"/>
                    </a:lnTo>
                    <a:lnTo>
                      <a:pt x="4106" y="10365"/>
                    </a:lnTo>
                    <a:lnTo>
                      <a:pt x="3700" y="10968"/>
                    </a:lnTo>
                    <a:lnTo>
                      <a:pt x="3306" y="11611"/>
                    </a:lnTo>
                    <a:lnTo>
                      <a:pt x="2926" y="12267"/>
                    </a:lnTo>
                    <a:lnTo>
                      <a:pt x="2558" y="12962"/>
                    </a:lnTo>
                    <a:lnTo>
                      <a:pt x="2191" y="13671"/>
                    </a:lnTo>
                    <a:lnTo>
                      <a:pt x="1837" y="14405"/>
                    </a:lnTo>
                    <a:lnTo>
                      <a:pt x="1496" y="15166"/>
                    </a:lnTo>
                    <a:lnTo>
                      <a:pt x="1168" y="15953"/>
                    </a:lnTo>
                    <a:lnTo>
                      <a:pt x="866" y="16767"/>
                    </a:lnTo>
                    <a:lnTo>
                      <a:pt x="564" y="17606"/>
                    </a:lnTo>
                    <a:lnTo>
                      <a:pt x="276" y="18485"/>
                    </a:lnTo>
                    <a:lnTo>
                      <a:pt x="0" y="19377"/>
                    </a:lnTo>
                    <a:lnTo>
                      <a:pt x="10679" y="23720"/>
                    </a:lnTo>
                    <a:lnTo>
                      <a:pt x="10574" y="24638"/>
                    </a:lnTo>
                    <a:lnTo>
                      <a:pt x="10469" y="25701"/>
                    </a:lnTo>
                    <a:lnTo>
                      <a:pt x="10351" y="27091"/>
                    </a:lnTo>
                    <a:lnTo>
                      <a:pt x="10233" y="28757"/>
                    </a:lnTo>
                    <a:lnTo>
                      <a:pt x="10180" y="29676"/>
                    </a:lnTo>
                    <a:lnTo>
                      <a:pt x="10128" y="30647"/>
                    </a:lnTo>
                    <a:lnTo>
                      <a:pt x="10089" y="31657"/>
                    </a:lnTo>
                    <a:lnTo>
                      <a:pt x="10049" y="32693"/>
                    </a:lnTo>
                    <a:lnTo>
                      <a:pt x="10023" y="33756"/>
                    </a:lnTo>
                    <a:lnTo>
                      <a:pt x="10010" y="34845"/>
                    </a:lnTo>
                    <a:lnTo>
                      <a:pt x="10010" y="35947"/>
                    </a:lnTo>
                    <a:lnTo>
                      <a:pt x="10023" y="37049"/>
                    </a:lnTo>
                    <a:lnTo>
                      <a:pt x="10062" y="38151"/>
                    </a:lnTo>
                    <a:lnTo>
                      <a:pt x="10115" y="39240"/>
                    </a:lnTo>
                    <a:lnTo>
                      <a:pt x="10194" y="40315"/>
                    </a:lnTo>
                    <a:lnTo>
                      <a:pt x="10285" y="41378"/>
                    </a:lnTo>
                    <a:lnTo>
                      <a:pt x="10403" y="42401"/>
                    </a:lnTo>
                    <a:lnTo>
                      <a:pt x="10469" y="42900"/>
                    </a:lnTo>
                    <a:lnTo>
                      <a:pt x="10548" y="43398"/>
                    </a:lnTo>
                    <a:lnTo>
                      <a:pt x="10640" y="43884"/>
                    </a:lnTo>
                    <a:lnTo>
                      <a:pt x="10731" y="44343"/>
                    </a:lnTo>
                    <a:lnTo>
                      <a:pt x="10823" y="44802"/>
                    </a:lnTo>
                    <a:lnTo>
                      <a:pt x="10928" y="45248"/>
                    </a:lnTo>
                    <a:lnTo>
                      <a:pt x="11046" y="45668"/>
                    </a:lnTo>
                    <a:lnTo>
                      <a:pt x="11164" y="46088"/>
                    </a:lnTo>
                    <a:lnTo>
                      <a:pt x="11296" y="46481"/>
                    </a:lnTo>
                    <a:lnTo>
                      <a:pt x="11440" y="46862"/>
                    </a:lnTo>
                    <a:lnTo>
                      <a:pt x="11584" y="47229"/>
                    </a:lnTo>
                    <a:lnTo>
                      <a:pt x="11742" y="47570"/>
                    </a:lnTo>
                    <a:lnTo>
                      <a:pt x="11912" y="47898"/>
                    </a:lnTo>
                    <a:lnTo>
                      <a:pt x="12083" y="48200"/>
                    </a:lnTo>
                    <a:lnTo>
                      <a:pt x="12266" y="48488"/>
                    </a:lnTo>
                    <a:lnTo>
                      <a:pt x="12463" y="48751"/>
                    </a:lnTo>
                    <a:lnTo>
                      <a:pt x="12673" y="48987"/>
                    </a:lnTo>
                    <a:lnTo>
                      <a:pt x="12883" y="49197"/>
                    </a:lnTo>
                    <a:lnTo>
                      <a:pt x="13119" y="49407"/>
                    </a:lnTo>
                    <a:lnTo>
                      <a:pt x="13381" y="49617"/>
                    </a:lnTo>
                    <a:lnTo>
                      <a:pt x="13657" y="49813"/>
                    </a:lnTo>
                    <a:lnTo>
                      <a:pt x="13946" y="49997"/>
                    </a:lnTo>
                    <a:lnTo>
                      <a:pt x="14247" y="50181"/>
                    </a:lnTo>
                    <a:lnTo>
                      <a:pt x="14562" y="50351"/>
                    </a:lnTo>
                    <a:lnTo>
                      <a:pt x="14903" y="50522"/>
                    </a:lnTo>
                    <a:lnTo>
                      <a:pt x="15244" y="50692"/>
                    </a:lnTo>
                    <a:lnTo>
                      <a:pt x="15612" y="50837"/>
                    </a:lnTo>
                    <a:lnTo>
                      <a:pt x="15979" y="50994"/>
                    </a:lnTo>
                    <a:lnTo>
                      <a:pt x="16373" y="51138"/>
                    </a:lnTo>
                    <a:lnTo>
                      <a:pt x="16766" y="51270"/>
                    </a:lnTo>
                    <a:lnTo>
                      <a:pt x="17173" y="51401"/>
                    </a:lnTo>
                    <a:lnTo>
                      <a:pt x="17593" y="51519"/>
                    </a:lnTo>
                    <a:lnTo>
                      <a:pt x="18026" y="51637"/>
                    </a:lnTo>
                    <a:lnTo>
                      <a:pt x="18458" y="51755"/>
                    </a:lnTo>
                    <a:lnTo>
                      <a:pt x="18905" y="51847"/>
                    </a:lnTo>
                    <a:lnTo>
                      <a:pt x="19364" y="51952"/>
                    </a:lnTo>
                    <a:lnTo>
                      <a:pt x="20295" y="52122"/>
                    </a:lnTo>
                    <a:lnTo>
                      <a:pt x="21253" y="52267"/>
                    </a:lnTo>
                    <a:lnTo>
                      <a:pt x="22237" y="52385"/>
                    </a:lnTo>
                    <a:lnTo>
                      <a:pt x="23234" y="52477"/>
                    </a:lnTo>
                    <a:lnTo>
                      <a:pt x="24244" y="52542"/>
                    </a:lnTo>
                    <a:lnTo>
                      <a:pt x="25267" y="52582"/>
                    </a:lnTo>
                    <a:lnTo>
                      <a:pt x="26291" y="52595"/>
                    </a:lnTo>
                    <a:lnTo>
                      <a:pt x="27314" y="52582"/>
                    </a:lnTo>
                    <a:lnTo>
                      <a:pt x="28337" y="52542"/>
                    </a:lnTo>
                    <a:lnTo>
                      <a:pt x="29347" y="52477"/>
                    </a:lnTo>
                    <a:lnTo>
                      <a:pt x="30344" y="52385"/>
                    </a:lnTo>
                    <a:lnTo>
                      <a:pt x="31328" y="52267"/>
                    </a:lnTo>
                    <a:lnTo>
                      <a:pt x="32286" y="52122"/>
                    </a:lnTo>
                    <a:lnTo>
                      <a:pt x="33217" y="51952"/>
                    </a:lnTo>
                    <a:lnTo>
                      <a:pt x="33676" y="51847"/>
                    </a:lnTo>
                    <a:lnTo>
                      <a:pt x="34123" y="51755"/>
                    </a:lnTo>
                    <a:lnTo>
                      <a:pt x="34555" y="51637"/>
                    </a:lnTo>
                    <a:lnTo>
                      <a:pt x="34988" y="51519"/>
                    </a:lnTo>
                    <a:lnTo>
                      <a:pt x="35408" y="51401"/>
                    </a:lnTo>
                    <a:lnTo>
                      <a:pt x="35815" y="51270"/>
                    </a:lnTo>
                    <a:lnTo>
                      <a:pt x="36208" y="51138"/>
                    </a:lnTo>
                    <a:lnTo>
                      <a:pt x="36589" y="50994"/>
                    </a:lnTo>
                    <a:lnTo>
                      <a:pt x="36969" y="50837"/>
                    </a:lnTo>
                    <a:lnTo>
                      <a:pt x="37324" y="50692"/>
                    </a:lnTo>
                    <a:lnTo>
                      <a:pt x="37678" y="50522"/>
                    </a:lnTo>
                    <a:lnTo>
                      <a:pt x="38006" y="50351"/>
                    </a:lnTo>
                    <a:lnTo>
                      <a:pt x="38334" y="50181"/>
                    </a:lnTo>
                    <a:lnTo>
                      <a:pt x="38635" y="49997"/>
                    </a:lnTo>
                    <a:lnTo>
                      <a:pt x="38924" y="49813"/>
                    </a:lnTo>
                    <a:lnTo>
                      <a:pt x="39200" y="49617"/>
                    </a:lnTo>
                    <a:lnTo>
                      <a:pt x="39462" y="49407"/>
                    </a:lnTo>
                    <a:lnTo>
                      <a:pt x="39698" y="49197"/>
                    </a:lnTo>
                    <a:lnTo>
                      <a:pt x="39908" y="48987"/>
                    </a:lnTo>
                    <a:lnTo>
                      <a:pt x="40118" y="48751"/>
                    </a:lnTo>
                    <a:lnTo>
                      <a:pt x="40315" y="48488"/>
                    </a:lnTo>
                    <a:lnTo>
                      <a:pt x="40498" y="48200"/>
                    </a:lnTo>
                    <a:lnTo>
                      <a:pt x="40669" y="47898"/>
                    </a:lnTo>
                    <a:lnTo>
                      <a:pt x="40839" y="47570"/>
                    </a:lnTo>
                    <a:lnTo>
                      <a:pt x="40997" y="47229"/>
                    </a:lnTo>
                    <a:lnTo>
                      <a:pt x="41141" y="46862"/>
                    </a:lnTo>
                    <a:lnTo>
                      <a:pt x="41285" y="46481"/>
                    </a:lnTo>
                    <a:lnTo>
                      <a:pt x="41417" y="46088"/>
                    </a:lnTo>
                    <a:lnTo>
                      <a:pt x="41535" y="45668"/>
                    </a:lnTo>
                    <a:lnTo>
                      <a:pt x="41653" y="45248"/>
                    </a:lnTo>
                    <a:lnTo>
                      <a:pt x="41758" y="44802"/>
                    </a:lnTo>
                    <a:lnTo>
                      <a:pt x="41850" y="44343"/>
                    </a:lnTo>
                    <a:lnTo>
                      <a:pt x="41941" y="43884"/>
                    </a:lnTo>
                    <a:lnTo>
                      <a:pt x="42033" y="43398"/>
                    </a:lnTo>
                    <a:lnTo>
                      <a:pt x="42112" y="42900"/>
                    </a:lnTo>
                    <a:lnTo>
                      <a:pt x="42178" y="42401"/>
                    </a:lnTo>
                    <a:lnTo>
                      <a:pt x="42296" y="41378"/>
                    </a:lnTo>
                    <a:lnTo>
                      <a:pt x="42387" y="40315"/>
                    </a:lnTo>
                    <a:lnTo>
                      <a:pt x="42466" y="39240"/>
                    </a:lnTo>
                    <a:lnTo>
                      <a:pt x="42519" y="38151"/>
                    </a:lnTo>
                    <a:lnTo>
                      <a:pt x="42545" y="37049"/>
                    </a:lnTo>
                    <a:lnTo>
                      <a:pt x="42571" y="35947"/>
                    </a:lnTo>
                    <a:lnTo>
                      <a:pt x="42571" y="34845"/>
                    </a:lnTo>
                    <a:lnTo>
                      <a:pt x="42558" y="33756"/>
                    </a:lnTo>
                    <a:lnTo>
                      <a:pt x="42532" y="32693"/>
                    </a:lnTo>
                    <a:lnTo>
                      <a:pt x="42492" y="31657"/>
                    </a:lnTo>
                    <a:lnTo>
                      <a:pt x="42453" y="30647"/>
                    </a:lnTo>
                    <a:lnTo>
                      <a:pt x="42401" y="29676"/>
                    </a:lnTo>
                    <a:lnTo>
                      <a:pt x="42335" y="28757"/>
                    </a:lnTo>
                    <a:lnTo>
                      <a:pt x="42217" y="27091"/>
                    </a:lnTo>
                    <a:lnTo>
                      <a:pt x="42099" y="25701"/>
                    </a:lnTo>
                    <a:lnTo>
                      <a:pt x="42007" y="24638"/>
                    </a:lnTo>
                    <a:lnTo>
                      <a:pt x="41902" y="23720"/>
                    </a:lnTo>
                    <a:lnTo>
                      <a:pt x="52581" y="19377"/>
                    </a:lnTo>
                    <a:lnTo>
                      <a:pt x="52292" y="18459"/>
                    </a:lnTo>
                    <a:lnTo>
                      <a:pt x="52004" y="17554"/>
                    </a:lnTo>
                    <a:lnTo>
                      <a:pt x="51689" y="16688"/>
                    </a:lnTo>
                    <a:lnTo>
                      <a:pt x="51361" y="15861"/>
                    </a:lnTo>
                    <a:lnTo>
                      <a:pt x="51033" y="15048"/>
                    </a:lnTo>
                    <a:lnTo>
                      <a:pt x="50679" y="14274"/>
                    </a:lnTo>
                    <a:lnTo>
                      <a:pt x="50311" y="13513"/>
                    </a:lnTo>
                    <a:lnTo>
                      <a:pt x="49931" y="12792"/>
                    </a:lnTo>
                    <a:lnTo>
                      <a:pt x="49550" y="12083"/>
                    </a:lnTo>
                    <a:lnTo>
                      <a:pt x="49144" y="11414"/>
                    </a:lnTo>
                    <a:lnTo>
                      <a:pt x="48737" y="10758"/>
                    </a:lnTo>
                    <a:lnTo>
                      <a:pt x="48330" y="10142"/>
                    </a:lnTo>
                    <a:lnTo>
                      <a:pt x="47911" y="9538"/>
                    </a:lnTo>
                    <a:lnTo>
                      <a:pt x="47478" y="8961"/>
                    </a:lnTo>
                    <a:lnTo>
                      <a:pt x="47045" y="8410"/>
                    </a:lnTo>
                    <a:lnTo>
                      <a:pt x="46599" y="7885"/>
                    </a:lnTo>
                    <a:lnTo>
                      <a:pt x="46153" y="7373"/>
                    </a:lnTo>
                    <a:lnTo>
                      <a:pt x="45707" y="6888"/>
                    </a:lnTo>
                    <a:lnTo>
                      <a:pt x="45247" y="6429"/>
                    </a:lnTo>
                    <a:lnTo>
                      <a:pt x="44788" y="5983"/>
                    </a:lnTo>
                    <a:lnTo>
                      <a:pt x="44342" y="5563"/>
                    </a:lnTo>
                    <a:lnTo>
                      <a:pt x="43883" y="5156"/>
                    </a:lnTo>
                    <a:lnTo>
                      <a:pt x="43424" y="4776"/>
                    </a:lnTo>
                    <a:lnTo>
                      <a:pt x="42965" y="4409"/>
                    </a:lnTo>
                    <a:lnTo>
                      <a:pt x="42506" y="4067"/>
                    </a:lnTo>
                    <a:lnTo>
                      <a:pt x="42046" y="3739"/>
                    </a:lnTo>
                    <a:lnTo>
                      <a:pt x="41600" y="3425"/>
                    </a:lnTo>
                    <a:lnTo>
                      <a:pt x="41154" y="3136"/>
                    </a:lnTo>
                    <a:lnTo>
                      <a:pt x="40708" y="2860"/>
                    </a:lnTo>
                    <a:lnTo>
                      <a:pt x="40275" y="2598"/>
                    </a:lnTo>
                    <a:lnTo>
                      <a:pt x="39842" y="2362"/>
                    </a:lnTo>
                    <a:lnTo>
                      <a:pt x="39423" y="2139"/>
                    </a:lnTo>
                    <a:lnTo>
                      <a:pt x="38898" y="1877"/>
                    </a:lnTo>
                    <a:lnTo>
                      <a:pt x="38373" y="1627"/>
                    </a:lnTo>
                    <a:lnTo>
                      <a:pt x="37848" y="1404"/>
                    </a:lnTo>
                    <a:lnTo>
                      <a:pt x="37310" y="1194"/>
                    </a:lnTo>
                    <a:lnTo>
                      <a:pt x="36773" y="1011"/>
                    </a:lnTo>
                    <a:lnTo>
                      <a:pt x="36222" y="827"/>
                    </a:lnTo>
                    <a:lnTo>
                      <a:pt x="35671" y="670"/>
                    </a:lnTo>
                    <a:lnTo>
                      <a:pt x="35106" y="538"/>
                    </a:lnTo>
                    <a:lnTo>
                      <a:pt x="34555" y="407"/>
                    </a:lnTo>
                    <a:lnTo>
                      <a:pt x="33978" y="302"/>
                    </a:lnTo>
                    <a:lnTo>
                      <a:pt x="33414" y="210"/>
                    </a:lnTo>
                    <a:lnTo>
                      <a:pt x="32850" y="132"/>
                    </a:lnTo>
                    <a:lnTo>
                      <a:pt x="32273" y="79"/>
                    </a:lnTo>
                    <a:lnTo>
                      <a:pt x="31696" y="40"/>
                    </a:lnTo>
                    <a:lnTo>
                      <a:pt x="31118" y="14"/>
                    </a:lnTo>
                    <a:lnTo>
                      <a:pt x="3054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6" name="Google Shape;2436;p45"/>
              <p:cNvSpPr/>
              <p:nvPr/>
            </p:nvSpPr>
            <p:spPr>
              <a:xfrm>
                <a:off x="1737269" y="3217521"/>
                <a:ext cx="900498" cy="138484"/>
              </a:xfrm>
              <a:custGeom>
                <a:avLst/>
                <a:gdLst/>
                <a:ahLst/>
                <a:cxnLst/>
                <a:rect l="l" t="t" r="r" b="b"/>
                <a:pathLst>
                  <a:path w="50167" h="7715" extrusionOk="0">
                    <a:moveTo>
                      <a:pt x="5143" y="0"/>
                    </a:moveTo>
                    <a:lnTo>
                      <a:pt x="4880" y="26"/>
                    </a:lnTo>
                    <a:lnTo>
                      <a:pt x="4605" y="53"/>
                    </a:lnTo>
                    <a:lnTo>
                      <a:pt x="4329" y="105"/>
                    </a:lnTo>
                    <a:lnTo>
                      <a:pt x="4067" y="158"/>
                    </a:lnTo>
                    <a:lnTo>
                      <a:pt x="3805" y="223"/>
                    </a:lnTo>
                    <a:lnTo>
                      <a:pt x="3555" y="315"/>
                    </a:lnTo>
                    <a:lnTo>
                      <a:pt x="3306" y="407"/>
                    </a:lnTo>
                    <a:lnTo>
                      <a:pt x="3057" y="512"/>
                    </a:lnTo>
                    <a:lnTo>
                      <a:pt x="2821" y="630"/>
                    </a:lnTo>
                    <a:lnTo>
                      <a:pt x="2584" y="761"/>
                    </a:lnTo>
                    <a:lnTo>
                      <a:pt x="2361" y="905"/>
                    </a:lnTo>
                    <a:lnTo>
                      <a:pt x="2152" y="1050"/>
                    </a:lnTo>
                    <a:lnTo>
                      <a:pt x="1942" y="1207"/>
                    </a:lnTo>
                    <a:lnTo>
                      <a:pt x="1732" y="1378"/>
                    </a:lnTo>
                    <a:lnTo>
                      <a:pt x="1548" y="1561"/>
                    </a:lnTo>
                    <a:lnTo>
                      <a:pt x="1364" y="1758"/>
                    </a:lnTo>
                    <a:lnTo>
                      <a:pt x="1194" y="1955"/>
                    </a:lnTo>
                    <a:lnTo>
                      <a:pt x="1023" y="2152"/>
                    </a:lnTo>
                    <a:lnTo>
                      <a:pt x="866" y="2375"/>
                    </a:lnTo>
                    <a:lnTo>
                      <a:pt x="722" y="2598"/>
                    </a:lnTo>
                    <a:lnTo>
                      <a:pt x="590" y="2821"/>
                    </a:lnTo>
                    <a:lnTo>
                      <a:pt x="472" y="3070"/>
                    </a:lnTo>
                    <a:lnTo>
                      <a:pt x="367" y="3306"/>
                    </a:lnTo>
                    <a:lnTo>
                      <a:pt x="276" y="3555"/>
                    </a:lnTo>
                    <a:lnTo>
                      <a:pt x="197" y="3818"/>
                    </a:lnTo>
                    <a:lnTo>
                      <a:pt x="131" y="4080"/>
                    </a:lnTo>
                    <a:lnTo>
                      <a:pt x="66" y="4356"/>
                    </a:lnTo>
                    <a:lnTo>
                      <a:pt x="26" y="4631"/>
                    </a:lnTo>
                    <a:lnTo>
                      <a:pt x="0" y="4907"/>
                    </a:lnTo>
                    <a:lnTo>
                      <a:pt x="0" y="4999"/>
                    </a:lnTo>
                    <a:lnTo>
                      <a:pt x="0" y="5274"/>
                    </a:lnTo>
                    <a:lnTo>
                      <a:pt x="26" y="5536"/>
                    </a:lnTo>
                    <a:lnTo>
                      <a:pt x="92" y="5799"/>
                    </a:lnTo>
                    <a:lnTo>
                      <a:pt x="171" y="6048"/>
                    </a:lnTo>
                    <a:lnTo>
                      <a:pt x="276" y="6284"/>
                    </a:lnTo>
                    <a:lnTo>
                      <a:pt x="407" y="6507"/>
                    </a:lnTo>
                    <a:lnTo>
                      <a:pt x="564" y="6717"/>
                    </a:lnTo>
                    <a:lnTo>
                      <a:pt x="735" y="6914"/>
                    </a:lnTo>
                    <a:lnTo>
                      <a:pt x="932" y="7084"/>
                    </a:lnTo>
                    <a:lnTo>
                      <a:pt x="1128" y="7242"/>
                    </a:lnTo>
                    <a:lnTo>
                      <a:pt x="1351" y="7373"/>
                    </a:lnTo>
                    <a:lnTo>
                      <a:pt x="1587" y="7491"/>
                    </a:lnTo>
                    <a:lnTo>
                      <a:pt x="1837" y="7583"/>
                    </a:lnTo>
                    <a:lnTo>
                      <a:pt x="2099" y="7649"/>
                    </a:lnTo>
                    <a:lnTo>
                      <a:pt x="2361" y="7701"/>
                    </a:lnTo>
                    <a:lnTo>
                      <a:pt x="2637" y="7714"/>
                    </a:lnTo>
                    <a:lnTo>
                      <a:pt x="47530" y="7714"/>
                    </a:lnTo>
                    <a:lnTo>
                      <a:pt x="47806" y="7701"/>
                    </a:lnTo>
                    <a:lnTo>
                      <a:pt x="48068" y="7649"/>
                    </a:lnTo>
                    <a:lnTo>
                      <a:pt x="48330" y="7583"/>
                    </a:lnTo>
                    <a:lnTo>
                      <a:pt x="48580" y="7491"/>
                    </a:lnTo>
                    <a:lnTo>
                      <a:pt x="48816" y="7373"/>
                    </a:lnTo>
                    <a:lnTo>
                      <a:pt x="49039" y="7242"/>
                    </a:lnTo>
                    <a:lnTo>
                      <a:pt x="49236" y="7084"/>
                    </a:lnTo>
                    <a:lnTo>
                      <a:pt x="49432" y="6914"/>
                    </a:lnTo>
                    <a:lnTo>
                      <a:pt x="49603" y="6717"/>
                    </a:lnTo>
                    <a:lnTo>
                      <a:pt x="49747" y="6507"/>
                    </a:lnTo>
                    <a:lnTo>
                      <a:pt x="49878" y="6284"/>
                    </a:lnTo>
                    <a:lnTo>
                      <a:pt x="49996" y="6048"/>
                    </a:lnTo>
                    <a:lnTo>
                      <a:pt x="50075" y="5799"/>
                    </a:lnTo>
                    <a:lnTo>
                      <a:pt x="50128" y="5536"/>
                    </a:lnTo>
                    <a:lnTo>
                      <a:pt x="50167" y="5274"/>
                    </a:lnTo>
                    <a:lnTo>
                      <a:pt x="50167" y="4999"/>
                    </a:lnTo>
                    <a:lnTo>
                      <a:pt x="50167" y="4907"/>
                    </a:lnTo>
                    <a:lnTo>
                      <a:pt x="50141" y="4631"/>
                    </a:lnTo>
                    <a:lnTo>
                      <a:pt x="50101" y="4356"/>
                    </a:lnTo>
                    <a:lnTo>
                      <a:pt x="50036" y="4080"/>
                    </a:lnTo>
                    <a:lnTo>
                      <a:pt x="49970" y="3818"/>
                    </a:lnTo>
                    <a:lnTo>
                      <a:pt x="49891" y="3555"/>
                    </a:lnTo>
                    <a:lnTo>
                      <a:pt x="49800" y="3306"/>
                    </a:lnTo>
                    <a:lnTo>
                      <a:pt x="49695" y="3070"/>
                    </a:lnTo>
                    <a:lnTo>
                      <a:pt x="49563" y="2821"/>
                    </a:lnTo>
                    <a:lnTo>
                      <a:pt x="49432" y="2598"/>
                    </a:lnTo>
                    <a:lnTo>
                      <a:pt x="49301" y="2375"/>
                    </a:lnTo>
                    <a:lnTo>
                      <a:pt x="49144" y="2152"/>
                    </a:lnTo>
                    <a:lnTo>
                      <a:pt x="48973" y="1955"/>
                    </a:lnTo>
                    <a:lnTo>
                      <a:pt x="48803" y="1758"/>
                    </a:lnTo>
                    <a:lnTo>
                      <a:pt x="48619" y="1561"/>
                    </a:lnTo>
                    <a:lnTo>
                      <a:pt x="48422" y="1378"/>
                    </a:lnTo>
                    <a:lnTo>
                      <a:pt x="48225" y="1207"/>
                    </a:lnTo>
                    <a:lnTo>
                      <a:pt x="48015" y="1050"/>
                    </a:lnTo>
                    <a:lnTo>
                      <a:pt x="47806" y="905"/>
                    </a:lnTo>
                    <a:lnTo>
                      <a:pt x="47569" y="761"/>
                    </a:lnTo>
                    <a:lnTo>
                      <a:pt x="47346" y="630"/>
                    </a:lnTo>
                    <a:lnTo>
                      <a:pt x="47110" y="512"/>
                    </a:lnTo>
                    <a:lnTo>
                      <a:pt x="46861" y="407"/>
                    </a:lnTo>
                    <a:lnTo>
                      <a:pt x="46612" y="315"/>
                    </a:lnTo>
                    <a:lnTo>
                      <a:pt x="46362" y="223"/>
                    </a:lnTo>
                    <a:lnTo>
                      <a:pt x="46100" y="158"/>
                    </a:lnTo>
                    <a:lnTo>
                      <a:pt x="45838" y="105"/>
                    </a:lnTo>
                    <a:lnTo>
                      <a:pt x="45562" y="53"/>
                    </a:lnTo>
                    <a:lnTo>
                      <a:pt x="45287" y="26"/>
                    </a:lnTo>
                    <a:lnTo>
                      <a:pt x="45011" y="0"/>
                    </a:lnTo>
                    <a:lnTo>
                      <a:pt x="44736" y="0"/>
                    </a:lnTo>
                    <a:lnTo>
                      <a:pt x="44460" y="13"/>
                    </a:lnTo>
                    <a:lnTo>
                      <a:pt x="44172" y="26"/>
                    </a:lnTo>
                    <a:lnTo>
                      <a:pt x="38622" y="643"/>
                    </a:lnTo>
                    <a:lnTo>
                      <a:pt x="36943" y="827"/>
                    </a:lnTo>
                    <a:lnTo>
                      <a:pt x="35251" y="971"/>
                    </a:lnTo>
                    <a:lnTo>
                      <a:pt x="33558" y="1102"/>
                    </a:lnTo>
                    <a:lnTo>
                      <a:pt x="31866" y="1207"/>
                    </a:lnTo>
                    <a:lnTo>
                      <a:pt x="30174" y="1299"/>
                    </a:lnTo>
                    <a:lnTo>
                      <a:pt x="28468" y="1351"/>
                    </a:lnTo>
                    <a:lnTo>
                      <a:pt x="26776" y="1391"/>
                    </a:lnTo>
                    <a:lnTo>
                      <a:pt x="25084" y="1404"/>
                    </a:lnTo>
                    <a:lnTo>
                      <a:pt x="23391" y="1391"/>
                    </a:lnTo>
                    <a:lnTo>
                      <a:pt x="21686" y="1351"/>
                    </a:lnTo>
                    <a:lnTo>
                      <a:pt x="19993" y="1299"/>
                    </a:lnTo>
                    <a:lnTo>
                      <a:pt x="18301" y="1207"/>
                    </a:lnTo>
                    <a:lnTo>
                      <a:pt x="16609" y="1102"/>
                    </a:lnTo>
                    <a:lnTo>
                      <a:pt x="14916" y="971"/>
                    </a:lnTo>
                    <a:lnTo>
                      <a:pt x="13224" y="827"/>
                    </a:lnTo>
                    <a:lnTo>
                      <a:pt x="11545" y="643"/>
                    </a:lnTo>
                    <a:lnTo>
                      <a:pt x="5982" y="26"/>
                    </a:lnTo>
                    <a:lnTo>
                      <a:pt x="5707" y="13"/>
                    </a:lnTo>
                    <a:lnTo>
                      <a:pt x="543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7" name="Google Shape;2437;p45"/>
              <p:cNvSpPr/>
              <p:nvPr/>
            </p:nvSpPr>
            <p:spPr>
              <a:xfrm>
                <a:off x="1845813" y="2327380"/>
                <a:ext cx="683159" cy="855766"/>
              </a:xfrm>
              <a:custGeom>
                <a:avLst/>
                <a:gdLst/>
                <a:ahLst/>
                <a:cxnLst/>
                <a:rect l="l" t="t" r="r" b="b"/>
                <a:pathLst>
                  <a:path w="38059" h="47675" extrusionOk="0">
                    <a:moveTo>
                      <a:pt x="18958" y="0"/>
                    </a:moveTo>
                    <a:lnTo>
                      <a:pt x="18381" y="13"/>
                    </a:lnTo>
                    <a:lnTo>
                      <a:pt x="17790" y="40"/>
                    </a:lnTo>
                    <a:lnTo>
                      <a:pt x="17200" y="79"/>
                    </a:lnTo>
                    <a:lnTo>
                      <a:pt x="16610" y="158"/>
                    </a:lnTo>
                    <a:lnTo>
                      <a:pt x="16019" y="236"/>
                    </a:lnTo>
                    <a:lnTo>
                      <a:pt x="15429" y="341"/>
                    </a:lnTo>
                    <a:lnTo>
                      <a:pt x="14825" y="473"/>
                    </a:lnTo>
                    <a:lnTo>
                      <a:pt x="14235" y="617"/>
                    </a:lnTo>
                    <a:lnTo>
                      <a:pt x="13631" y="787"/>
                    </a:lnTo>
                    <a:lnTo>
                      <a:pt x="13185" y="932"/>
                    </a:lnTo>
                    <a:lnTo>
                      <a:pt x="12739" y="1076"/>
                    </a:lnTo>
                    <a:lnTo>
                      <a:pt x="12359" y="1207"/>
                    </a:lnTo>
                    <a:lnTo>
                      <a:pt x="11979" y="1352"/>
                    </a:lnTo>
                    <a:lnTo>
                      <a:pt x="11611" y="1509"/>
                    </a:lnTo>
                    <a:lnTo>
                      <a:pt x="11244" y="1653"/>
                    </a:lnTo>
                    <a:lnTo>
                      <a:pt x="10890" y="1824"/>
                    </a:lnTo>
                    <a:lnTo>
                      <a:pt x="10522" y="1994"/>
                    </a:lnTo>
                    <a:lnTo>
                      <a:pt x="10181" y="2178"/>
                    </a:lnTo>
                    <a:lnTo>
                      <a:pt x="9827" y="2362"/>
                    </a:lnTo>
                    <a:lnTo>
                      <a:pt x="9486" y="2559"/>
                    </a:lnTo>
                    <a:lnTo>
                      <a:pt x="9145" y="2755"/>
                    </a:lnTo>
                    <a:lnTo>
                      <a:pt x="8817" y="2952"/>
                    </a:lnTo>
                    <a:lnTo>
                      <a:pt x="8489" y="3175"/>
                    </a:lnTo>
                    <a:lnTo>
                      <a:pt x="8174" y="3385"/>
                    </a:lnTo>
                    <a:lnTo>
                      <a:pt x="7859" y="3608"/>
                    </a:lnTo>
                    <a:lnTo>
                      <a:pt x="7544" y="3844"/>
                    </a:lnTo>
                    <a:lnTo>
                      <a:pt x="7243" y="4080"/>
                    </a:lnTo>
                    <a:lnTo>
                      <a:pt x="6941" y="4330"/>
                    </a:lnTo>
                    <a:lnTo>
                      <a:pt x="6639" y="4579"/>
                    </a:lnTo>
                    <a:lnTo>
                      <a:pt x="6350" y="4828"/>
                    </a:lnTo>
                    <a:lnTo>
                      <a:pt x="6062" y="5090"/>
                    </a:lnTo>
                    <a:lnTo>
                      <a:pt x="5786" y="5353"/>
                    </a:lnTo>
                    <a:lnTo>
                      <a:pt x="5511" y="5628"/>
                    </a:lnTo>
                    <a:lnTo>
                      <a:pt x="4986" y="6192"/>
                    </a:lnTo>
                    <a:lnTo>
                      <a:pt x="4488" y="6770"/>
                    </a:lnTo>
                    <a:lnTo>
                      <a:pt x="4002" y="7373"/>
                    </a:lnTo>
                    <a:lnTo>
                      <a:pt x="3556" y="7990"/>
                    </a:lnTo>
                    <a:lnTo>
                      <a:pt x="3123" y="8619"/>
                    </a:lnTo>
                    <a:lnTo>
                      <a:pt x="2717" y="9275"/>
                    </a:lnTo>
                    <a:lnTo>
                      <a:pt x="2336" y="9945"/>
                    </a:lnTo>
                    <a:lnTo>
                      <a:pt x="1982" y="10627"/>
                    </a:lnTo>
                    <a:lnTo>
                      <a:pt x="1654" y="11322"/>
                    </a:lnTo>
                    <a:lnTo>
                      <a:pt x="1365" y="12044"/>
                    </a:lnTo>
                    <a:lnTo>
                      <a:pt x="1090" y="12765"/>
                    </a:lnTo>
                    <a:lnTo>
                      <a:pt x="854" y="13500"/>
                    </a:lnTo>
                    <a:lnTo>
                      <a:pt x="644" y="14248"/>
                    </a:lnTo>
                    <a:lnTo>
                      <a:pt x="460" y="15008"/>
                    </a:lnTo>
                    <a:lnTo>
                      <a:pt x="303" y="15769"/>
                    </a:lnTo>
                    <a:lnTo>
                      <a:pt x="237" y="16163"/>
                    </a:lnTo>
                    <a:lnTo>
                      <a:pt x="185" y="16543"/>
                    </a:lnTo>
                    <a:lnTo>
                      <a:pt x="132" y="16937"/>
                    </a:lnTo>
                    <a:lnTo>
                      <a:pt x="93" y="17331"/>
                    </a:lnTo>
                    <a:lnTo>
                      <a:pt x="53" y="17724"/>
                    </a:lnTo>
                    <a:lnTo>
                      <a:pt x="27" y="18118"/>
                    </a:lnTo>
                    <a:lnTo>
                      <a:pt x="14" y="18511"/>
                    </a:lnTo>
                    <a:lnTo>
                      <a:pt x="1" y="18918"/>
                    </a:lnTo>
                    <a:lnTo>
                      <a:pt x="1" y="19311"/>
                    </a:lnTo>
                    <a:lnTo>
                      <a:pt x="14" y="19718"/>
                    </a:lnTo>
                    <a:lnTo>
                      <a:pt x="27" y="20112"/>
                    </a:lnTo>
                    <a:lnTo>
                      <a:pt x="53" y="20518"/>
                    </a:lnTo>
                    <a:lnTo>
                      <a:pt x="906" y="33060"/>
                    </a:lnTo>
                    <a:lnTo>
                      <a:pt x="932" y="33493"/>
                    </a:lnTo>
                    <a:lnTo>
                      <a:pt x="985" y="33939"/>
                    </a:lnTo>
                    <a:lnTo>
                      <a:pt x="1037" y="34372"/>
                    </a:lnTo>
                    <a:lnTo>
                      <a:pt x="1103" y="34792"/>
                    </a:lnTo>
                    <a:lnTo>
                      <a:pt x="1182" y="35212"/>
                    </a:lnTo>
                    <a:lnTo>
                      <a:pt x="1273" y="35618"/>
                    </a:lnTo>
                    <a:lnTo>
                      <a:pt x="1365" y="36025"/>
                    </a:lnTo>
                    <a:lnTo>
                      <a:pt x="1470" y="36419"/>
                    </a:lnTo>
                    <a:lnTo>
                      <a:pt x="1588" y="36812"/>
                    </a:lnTo>
                    <a:lnTo>
                      <a:pt x="1719" y="37193"/>
                    </a:lnTo>
                    <a:lnTo>
                      <a:pt x="1851" y="37573"/>
                    </a:lnTo>
                    <a:lnTo>
                      <a:pt x="1995" y="37940"/>
                    </a:lnTo>
                    <a:lnTo>
                      <a:pt x="2152" y="38308"/>
                    </a:lnTo>
                    <a:lnTo>
                      <a:pt x="2310" y="38662"/>
                    </a:lnTo>
                    <a:lnTo>
                      <a:pt x="2480" y="39016"/>
                    </a:lnTo>
                    <a:lnTo>
                      <a:pt x="2664" y="39357"/>
                    </a:lnTo>
                    <a:lnTo>
                      <a:pt x="2861" y="39698"/>
                    </a:lnTo>
                    <a:lnTo>
                      <a:pt x="3058" y="40026"/>
                    </a:lnTo>
                    <a:lnTo>
                      <a:pt x="3254" y="40354"/>
                    </a:lnTo>
                    <a:lnTo>
                      <a:pt x="3477" y="40669"/>
                    </a:lnTo>
                    <a:lnTo>
                      <a:pt x="3687" y="40984"/>
                    </a:lnTo>
                    <a:lnTo>
                      <a:pt x="3923" y="41286"/>
                    </a:lnTo>
                    <a:lnTo>
                      <a:pt x="4160" y="41588"/>
                    </a:lnTo>
                    <a:lnTo>
                      <a:pt x="4409" y="41876"/>
                    </a:lnTo>
                    <a:lnTo>
                      <a:pt x="4724" y="42230"/>
                    </a:lnTo>
                    <a:lnTo>
                      <a:pt x="5052" y="42571"/>
                    </a:lnTo>
                    <a:lnTo>
                      <a:pt x="5393" y="42899"/>
                    </a:lnTo>
                    <a:lnTo>
                      <a:pt x="5747" y="43214"/>
                    </a:lnTo>
                    <a:lnTo>
                      <a:pt x="6101" y="43529"/>
                    </a:lnTo>
                    <a:lnTo>
                      <a:pt x="6482" y="43831"/>
                    </a:lnTo>
                    <a:lnTo>
                      <a:pt x="6862" y="44120"/>
                    </a:lnTo>
                    <a:lnTo>
                      <a:pt x="7256" y="44395"/>
                    </a:lnTo>
                    <a:lnTo>
                      <a:pt x="7649" y="44657"/>
                    </a:lnTo>
                    <a:lnTo>
                      <a:pt x="8069" y="44907"/>
                    </a:lnTo>
                    <a:lnTo>
                      <a:pt x="8489" y="45156"/>
                    </a:lnTo>
                    <a:lnTo>
                      <a:pt x="8922" y="45392"/>
                    </a:lnTo>
                    <a:lnTo>
                      <a:pt x="9355" y="45615"/>
                    </a:lnTo>
                    <a:lnTo>
                      <a:pt x="9801" y="45825"/>
                    </a:lnTo>
                    <a:lnTo>
                      <a:pt x="10260" y="46022"/>
                    </a:lnTo>
                    <a:lnTo>
                      <a:pt x="10719" y="46205"/>
                    </a:lnTo>
                    <a:lnTo>
                      <a:pt x="11191" y="46389"/>
                    </a:lnTo>
                    <a:lnTo>
                      <a:pt x="11677" y="46547"/>
                    </a:lnTo>
                    <a:lnTo>
                      <a:pt x="12162" y="46704"/>
                    </a:lnTo>
                    <a:lnTo>
                      <a:pt x="12661" y="46848"/>
                    </a:lnTo>
                    <a:lnTo>
                      <a:pt x="13159" y="46979"/>
                    </a:lnTo>
                    <a:lnTo>
                      <a:pt x="13658" y="47098"/>
                    </a:lnTo>
                    <a:lnTo>
                      <a:pt x="14182" y="47216"/>
                    </a:lnTo>
                    <a:lnTo>
                      <a:pt x="14694" y="47307"/>
                    </a:lnTo>
                    <a:lnTo>
                      <a:pt x="15219" y="47399"/>
                    </a:lnTo>
                    <a:lnTo>
                      <a:pt x="15757" y="47465"/>
                    </a:lnTo>
                    <a:lnTo>
                      <a:pt x="16282" y="47530"/>
                    </a:lnTo>
                    <a:lnTo>
                      <a:pt x="16833" y="47583"/>
                    </a:lnTo>
                    <a:lnTo>
                      <a:pt x="17370" y="47622"/>
                    </a:lnTo>
                    <a:lnTo>
                      <a:pt x="17921" y="47662"/>
                    </a:lnTo>
                    <a:lnTo>
                      <a:pt x="18472" y="47675"/>
                    </a:lnTo>
                    <a:lnTo>
                      <a:pt x="19037" y="47675"/>
                    </a:lnTo>
                    <a:lnTo>
                      <a:pt x="19929" y="47662"/>
                    </a:lnTo>
                    <a:lnTo>
                      <a:pt x="20808" y="47622"/>
                    </a:lnTo>
                    <a:lnTo>
                      <a:pt x="21673" y="47544"/>
                    </a:lnTo>
                    <a:lnTo>
                      <a:pt x="22526" y="47439"/>
                    </a:lnTo>
                    <a:lnTo>
                      <a:pt x="23379" y="47307"/>
                    </a:lnTo>
                    <a:lnTo>
                      <a:pt x="23786" y="47229"/>
                    </a:lnTo>
                    <a:lnTo>
                      <a:pt x="24205" y="47150"/>
                    </a:lnTo>
                    <a:lnTo>
                      <a:pt x="24612" y="47058"/>
                    </a:lnTo>
                    <a:lnTo>
                      <a:pt x="25019" y="46953"/>
                    </a:lnTo>
                    <a:lnTo>
                      <a:pt x="25412" y="46848"/>
                    </a:lnTo>
                    <a:lnTo>
                      <a:pt x="25806" y="46730"/>
                    </a:lnTo>
                    <a:lnTo>
                      <a:pt x="26199" y="46612"/>
                    </a:lnTo>
                    <a:lnTo>
                      <a:pt x="26593" y="46481"/>
                    </a:lnTo>
                    <a:lnTo>
                      <a:pt x="26973" y="46350"/>
                    </a:lnTo>
                    <a:lnTo>
                      <a:pt x="27341" y="46205"/>
                    </a:lnTo>
                    <a:lnTo>
                      <a:pt x="27721" y="46061"/>
                    </a:lnTo>
                    <a:lnTo>
                      <a:pt x="28089" y="45904"/>
                    </a:lnTo>
                    <a:lnTo>
                      <a:pt x="28443" y="45733"/>
                    </a:lnTo>
                    <a:lnTo>
                      <a:pt x="28797" y="45563"/>
                    </a:lnTo>
                    <a:lnTo>
                      <a:pt x="29151" y="45392"/>
                    </a:lnTo>
                    <a:lnTo>
                      <a:pt x="29492" y="45208"/>
                    </a:lnTo>
                    <a:lnTo>
                      <a:pt x="29833" y="45012"/>
                    </a:lnTo>
                    <a:lnTo>
                      <a:pt x="30175" y="44815"/>
                    </a:lnTo>
                    <a:lnTo>
                      <a:pt x="30502" y="44605"/>
                    </a:lnTo>
                    <a:lnTo>
                      <a:pt x="30817" y="44395"/>
                    </a:lnTo>
                    <a:lnTo>
                      <a:pt x="31132" y="44172"/>
                    </a:lnTo>
                    <a:lnTo>
                      <a:pt x="31447" y="43949"/>
                    </a:lnTo>
                    <a:lnTo>
                      <a:pt x="31749" y="43713"/>
                    </a:lnTo>
                    <a:lnTo>
                      <a:pt x="32037" y="43464"/>
                    </a:lnTo>
                    <a:lnTo>
                      <a:pt x="32326" y="43214"/>
                    </a:lnTo>
                    <a:lnTo>
                      <a:pt x="32615" y="42965"/>
                    </a:lnTo>
                    <a:lnTo>
                      <a:pt x="32890" y="42703"/>
                    </a:lnTo>
                    <a:lnTo>
                      <a:pt x="33153" y="42427"/>
                    </a:lnTo>
                    <a:lnTo>
                      <a:pt x="33415" y="42152"/>
                    </a:lnTo>
                    <a:lnTo>
                      <a:pt x="33664" y="41876"/>
                    </a:lnTo>
                    <a:lnTo>
                      <a:pt x="33913" y="41588"/>
                    </a:lnTo>
                    <a:lnTo>
                      <a:pt x="34150" y="41286"/>
                    </a:lnTo>
                    <a:lnTo>
                      <a:pt x="34373" y="40984"/>
                    </a:lnTo>
                    <a:lnTo>
                      <a:pt x="34596" y="40669"/>
                    </a:lnTo>
                    <a:lnTo>
                      <a:pt x="34819" y="40354"/>
                    </a:lnTo>
                    <a:lnTo>
                      <a:pt x="35015" y="40026"/>
                    </a:lnTo>
                    <a:lnTo>
                      <a:pt x="35212" y="39698"/>
                    </a:lnTo>
                    <a:lnTo>
                      <a:pt x="35409" y="39357"/>
                    </a:lnTo>
                    <a:lnTo>
                      <a:pt x="35580" y="39016"/>
                    </a:lnTo>
                    <a:lnTo>
                      <a:pt x="35763" y="38662"/>
                    </a:lnTo>
                    <a:lnTo>
                      <a:pt x="35921" y="38308"/>
                    </a:lnTo>
                    <a:lnTo>
                      <a:pt x="36078" y="37940"/>
                    </a:lnTo>
                    <a:lnTo>
                      <a:pt x="36222" y="37573"/>
                    </a:lnTo>
                    <a:lnTo>
                      <a:pt x="36354" y="37193"/>
                    </a:lnTo>
                    <a:lnTo>
                      <a:pt x="36485" y="36812"/>
                    </a:lnTo>
                    <a:lnTo>
                      <a:pt x="36590" y="36419"/>
                    </a:lnTo>
                    <a:lnTo>
                      <a:pt x="36708" y="36025"/>
                    </a:lnTo>
                    <a:lnTo>
                      <a:pt x="36800" y="35618"/>
                    </a:lnTo>
                    <a:lnTo>
                      <a:pt x="36891" y="35212"/>
                    </a:lnTo>
                    <a:lnTo>
                      <a:pt x="36970" y="34792"/>
                    </a:lnTo>
                    <a:lnTo>
                      <a:pt x="37036" y="34372"/>
                    </a:lnTo>
                    <a:lnTo>
                      <a:pt x="37088" y="33939"/>
                    </a:lnTo>
                    <a:lnTo>
                      <a:pt x="37128" y="33493"/>
                    </a:lnTo>
                    <a:lnTo>
                      <a:pt x="37167" y="33060"/>
                    </a:lnTo>
                    <a:lnTo>
                      <a:pt x="37062" y="33349"/>
                    </a:lnTo>
                    <a:lnTo>
                      <a:pt x="36931" y="33690"/>
                    </a:lnTo>
                    <a:lnTo>
                      <a:pt x="36747" y="34136"/>
                    </a:lnTo>
                    <a:lnTo>
                      <a:pt x="36852" y="33703"/>
                    </a:lnTo>
                    <a:lnTo>
                      <a:pt x="36957" y="33270"/>
                    </a:lnTo>
                    <a:lnTo>
                      <a:pt x="37049" y="32837"/>
                    </a:lnTo>
                    <a:lnTo>
                      <a:pt x="37128" y="32391"/>
                    </a:lnTo>
                    <a:lnTo>
                      <a:pt x="37193" y="31945"/>
                    </a:lnTo>
                    <a:lnTo>
                      <a:pt x="37259" y="31499"/>
                    </a:lnTo>
                    <a:lnTo>
                      <a:pt x="37298" y="31040"/>
                    </a:lnTo>
                    <a:lnTo>
                      <a:pt x="37337" y="30581"/>
                    </a:lnTo>
                    <a:lnTo>
                      <a:pt x="38020" y="20676"/>
                    </a:lnTo>
                    <a:lnTo>
                      <a:pt x="38046" y="20046"/>
                    </a:lnTo>
                    <a:lnTo>
                      <a:pt x="38059" y="19430"/>
                    </a:lnTo>
                    <a:lnTo>
                      <a:pt x="38059" y="18826"/>
                    </a:lnTo>
                    <a:lnTo>
                      <a:pt x="38033" y="18223"/>
                    </a:lnTo>
                    <a:lnTo>
                      <a:pt x="37980" y="17619"/>
                    </a:lnTo>
                    <a:lnTo>
                      <a:pt x="37928" y="17029"/>
                    </a:lnTo>
                    <a:lnTo>
                      <a:pt x="37849" y="16438"/>
                    </a:lnTo>
                    <a:lnTo>
                      <a:pt x="37744" y="15848"/>
                    </a:lnTo>
                    <a:lnTo>
                      <a:pt x="37639" y="15271"/>
                    </a:lnTo>
                    <a:lnTo>
                      <a:pt x="37508" y="14707"/>
                    </a:lnTo>
                    <a:lnTo>
                      <a:pt x="37351" y="14143"/>
                    </a:lnTo>
                    <a:lnTo>
                      <a:pt x="37193" y="13592"/>
                    </a:lnTo>
                    <a:lnTo>
                      <a:pt x="37009" y="13041"/>
                    </a:lnTo>
                    <a:lnTo>
                      <a:pt x="36813" y="12490"/>
                    </a:lnTo>
                    <a:lnTo>
                      <a:pt x="36603" y="11965"/>
                    </a:lnTo>
                    <a:lnTo>
                      <a:pt x="36380" y="11440"/>
                    </a:lnTo>
                    <a:lnTo>
                      <a:pt x="36131" y="10915"/>
                    </a:lnTo>
                    <a:lnTo>
                      <a:pt x="35881" y="10404"/>
                    </a:lnTo>
                    <a:lnTo>
                      <a:pt x="35606" y="9905"/>
                    </a:lnTo>
                    <a:lnTo>
                      <a:pt x="35330" y="9420"/>
                    </a:lnTo>
                    <a:lnTo>
                      <a:pt x="35029" y="8934"/>
                    </a:lnTo>
                    <a:lnTo>
                      <a:pt x="34714" y="8462"/>
                    </a:lnTo>
                    <a:lnTo>
                      <a:pt x="34399" y="8003"/>
                    </a:lnTo>
                    <a:lnTo>
                      <a:pt x="34058" y="7557"/>
                    </a:lnTo>
                    <a:lnTo>
                      <a:pt x="33704" y="7111"/>
                    </a:lnTo>
                    <a:lnTo>
                      <a:pt x="33349" y="6678"/>
                    </a:lnTo>
                    <a:lnTo>
                      <a:pt x="32969" y="6258"/>
                    </a:lnTo>
                    <a:lnTo>
                      <a:pt x="32588" y="5851"/>
                    </a:lnTo>
                    <a:lnTo>
                      <a:pt x="32195" y="5458"/>
                    </a:lnTo>
                    <a:lnTo>
                      <a:pt x="31788" y="5064"/>
                    </a:lnTo>
                    <a:lnTo>
                      <a:pt x="31368" y="4697"/>
                    </a:lnTo>
                    <a:lnTo>
                      <a:pt x="30935" y="4330"/>
                    </a:lnTo>
                    <a:lnTo>
                      <a:pt x="30502" y="3988"/>
                    </a:lnTo>
                    <a:lnTo>
                      <a:pt x="30056" y="3647"/>
                    </a:lnTo>
                    <a:lnTo>
                      <a:pt x="29597" y="3319"/>
                    </a:lnTo>
                    <a:lnTo>
                      <a:pt x="29138" y="3018"/>
                    </a:lnTo>
                    <a:lnTo>
                      <a:pt x="28653" y="2716"/>
                    </a:lnTo>
                    <a:lnTo>
                      <a:pt x="28180" y="2440"/>
                    </a:lnTo>
                    <a:lnTo>
                      <a:pt x="27682" y="2165"/>
                    </a:lnTo>
                    <a:lnTo>
                      <a:pt x="27183" y="1916"/>
                    </a:lnTo>
                    <a:lnTo>
                      <a:pt x="26685" y="1680"/>
                    </a:lnTo>
                    <a:lnTo>
                      <a:pt x="26160" y="1443"/>
                    </a:lnTo>
                    <a:lnTo>
                      <a:pt x="25648" y="1233"/>
                    </a:lnTo>
                    <a:lnTo>
                      <a:pt x="25111" y="1050"/>
                    </a:lnTo>
                    <a:lnTo>
                      <a:pt x="24586" y="866"/>
                    </a:lnTo>
                    <a:lnTo>
                      <a:pt x="24048" y="709"/>
                    </a:lnTo>
                    <a:lnTo>
                      <a:pt x="23497" y="551"/>
                    </a:lnTo>
                    <a:lnTo>
                      <a:pt x="22946" y="433"/>
                    </a:lnTo>
                    <a:lnTo>
                      <a:pt x="22395" y="315"/>
                    </a:lnTo>
                    <a:lnTo>
                      <a:pt x="21831" y="223"/>
                    </a:lnTo>
                    <a:lnTo>
                      <a:pt x="21267" y="145"/>
                    </a:lnTo>
                    <a:lnTo>
                      <a:pt x="20689" y="79"/>
                    </a:lnTo>
                    <a:lnTo>
                      <a:pt x="20125" y="27"/>
                    </a:lnTo>
                    <a:lnTo>
                      <a:pt x="19548"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8" name="Google Shape;2438;p45"/>
              <p:cNvSpPr/>
              <p:nvPr/>
            </p:nvSpPr>
            <p:spPr>
              <a:xfrm>
                <a:off x="2064354" y="2534129"/>
                <a:ext cx="246328" cy="126942"/>
              </a:xfrm>
              <a:custGeom>
                <a:avLst/>
                <a:gdLst/>
                <a:ahLst/>
                <a:cxnLst/>
                <a:rect l="l" t="t" r="r" b="b"/>
                <a:pathLst>
                  <a:path w="13723" h="7072" extrusionOk="0">
                    <a:moveTo>
                      <a:pt x="3346" y="1"/>
                    </a:moveTo>
                    <a:lnTo>
                      <a:pt x="3175" y="14"/>
                    </a:lnTo>
                    <a:lnTo>
                      <a:pt x="2991" y="40"/>
                    </a:lnTo>
                    <a:lnTo>
                      <a:pt x="2821" y="66"/>
                    </a:lnTo>
                    <a:lnTo>
                      <a:pt x="2650" y="106"/>
                    </a:lnTo>
                    <a:lnTo>
                      <a:pt x="2480" y="158"/>
                    </a:lnTo>
                    <a:lnTo>
                      <a:pt x="2322" y="211"/>
                    </a:lnTo>
                    <a:lnTo>
                      <a:pt x="2152" y="276"/>
                    </a:lnTo>
                    <a:lnTo>
                      <a:pt x="2007" y="342"/>
                    </a:lnTo>
                    <a:lnTo>
                      <a:pt x="1850" y="421"/>
                    </a:lnTo>
                    <a:lnTo>
                      <a:pt x="1706" y="512"/>
                    </a:lnTo>
                    <a:lnTo>
                      <a:pt x="1561" y="604"/>
                    </a:lnTo>
                    <a:lnTo>
                      <a:pt x="1417" y="696"/>
                    </a:lnTo>
                    <a:lnTo>
                      <a:pt x="1286" y="801"/>
                    </a:lnTo>
                    <a:lnTo>
                      <a:pt x="1155" y="919"/>
                    </a:lnTo>
                    <a:lnTo>
                      <a:pt x="1037" y="1037"/>
                    </a:lnTo>
                    <a:lnTo>
                      <a:pt x="919" y="1155"/>
                    </a:lnTo>
                    <a:lnTo>
                      <a:pt x="801" y="1286"/>
                    </a:lnTo>
                    <a:lnTo>
                      <a:pt x="696" y="1418"/>
                    </a:lnTo>
                    <a:lnTo>
                      <a:pt x="604" y="1562"/>
                    </a:lnTo>
                    <a:lnTo>
                      <a:pt x="512" y="1706"/>
                    </a:lnTo>
                    <a:lnTo>
                      <a:pt x="420" y="1851"/>
                    </a:lnTo>
                    <a:lnTo>
                      <a:pt x="341" y="1995"/>
                    </a:lnTo>
                    <a:lnTo>
                      <a:pt x="276" y="2152"/>
                    </a:lnTo>
                    <a:lnTo>
                      <a:pt x="210" y="2323"/>
                    </a:lnTo>
                    <a:lnTo>
                      <a:pt x="158" y="2480"/>
                    </a:lnTo>
                    <a:lnTo>
                      <a:pt x="105" y="2651"/>
                    </a:lnTo>
                    <a:lnTo>
                      <a:pt x="66" y="2821"/>
                    </a:lnTo>
                    <a:lnTo>
                      <a:pt x="40" y="2992"/>
                    </a:lnTo>
                    <a:lnTo>
                      <a:pt x="13" y="3176"/>
                    </a:lnTo>
                    <a:lnTo>
                      <a:pt x="0" y="3346"/>
                    </a:lnTo>
                    <a:lnTo>
                      <a:pt x="0" y="3530"/>
                    </a:lnTo>
                    <a:lnTo>
                      <a:pt x="0" y="3713"/>
                    </a:lnTo>
                    <a:lnTo>
                      <a:pt x="13" y="3897"/>
                    </a:lnTo>
                    <a:lnTo>
                      <a:pt x="40" y="4068"/>
                    </a:lnTo>
                    <a:lnTo>
                      <a:pt x="66" y="4251"/>
                    </a:lnTo>
                    <a:lnTo>
                      <a:pt x="105" y="4422"/>
                    </a:lnTo>
                    <a:lnTo>
                      <a:pt x="158" y="4579"/>
                    </a:lnTo>
                    <a:lnTo>
                      <a:pt x="210" y="4750"/>
                    </a:lnTo>
                    <a:lnTo>
                      <a:pt x="276" y="4907"/>
                    </a:lnTo>
                    <a:lnTo>
                      <a:pt x="341" y="5065"/>
                    </a:lnTo>
                    <a:lnTo>
                      <a:pt x="420" y="5222"/>
                    </a:lnTo>
                    <a:lnTo>
                      <a:pt x="512" y="5366"/>
                    </a:lnTo>
                    <a:lnTo>
                      <a:pt x="604" y="5511"/>
                    </a:lnTo>
                    <a:lnTo>
                      <a:pt x="696" y="5655"/>
                    </a:lnTo>
                    <a:lnTo>
                      <a:pt x="801" y="5786"/>
                    </a:lnTo>
                    <a:lnTo>
                      <a:pt x="919" y="5904"/>
                    </a:lnTo>
                    <a:lnTo>
                      <a:pt x="1037" y="6036"/>
                    </a:lnTo>
                    <a:lnTo>
                      <a:pt x="1155" y="6154"/>
                    </a:lnTo>
                    <a:lnTo>
                      <a:pt x="1286" y="6259"/>
                    </a:lnTo>
                    <a:lnTo>
                      <a:pt x="1417" y="6364"/>
                    </a:lnTo>
                    <a:lnTo>
                      <a:pt x="1561" y="6468"/>
                    </a:lnTo>
                    <a:lnTo>
                      <a:pt x="1706" y="6560"/>
                    </a:lnTo>
                    <a:lnTo>
                      <a:pt x="1850" y="6639"/>
                    </a:lnTo>
                    <a:lnTo>
                      <a:pt x="2007" y="6718"/>
                    </a:lnTo>
                    <a:lnTo>
                      <a:pt x="2152" y="6796"/>
                    </a:lnTo>
                    <a:lnTo>
                      <a:pt x="2322" y="6849"/>
                    </a:lnTo>
                    <a:lnTo>
                      <a:pt x="2480" y="6915"/>
                    </a:lnTo>
                    <a:lnTo>
                      <a:pt x="2650" y="6954"/>
                    </a:lnTo>
                    <a:lnTo>
                      <a:pt x="2821" y="6993"/>
                    </a:lnTo>
                    <a:lnTo>
                      <a:pt x="2991" y="7033"/>
                    </a:lnTo>
                    <a:lnTo>
                      <a:pt x="3175" y="7046"/>
                    </a:lnTo>
                    <a:lnTo>
                      <a:pt x="3346" y="7059"/>
                    </a:lnTo>
                    <a:lnTo>
                      <a:pt x="3529" y="7072"/>
                    </a:lnTo>
                    <a:lnTo>
                      <a:pt x="10194" y="7072"/>
                    </a:lnTo>
                    <a:lnTo>
                      <a:pt x="10364" y="7059"/>
                    </a:lnTo>
                    <a:lnTo>
                      <a:pt x="10548" y="7046"/>
                    </a:lnTo>
                    <a:lnTo>
                      <a:pt x="10732" y="7033"/>
                    </a:lnTo>
                    <a:lnTo>
                      <a:pt x="10902" y="6993"/>
                    </a:lnTo>
                    <a:lnTo>
                      <a:pt x="11073" y="6954"/>
                    </a:lnTo>
                    <a:lnTo>
                      <a:pt x="11243" y="6915"/>
                    </a:lnTo>
                    <a:lnTo>
                      <a:pt x="11401" y="6849"/>
                    </a:lnTo>
                    <a:lnTo>
                      <a:pt x="11558" y="6796"/>
                    </a:lnTo>
                    <a:lnTo>
                      <a:pt x="11716" y="6718"/>
                    </a:lnTo>
                    <a:lnTo>
                      <a:pt x="11873" y="6639"/>
                    </a:lnTo>
                    <a:lnTo>
                      <a:pt x="12017" y="6560"/>
                    </a:lnTo>
                    <a:lnTo>
                      <a:pt x="12162" y="6468"/>
                    </a:lnTo>
                    <a:lnTo>
                      <a:pt x="12306" y="6364"/>
                    </a:lnTo>
                    <a:lnTo>
                      <a:pt x="12437" y="6259"/>
                    </a:lnTo>
                    <a:lnTo>
                      <a:pt x="12568" y="6154"/>
                    </a:lnTo>
                    <a:lnTo>
                      <a:pt x="12686" y="6036"/>
                    </a:lnTo>
                    <a:lnTo>
                      <a:pt x="12804" y="5904"/>
                    </a:lnTo>
                    <a:lnTo>
                      <a:pt x="12909" y="5786"/>
                    </a:lnTo>
                    <a:lnTo>
                      <a:pt x="13014" y="5655"/>
                    </a:lnTo>
                    <a:lnTo>
                      <a:pt x="13119" y="5511"/>
                    </a:lnTo>
                    <a:lnTo>
                      <a:pt x="13211" y="5366"/>
                    </a:lnTo>
                    <a:lnTo>
                      <a:pt x="13290" y="5222"/>
                    </a:lnTo>
                    <a:lnTo>
                      <a:pt x="13369" y="5065"/>
                    </a:lnTo>
                    <a:lnTo>
                      <a:pt x="13447" y="4907"/>
                    </a:lnTo>
                    <a:lnTo>
                      <a:pt x="13513" y="4750"/>
                    </a:lnTo>
                    <a:lnTo>
                      <a:pt x="13565" y="4579"/>
                    </a:lnTo>
                    <a:lnTo>
                      <a:pt x="13618" y="4422"/>
                    </a:lnTo>
                    <a:lnTo>
                      <a:pt x="13657" y="4251"/>
                    </a:lnTo>
                    <a:lnTo>
                      <a:pt x="13683" y="4068"/>
                    </a:lnTo>
                    <a:lnTo>
                      <a:pt x="13710" y="3897"/>
                    </a:lnTo>
                    <a:lnTo>
                      <a:pt x="13723" y="3713"/>
                    </a:lnTo>
                    <a:lnTo>
                      <a:pt x="13723" y="3530"/>
                    </a:lnTo>
                    <a:lnTo>
                      <a:pt x="13723" y="3346"/>
                    </a:lnTo>
                    <a:lnTo>
                      <a:pt x="13710" y="3176"/>
                    </a:lnTo>
                    <a:lnTo>
                      <a:pt x="13683" y="2992"/>
                    </a:lnTo>
                    <a:lnTo>
                      <a:pt x="13657" y="2821"/>
                    </a:lnTo>
                    <a:lnTo>
                      <a:pt x="13618" y="2651"/>
                    </a:lnTo>
                    <a:lnTo>
                      <a:pt x="13565" y="2480"/>
                    </a:lnTo>
                    <a:lnTo>
                      <a:pt x="13513" y="2323"/>
                    </a:lnTo>
                    <a:lnTo>
                      <a:pt x="13447" y="2152"/>
                    </a:lnTo>
                    <a:lnTo>
                      <a:pt x="13369" y="1995"/>
                    </a:lnTo>
                    <a:lnTo>
                      <a:pt x="13290" y="1851"/>
                    </a:lnTo>
                    <a:lnTo>
                      <a:pt x="13211" y="1706"/>
                    </a:lnTo>
                    <a:lnTo>
                      <a:pt x="13119" y="1562"/>
                    </a:lnTo>
                    <a:lnTo>
                      <a:pt x="13014" y="1418"/>
                    </a:lnTo>
                    <a:lnTo>
                      <a:pt x="12909" y="1286"/>
                    </a:lnTo>
                    <a:lnTo>
                      <a:pt x="12804" y="1155"/>
                    </a:lnTo>
                    <a:lnTo>
                      <a:pt x="12686" y="1037"/>
                    </a:lnTo>
                    <a:lnTo>
                      <a:pt x="12568" y="919"/>
                    </a:lnTo>
                    <a:lnTo>
                      <a:pt x="12437" y="801"/>
                    </a:lnTo>
                    <a:lnTo>
                      <a:pt x="12306" y="696"/>
                    </a:lnTo>
                    <a:lnTo>
                      <a:pt x="12162" y="604"/>
                    </a:lnTo>
                    <a:lnTo>
                      <a:pt x="12017" y="512"/>
                    </a:lnTo>
                    <a:lnTo>
                      <a:pt x="11873" y="421"/>
                    </a:lnTo>
                    <a:lnTo>
                      <a:pt x="11716" y="342"/>
                    </a:lnTo>
                    <a:lnTo>
                      <a:pt x="11558" y="276"/>
                    </a:lnTo>
                    <a:lnTo>
                      <a:pt x="11401" y="211"/>
                    </a:lnTo>
                    <a:lnTo>
                      <a:pt x="11243" y="158"/>
                    </a:lnTo>
                    <a:lnTo>
                      <a:pt x="11073" y="106"/>
                    </a:lnTo>
                    <a:lnTo>
                      <a:pt x="10902" y="66"/>
                    </a:lnTo>
                    <a:lnTo>
                      <a:pt x="10732" y="40"/>
                    </a:lnTo>
                    <a:lnTo>
                      <a:pt x="10548" y="14"/>
                    </a:lnTo>
                    <a:lnTo>
                      <a:pt x="1036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9" name="Google Shape;2439;p45"/>
              <p:cNvSpPr/>
              <p:nvPr/>
            </p:nvSpPr>
            <p:spPr>
              <a:xfrm>
                <a:off x="2165143" y="3497038"/>
                <a:ext cx="44749" cy="533869"/>
              </a:xfrm>
              <a:custGeom>
                <a:avLst/>
                <a:gdLst/>
                <a:ahLst/>
                <a:cxnLst/>
                <a:rect l="l" t="t" r="r" b="b"/>
                <a:pathLst>
                  <a:path w="2493" h="29742" extrusionOk="0">
                    <a:moveTo>
                      <a:pt x="0" y="0"/>
                    </a:moveTo>
                    <a:lnTo>
                      <a:pt x="0" y="29741"/>
                    </a:lnTo>
                    <a:lnTo>
                      <a:pt x="2493" y="29741"/>
                    </a:lnTo>
                    <a:lnTo>
                      <a:pt x="24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0" name="Google Shape;2440;p45"/>
              <p:cNvSpPr/>
              <p:nvPr/>
            </p:nvSpPr>
            <p:spPr>
              <a:xfrm>
                <a:off x="2131469" y="2564033"/>
                <a:ext cx="112098" cy="955389"/>
              </a:xfrm>
              <a:custGeom>
                <a:avLst/>
                <a:gdLst/>
                <a:ahLst/>
                <a:cxnLst/>
                <a:rect l="l" t="t" r="r" b="b"/>
                <a:pathLst>
                  <a:path w="6245" h="53225" extrusionOk="0">
                    <a:moveTo>
                      <a:pt x="1023" y="1"/>
                    </a:moveTo>
                    <a:lnTo>
                      <a:pt x="905" y="14"/>
                    </a:lnTo>
                    <a:lnTo>
                      <a:pt x="800" y="53"/>
                    </a:lnTo>
                    <a:lnTo>
                      <a:pt x="696" y="80"/>
                    </a:lnTo>
                    <a:lnTo>
                      <a:pt x="604" y="132"/>
                    </a:lnTo>
                    <a:lnTo>
                      <a:pt x="499" y="185"/>
                    </a:lnTo>
                    <a:lnTo>
                      <a:pt x="420" y="250"/>
                    </a:lnTo>
                    <a:lnTo>
                      <a:pt x="341" y="329"/>
                    </a:lnTo>
                    <a:lnTo>
                      <a:pt x="263" y="408"/>
                    </a:lnTo>
                    <a:lnTo>
                      <a:pt x="197" y="499"/>
                    </a:lnTo>
                    <a:lnTo>
                      <a:pt x="145" y="591"/>
                    </a:lnTo>
                    <a:lnTo>
                      <a:pt x="92" y="696"/>
                    </a:lnTo>
                    <a:lnTo>
                      <a:pt x="53" y="801"/>
                    </a:lnTo>
                    <a:lnTo>
                      <a:pt x="26" y="906"/>
                    </a:lnTo>
                    <a:lnTo>
                      <a:pt x="13" y="1024"/>
                    </a:lnTo>
                    <a:lnTo>
                      <a:pt x="0" y="1129"/>
                    </a:lnTo>
                    <a:lnTo>
                      <a:pt x="0" y="50116"/>
                    </a:lnTo>
                    <a:lnTo>
                      <a:pt x="0" y="50273"/>
                    </a:lnTo>
                    <a:lnTo>
                      <a:pt x="13" y="50430"/>
                    </a:lnTo>
                    <a:lnTo>
                      <a:pt x="40" y="50588"/>
                    </a:lnTo>
                    <a:lnTo>
                      <a:pt x="66" y="50745"/>
                    </a:lnTo>
                    <a:lnTo>
                      <a:pt x="145" y="51034"/>
                    </a:lnTo>
                    <a:lnTo>
                      <a:pt x="249" y="51322"/>
                    </a:lnTo>
                    <a:lnTo>
                      <a:pt x="381" y="51598"/>
                    </a:lnTo>
                    <a:lnTo>
                      <a:pt x="538" y="51860"/>
                    </a:lnTo>
                    <a:lnTo>
                      <a:pt x="709" y="52097"/>
                    </a:lnTo>
                    <a:lnTo>
                      <a:pt x="919" y="52320"/>
                    </a:lnTo>
                    <a:lnTo>
                      <a:pt x="1142" y="52516"/>
                    </a:lnTo>
                    <a:lnTo>
                      <a:pt x="1378" y="52700"/>
                    </a:lnTo>
                    <a:lnTo>
                      <a:pt x="1640" y="52857"/>
                    </a:lnTo>
                    <a:lnTo>
                      <a:pt x="1902" y="52989"/>
                    </a:lnTo>
                    <a:lnTo>
                      <a:pt x="2191" y="53094"/>
                    </a:lnTo>
                    <a:lnTo>
                      <a:pt x="2493" y="53172"/>
                    </a:lnTo>
                    <a:lnTo>
                      <a:pt x="2650" y="53199"/>
                    </a:lnTo>
                    <a:lnTo>
                      <a:pt x="2808" y="53212"/>
                    </a:lnTo>
                    <a:lnTo>
                      <a:pt x="2965" y="53225"/>
                    </a:lnTo>
                    <a:lnTo>
                      <a:pt x="3280" y="53225"/>
                    </a:lnTo>
                    <a:lnTo>
                      <a:pt x="3437" y="53212"/>
                    </a:lnTo>
                    <a:lnTo>
                      <a:pt x="3595" y="53199"/>
                    </a:lnTo>
                    <a:lnTo>
                      <a:pt x="3752" y="53172"/>
                    </a:lnTo>
                    <a:lnTo>
                      <a:pt x="4054" y="53094"/>
                    </a:lnTo>
                    <a:lnTo>
                      <a:pt x="4329" y="52989"/>
                    </a:lnTo>
                    <a:lnTo>
                      <a:pt x="4605" y="52857"/>
                    </a:lnTo>
                    <a:lnTo>
                      <a:pt x="4867" y="52700"/>
                    </a:lnTo>
                    <a:lnTo>
                      <a:pt x="5103" y="52516"/>
                    </a:lnTo>
                    <a:lnTo>
                      <a:pt x="5326" y="52320"/>
                    </a:lnTo>
                    <a:lnTo>
                      <a:pt x="5523" y="52097"/>
                    </a:lnTo>
                    <a:lnTo>
                      <a:pt x="5707" y="51860"/>
                    </a:lnTo>
                    <a:lnTo>
                      <a:pt x="5864" y="51598"/>
                    </a:lnTo>
                    <a:lnTo>
                      <a:pt x="5996" y="51322"/>
                    </a:lnTo>
                    <a:lnTo>
                      <a:pt x="6101" y="51034"/>
                    </a:lnTo>
                    <a:lnTo>
                      <a:pt x="6179" y="50745"/>
                    </a:lnTo>
                    <a:lnTo>
                      <a:pt x="6205" y="50588"/>
                    </a:lnTo>
                    <a:lnTo>
                      <a:pt x="6219" y="50430"/>
                    </a:lnTo>
                    <a:lnTo>
                      <a:pt x="6232" y="50273"/>
                    </a:lnTo>
                    <a:lnTo>
                      <a:pt x="6245" y="50116"/>
                    </a:lnTo>
                    <a:lnTo>
                      <a:pt x="6245" y="1129"/>
                    </a:lnTo>
                    <a:lnTo>
                      <a:pt x="6232" y="1024"/>
                    </a:lnTo>
                    <a:lnTo>
                      <a:pt x="6219" y="906"/>
                    </a:lnTo>
                    <a:lnTo>
                      <a:pt x="6192" y="801"/>
                    </a:lnTo>
                    <a:lnTo>
                      <a:pt x="6153" y="696"/>
                    </a:lnTo>
                    <a:lnTo>
                      <a:pt x="6101" y="591"/>
                    </a:lnTo>
                    <a:lnTo>
                      <a:pt x="6048" y="499"/>
                    </a:lnTo>
                    <a:lnTo>
                      <a:pt x="5982" y="408"/>
                    </a:lnTo>
                    <a:lnTo>
                      <a:pt x="5904" y="329"/>
                    </a:lnTo>
                    <a:lnTo>
                      <a:pt x="5825" y="250"/>
                    </a:lnTo>
                    <a:lnTo>
                      <a:pt x="5733" y="185"/>
                    </a:lnTo>
                    <a:lnTo>
                      <a:pt x="5641" y="132"/>
                    </a:lnTo>
                    <a:lnTo>
                      <a:pt x="5550" y="80"/>
                    </a:lnTo>
                    <a:lnTo>
                      <a:pt x="5445" y="53"/>
                    </a:lnTo>
                    <a:lnTo>
                      <a:pt x="5326" y="14"/>
                    </a:lnTo>
                    <a:lnTo>
                      <a:pt x="522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1" name="Google Shape;2441;p45"/>
              <p:cNvSpPr/>
              <p:nvPr/>
            </p:nvSpPr>
            <p:spPr>
              <a:xfrm>
                <a:off x="1780583" y="3354102"/>
                <a:ext cx="813871" cy="74654"/>
              </a:xfrm>
              <a:custGeom>
                <a:avLst/>
                <a:gdLst/>
                <a:ahLst/>
                <a:cxnLst/>
                <a:rect l="l" t="t" r="r" b="b"/>
                <a:pathLst>
                  <a:path w="45341" h="4159" extrusionOk="0">
                    <a:moveTo>
                      <a:pt x="1" y="0"/>
                    </a:moveTo>
                    <a:lnTo>
                      <a:pt x="14" y="210"/>
                    </a:lnTo>
                    <a:lnTo>
                      <a:pt x="27" y="420"/>
                    </a:lnTo>
                    <a:lnTo>
                      <a:pt x="53" y="630"/>
                    </a:lnTo>
                    <a:lnTo>
                      <a:pt x="93" y="840"/>
                    </a:lnTo>
                    <a:lnTo>
                      <a:pt x="132" y="1037"/>
                    </a:lnTo>
                    <a:lnTo>
                      <a:pt x="185" y="1233"/>
                    </a:lnTo>
                    <a:lnTo>
                      <a:pt x="250" y="1430"/>
                    </a:lnTo>
                    <a:lnTo>
                      <a:pt x="329" y="1614"/>
                    </a:lnTo>
                    <a:lnTo>
                      <a:pt x="421" y="1798"/>
                    </a:lnTo>
                    <a:lnTo>
                      <a:pt x="513" y="1981"/>
                    </a:lnTo>
                    <a:lnTo>
                      <a:pt x="604" y="2152"/>
                    </a:lnTo>
                    <a:lnTo>
                      <a:pt x="709" y="2322"/>
                    </a:lnTo>
                    <a:lnTo>
                      <a:pt x="827" y="2480"/>
                    </a:lnTo>
                    <a:lnTo>
                      <a:pt x="959" y="2637"/>
                    </a:lnTo>
                    <a:lnTo>
                      <a:pt x="1090" y="2795"/>
                    </a:lnTo>
                    <a:lnTo>
                      <a:pt x="1221" y="2939"/>
                    </a:lnTo>
                    <a:lnTo>
                      <a:pt x="1365" y="3070"/>
                    </a:lnTo>
                    <a:lnTo>
                      <a:pt x="1523" y="3201"/>
                    </a:lnTo>
                    <a:lnTo>
                      <a:pt x="1680" y="3332"/>
                    </a:lnTo>
                    <a:lnTo>
                      <a:pt x="1838" y="3450"/>
                    </a:lnTo>
                    <a:lnTo>
                      <a:pt x="2008" y="3555"/>
                    </a:lnTo>
                    <a:lnTo>
                      <a:pt x="2179" y="3647"/>
                    </a:lnTo>
                    <a:lnTo>
                      <a:pt x="2362" y="3739"/>
                    </a:lnTo>
                    <a:lnTo>
                      <a:pt x="2546" y="3831"/>
                    </a:lnTo>
                    <a:lnTo>
                      <a:pt x="2730" y="3897"/>
                    </a:lnTo>
                    <a:lnTo>
                      <a:pt x="2926" y="3962"/>
                    </a:lnTo>
                    <a:lnTo>
                      <a:pt x="3123" y="4028"/>
                    </a:lnTo>
                    <a:lnTo>
                      <a:pt x="3320" y="4067"/>
                    </a:lnTo>
                    <a:lnTo>
                      <a:pt x="3530" y="4106"/>
                    </a:lnTo>
                    <a:lnTo>
                      <a:pt x="3740" y="4133"/>
                    </a:lnTo>
                    <a:lnTo>
                      <a:pt x="3950" y="4146"/>
                    </a:lnTo>
                    <a:lnTo>
                      <a:pt x="4160" y="4159"/>
                    </a:lnTo>
                    <a:lnTo>
                      <a:pt x="41181" y="4159"/>
                    </a:lnTo>
                    <a:lnTo>
                      <a:pt x="41391" y="4146"/>
                    </a:lnTo>
                    <a:lnTo>
                      <a:pt x="41601" y="4133"/>
                    </a:lnTo>
                    <a:lnTo>
                      <a:pt x="41811" y="4106"/>
                    </a:lnTo>
                    <a:lnTo>
                      <a:pt x="42021" y="4067"/>
                    </a:lnTo>
                    <a:lnTo>
                      <a:pt x="42218" y="4028"/>
                    </a:lnTo>
                    <a:lnTo>
                      <a:pt x="42415" y="3962"/>
                    </a:lnTo>
                    <a:lnTo>
                      <a:pt x="42611" y="3897"/>
                    </a:lnTo>
                    <a:lnTo>
                      <a:pt x="42795" y="3831"/>
                    </a:lnTo>
                    <a:lnTo>
                      <a:pt x="42979" y="3739"/>
                    </a:lnTo>
                    <a:lnTo>
                      <a:pt x="43162" y="3647"/>
                    </a:lnTo>
                    <a:lnTo>
                      <a:pt x="43333" y="3555"/>
                    </a:lnTo>
                    <a:lnTo>
                      <a:pt x="43503" y="3450"/>
                    </a:lnTo>
                    <a:lnTo>
                      <a:pt x="43661" y="3332"/>
                    </a:lnTo>
                    <a:lnTo>
                      <a:pt x="43818" y="3201"/>
                    </a:lnTo>
                    <a:lnTo>
                      <a:pt x="43976" y="3070"/>
                    </a:lnTo>
                    <a:lnTo>
                      <a:pt x="44120" y="2939"/>
                    </a:lnTo>
                    <a:lnTo>
                      <a:pt x="44251" y="2795"/>
                    </a:lnTo>
                    <a:lnTo>
                      <a:pt x="44382" y="2637"/>
                    </a:lnTo>
                    <a:lnTo>
                      <a:pt x="44514" y="2480"/>
                    </a:lnTo>
                    <a:lnTo>
                      <a:pt x="44632" y="2322"/>
                    </a:lnTo>
                    <a:lnTo>
                      <a:pt x="44737" y="2152"/>
                    </a:lnTo>
                    <a:lnTo>
                      <a:pt x="44828" y="1981"/>
                    </a:lnTo>
                    <a:lnTo>
                      <a:pt x="44920" y="1798"/>
                    </a:lnTo>
                    <a:lnTo>
                      <a:pt x="45012" y="1614"/>
                    </a:lnTo>
                    <a:lnTo>
                      <a:pt x="45078" y="1430"/>
                    </a:lnTo>
                    <a:lnTo>
                      <a:pt x="45143" y="1233"/>
                    </a:lnTo>
                    <a:lnTo>
                      <a:pt x="45209" y="1037"/>
                    </a:lnTo>
                    <a:lnTo>
                      <a:pt x="45248" y="840"/>
                    </a:lnTo>
                    <a:lnTo>
                      <a:pt x="45288" y="630"/>
                    </a:lnTo>
                    <a:lnTo>
                      <a:pt x="45314" y="420"/>
                    </a:lnTo>
                    <a:lnTo>
                      <a:pt x="45327" y="210"/>
                    </a:lnTo>
                    <a:lnTo>
                      <a:pt x="45340"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2" name="Google Shape;2442;p45"/>
              <p:cNvSpPr/>
              <p:nvPr/>
            </p:nvSpPr>
            <p:spPr>
              <a:xfrm>
                <a:off x="1847931" y="4030889"/>
                <a:ext cx="89517" cy="89732"/>
              </a:xfrm>
              <a:custGeom>
                <a:avLst/>
                <a:gdLst/>
                <a:ahLst/>
                <a:cxnLst/>
                <a:rect l="l" t="t" r="r" b="b"/>
                <a:pathLst>
                  <a:path w="4987" h="4999" extrusionOk="0">
                    <a:moveTo>
                      <a:pt x="2494" y="0"/>
                    </a:moveTo>
                    <a:lnTo>
                      <a:pt x="2231" y="13"/>
                    </a:lnTo>
                    <a:lnTo>
                      <a:pt x="1982" y="53"/>
                    </a:lnTo>
                    <a:lnTo>
                      <a:pt x="1746" y="118"/>
                    </a:lnTo>
                    <a:lnTo>
                      <a:pt x="1523" y="197"/>
                    </a:lnTo>
                    <a:lnTo>
                      <a:pt x="1300" y="302"/>
                    </a:lnTo>
                    <a:lnTo>
                      <a:pt x="1090" y="433"/>
                    </a:lnTo>
                    <a:lnTo>
                      <a:pt x="906" y="577"/>
                    </a:lnTo>
                    <a:lnTo>
                      <a:pt x="723" y="735"/>
                    </a:lnTo>
                    <a:lnTo>
                      <a:pt x="565" y="905"/>
                    </a:lnTo>
                    <a:lnTo>
                      <a:pt x="421" y="1102"/>
                    </a:lnTo>
                    <a:lnTo>
                      <a:pt x="303" y="1312"/>
                    </a:lnTo>
                    <a:lnTo>
                      <a:pt x="185" y="1522"/>
                    </a:lnTo>
                    <a:lnTo>
                      <a:pt x="106" y="1758"/>
                    </a:lnTo>
                    <a:lnTo>
                      <a:pt x="40" y="1994"/>
                    </a:lnTo>
                    <a:lnTo>
                      <a:pt x="14" y="2244"/>
                    </a:lnTo>
                    <a:lnTo>
                      <a:pt x="1" y="2493"/>
                    </a:lnTo>
                    <a:lnTo>
                      <a:pt x="14" y="2755"/>
                    </a:lnTo>
                    <a:lnTo>
                      <a:pt x="40" y="3004"/>
                    </a:lnTo>
                    <a:lnTo>
                      <a:pt x="106" y="3241"/>
                    </a:lnTo>
                    <a:lnTo>
                      <a:pt x="185" y="3477"/>
                    </a:lnTo>
                    <a:lnTo>
                      <a:pt x="303" y="3687"/>
                    </a:lnTo>
                    <a:lnTo>
                      <a:pt x="421" y="3897"/>
                    </a:lnTo>
                    <a:lnTo>
                      <a:pt x="565" y="4080"/>
                    </a:lnTo>
                    <a:lnTo>
                      <a:pt x="723" y="4264"/>
                    </a:lnTo>
                    <a:lnTo>
                      <a:pt x="906" y="4421"/>
                    </a:lnTo>
                    <a:lnTo>
                      <a:pt x="1090" y="4566"/>
                    </a:lnTo>
                    <a:lnTo>
                      <a:pt x="1300" y="4697"/>
                    </a:lnTo>
                    <a:lnTo>
                      <a:pt x="1523" y="4802"/>
                    </a:lnTo>
                    <a:lnTo>
                      <a:pt x="1746" y="4881"/>
                    </a:lnTo>
                    <a:lnTo>
                      <a:pt x="1982" y="4946"/>
                    </a:lnTo>
                    <a:lnTo>
                      <a:pt x="2231" y="4985"/>
                    </a:lnTo>
                    <a:lnTo>
                      <a:pt x="2494" y="4999"/>
                    </a:lnTo>
                    <a:lnTo>
                      <a:pt x="2743" y="4985"/>
                    </a:lnTo>
                    <a:lnTo>
                      <a:pt x="2992" y="4946"/>
                    </a:lnTo>
                    <a:lnTo>
                      <a:pt x="3228" y="4881"/>
                    </a:lnTo>
                    <a:lnTo>
                      <a:pt x="3464" y="4802"/>
                    </a:lnTo>
                    <a:lnTo>
                      <a:pt x="3674" y="4697"/>
                    </a:lnTo>
                    <a:lnTo>
                      <a:pt x="3884" y="4566"/>
                    </a:lnTo>
                    <a:lnTo>
                      <a:pt x="4081" y="4421"/>
                    </a:lnTo>
                    <a:lnTo>
                      <a:pt x="4252" y="4264"/>
                    </a:lnTo>
                    <a:lnTo>
                      <a:pt x="4422" y="4080"/>
                    </a:lnTo>
                    <a:lnTo>
                      <a:pt x="4553" y="3897"/>
                    </a:lnTo>
                    <a:lnTo>
                      <a:pt x="4684" y="3687"/>
                    </a:lnTo>
                    <a:lnTo>
                      <a:pt x="4789" y="3477"/>
                    </a:lnTo>
                    <a:lnTo>
                      <a:pt x="4868" y="3241"/>
                    </a:lnTo>
                    <a:lnTo>
                      <a:pt x="4934" y="3004"/>
                    </a:lnTo>
                    <a:lnTo>
                      <a:pt x="4973" y="2755"/>
                    </a:lnTo>
                    <a:lnTo>
                      <a:pt x="4986" y="2493"/>
                    </a:lnTo>
                    <a:lnTo>
                      <a:pt x="4973" y="2244"/>
                    </a:lnTo>
                    <a:lnTo>
                      <a:pt x="4934" y="1994"/>
                    </a:lnTo>
                    <a:lnTo>
                      <a:pt x="4868" y="1758"/>
                    </a:lnTo>
                    <a:lnTo>
                      <a:pt x="4789" y="1522"/>
                    </a:lnTo>
                    <a:lnTo>
                      <a:pt x="4684" y="1312"/>
                    </a:lnTo>
                    <a:lnTo>
                      <a:pt x="4553" y="1102"/>
                    </a:lnTo>
                    <a:lnTo>
                      <a:pt x="4422" y="905"/>
                    </a:lnTo>
                    <a:lnTo>
                      <a:pt x="4252" y="735"/>
                    </a:lnTo>
                    <a:lnTo>
                      <a:pt x="4081" y="577"/>
                    </a:lnTo>
                    <a:lnTo>
                      <a:pt x="3884" y="433"/>
                    </a:lnTo>
                    <a:lnTo>
                      <a:pt x="3674" y="302"/>
                    </a:lnTo>
                    <a:lnTo>
                      <a:pt x="3464" y="197"/>
                    </a:lnTo>
                    <a:lnTo>
                      <a:pt x="3228" y="118"/>
                    </a:lnTo>
                    <a:lnTo>
                      <a:pt x="2992" y="53"/>
                    </a:lnTo>
                    <a:lnTo>
                      <a:pt x="2743" y="13"/>
                    </a:lnTo>
                    <a:lnTo>
                      <a:pt x="2494"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3" name="Google Shape;2443;p45"/>
              <p:cNvSpPr/>
              <p:nvPr/>
            </p:nvSpPr>
            <p:spPr>
              <a:xfrm>
                <a:off x="1870315" y="4053255"/>
                <a:ext cx="44749" cy="45001"/>
              </a:xfrm>
              <a:custGeom>
                <a:avLst/>
                <a:gdLst/>
                <a:ahLst/>
                <a:cxnLst/>
                <a:rect l="l" t="t" r="r" b="b"/>
                <a:pathLst>
                  <a:path w="2493" h="2507" extrusionOk="0">
                    <a:moveTo>
                      <a:pt x="1247" y="1"/>
                    </a:moveTo>
                    <a:lnTo>
                      <a:pt x="1115" y="14"/>
                    </a:lnTo>
                    <a:lnTo>
                      <a:pt x="997" y="27"/>
                    </a:lnTo>
                    <a:lnTo>
                      <a:pt x="866" y="66"/>
                    </a:lnTo>
                    <a:lnTo>
                      <a:pt x="761" y="106"/>
                    </a:lnTo>
                    <a:lnTo>
                      <a:pt x="643" y="158"/>
                    </a:lnTo>
                    <a:lnTo>
                      <a:pt x="551" y="224"/>
                    </a:lnTo>
                    <a:lnTo>
                      <a:pt x="446" y="289"/>
                    </a:lnTo>
                    <a:lnTo>
                      <a:pt x="368" y="368"/>
                    </a:lnTo>
                    <a:lnTo>
                      <a:pt x="276" y="460"/>
                    </a:lnTo>
                    <a:lnTo>
                      <a:pt x="210" y="552"/>
                    </a:lnTo>
                    <a:lnTo>
                      <a:pt x="145" y="656"/>
                    </a:lnTo>
                    <a:lnTo>
                      <a:pt x="92" y="761"/>
                    </a:lnTo>
                    <a:lnTo>
                      <a:pt x="53" y="880"/>
                    </a:lnTo>
                    <a:lnTo>
                      <a:pt x="27" y="998"/>
                    </a:lnTo>
                    <a:lnTo>
                      <a:pt x="0" y="1129"/>
                    </a:lnTo>
                    <a:lnTo>
                      <a:pt x="0" y="1247"/>
                    </a:lnTo>
                    <a:lnTo>
                      <a:pt x="0" y="1378"/>
                    </a:lnTo>
                    <a:lnTo>
                      <a:pt x="27" y="1509"/>
                    </a:lnTo>
                    <a:lnTo>
                      <a:pt x="53" y="1627"/>
                    </a:lnTo>
                    <a:lnTo>
                      <a:pt x="92" y="1732"/>
                    </a:lnTo>
                    <a:lnTo>
                      <a:pt x="145" y="1850"/>
                    </a:lnTo>
                    <a:lnTo>
                      <a:pt x="210" y="1955"/>
                    </a:lnTo>
                    <a:lnTo>
                      <a:pt x="276" y="2047"/>
                    </a:lnTo>
                    <a:lnTo>
                      <a:pt x="368" y="2139"/>
                    </a:lnTo>
                    <a:lnTo>
                      <a:pt x="446" y="2218"/>
                    </a:lnTo>
                    <a:lnTo>
                      <a:pt x="551" y="2283"/>
                    </a:lnTo>
                    <a:lnTo>
                      <a:pt x="643" y="2349"/>
                    </a:lnTo>
                    <a:lnTo>
                      <a:pt x="761" y="2401"/>
                    </a:lnTo>
                    <a:lnTo>
                      <a:pt x="866" y="2441"/>
                    </a:lnTo>
                    <a:lnTo>
                      <a:pt x="997" y="2480"/>
                    </a:lnTo>
                    <a:lnTo>
                      <a:pt x="1115" y="2493"/>
                    </a:lnTo>
                    <a:lnTo>
                      <a:pt x="1247" y="2506"/>
                    </a:lnTo>
                    <a:lnTo>
                      <a:pt x="1365" y="2493"/>
                    </a:lnTo>
                    <a:lnTo>
                      <a:pt x="1496" y="2480"/>
                    </a:lnTo>
                    <a:lnTo>
                      <a:pt x="1614" y="2441"/>
                    </a:lnTo>
                    <a:lnTo>
                      <a:pt x="1732" y="2401"/>
                    </a:lnTo>
                    <a:lnTo>
                      <a:pt x="1837" y="2349"/>
                    </a:lnTo>
                    <a:lnTo>
                      <a:pt x="1942" y="2283"/>
                    </a:lnTo>
                    <a:lnTo>
                      <a:pt x="2034" y="2218"/>
                    </a:lnTo>
                    <a:lnTo>
                      <a:pt x="2126" y="2139"/>
                    </a:lnTo>
                    <a:lnTo>
                      <a:pt x="2204" y="2047"/>
                    </a:lnTo>
                    <a:lnTo>
                      <a:pt x="2283" y="1955"/>
                    </a:lnTo>
                    <a:lnTo>
                      <a:pt x="2335" y="1850"/>
                    </a:lnTo>
                    <a:lnTo>
                      <a:pt x="2388" y="1732"/>
                    </a:lnTo>
                    <a:lnTo>
                      <a:pt x="2440" y="1627"/>
                    </a:lnTo>
                    <a:lnTo>
                      <a:pt x="2467" y="1509"/>
                    </a:lnTo>
                    <a:lnTo>
                      <a:pt x="2480" y="1378"/>
                    </a:lnTo>
                    <a:lnTo>
                      <a:pt x="2493" y="1247"/>
                    </a:lnTo>
                    <a:lnTo>
                      <a:pt x="2480" y="1129"/>
                    </a:lnTo>
                    <a:lnTo>
                      <a:pt x="2467" y="998"/>
                    </a:lnTo>
                    <a:lnTo>
                      <a:pt x="2440" y="880"/>
                    </a:lnTo>
                    <a:lnTo>
                      <a:pt x="2388" y="761"/>
                    </a:lnTo>
                    <a:lnTo>
                      <a:pt x="2335" y="656"/>
                    </a:lnTo>
                    <a:lnTo>
                      <a:pt x="2283" y="552"/>
                    </a:lnTo>
                    <a:lnTo>
                      <a:pt x="2204" y="460"/>
                    </a:lnTo>
                    <a:lnTo>
                      <a:pt x="2126" y="368"/>
                    </a:lnTo>
                    <a:lnTo>
                      <a:pt x="2034" y="289"/>
                    </a:lnTo>
                    <a:lnTo>
                      <a:pt x="1942" y="224"/>
                    </a:lnTo>
                    <a:lnTo>
                      <a:pt x="1837" y="158"/>
                    </a:lnTo>
                    <a:lnTo>
                      <a:pt x="1732" y="106"/>
                    </a:lnTo>
                    <a:lnTo>
                      <a:pt x="1614" y="66"/>
                    </a:lnTo>
                    <a:lnTo>
                      <a:pt x="1496" y="27"/>
                    </a:lnTo>
                    <a:lnTo>
                      <a:pt x="1365" y="14"/>
                    </a:lnTo>
                    <a:lnTo>
                      <a:pt x="1247"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4" name="Google Shape;2444;p45"/>
              <p:cNvSpPr/>
              <p:nvPr/>
            </p:nvSpPr>
            <p:spPr>
              <a:xfrm>
                <a:off x="1855237" y="3966359"/>
                <a:ext cx="313694" cy="64548"/>
              </a:xfrm>
              <a:custGeom>
                <a:avLst/>
                <a:gdLst/>
                <a:ahLst/>
                <a:cxnLst/>
                <a:rect l="l" t="t" r="r" b="b"/>
                <a:pathLst>
                  <a:path w="17476" h="3596" extrusionOk="0">
                    <a:moveTo>
                      <a:pt x="17475" y="1"/>
                    </a:moveTo>
                    <a:lnTo>
                      <a:pt x="512" y="2415"/>
                    </a:lnTo>
                    <a:lnTo>
                      <a:pt x="407" y="2441"/>
                    </a:lnTo>
                    <a:lnTo>
                      <a:pt x="316" y="2480"/>
                    </a:lnTo>
                    <a:lnTo>
                      <a:pt x="224" y="2546"/>
                    </a:lnTo>
                    <a:lnTo>
                      <a:pt x="145" y="2611"/>
                    </a:lnTo>
                    <a:lnTo>
                      <a:pt x="92" y="2703"/>
                    </a:lnTo>
                    <a:lnTo>
                      <a:pt x="40" y="2795"/>
                    </a:lnTo>
                    <a:lnTo>
                      <a:pt x="14" y="2900"/>
                    </a:lnTo>
                    <a:lnTo>
                      <a:pt x="1" y="3005"/>
                    </a:lnTo>
                    <a:lnTo>
                      <a:pt x="14" y="3123"/>
                    </a:lnTo>
                    <a:lnTo>
                      <a:pt x="53" y="3241"/>
                    </a:lnTo>
                    <a:lnTo>
                      <a:pt x="106" y="3333"/>
                    </a:lnTo>
                    <a:lnTo>
                      <a:pt x="184" y="3425"/>
                    </a:lnTo>
                    <a:lnTo>
                      <a:pt x="263" y="3503"/>
                    </a:lnTo>
                    <a:lnTo>
                      <a:pt x="368" y="3556"/>
                    </a:lnTo>
                    <a:lnTo>
                      <a:pt x="473" y="3582"/>
                    </a:lnTo>
                    <a:lnTo>
                      <a:pt x="604" y="3595"/>
                    </a:lnTo>
                    <a:lnTo>
                      <a:pt x="17475" y="3595"/>
                    </a:lnTo>
                    <a:lnTo>
                      <a:pt x="17475"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5" name="Google Shape;2445;p45"/>
              <p:cNvSpPr/>
              <p:nvPr/>
            </p:nvSpPr>
            <p:spPr>
              <a:xfrm>
                <a:off x="2437589" y="4030889"/>
                <a:ext cx="89517" cy="89732"/>
              </a:xfrm>
              <a:custGeom>
                <a:avLst/>
                <a:gdLst/>
                <a:ahLst/>
                <a:cxnLst/>
                <a:rect l="l" t="t" r="r" b="b"/>
                <a:pathLst>
                  <a:path w="4987" h="4999" extrusionOk="0">
                    <a:moveTo>
                      <a:pt x="2493" y="0"/>
                    </a:moveTo>
                    <a:lnTo>
                      <a:pt x="2244" y="13"/>
                    </a:lnTo>
                    <a:lnTo>
                      <a:pt x="1995" y="53"/>
                    </a:lnTo>
                    <a:lnTo>
                      <a:pt x="1759" y="118"/>
                    </a:lnTo>
                    <a:lnTo>
                      <a:pt x="1523" y="197"/>
                    </a:lnTo>
                    <a:lnTo>
                      <a:pt x="1300" y="302"/>
                    </a:lnTo>
                    <a:lnTo>
                      <a:pt x="1103" y="433"/>
                    </a:lnTo>
                    <a:lnTo>
                      <a:pt x="906" y="577"/>
                    </a:lnTo>
                    <a:lnTo>
                      <a:pt x="736" y="735"/>
                    </a:lnTo>
                    <a:lnTo>
                      <a:pt x="565" y="905"/>
                    </a:lnTo>
                    <a:lnTo>
                      <a:pt x="421" y="1102"/>
                    </a:lnTo>
                    <a:lnTo>
                      <a:pt x="303" y="1312"/>
                    </a:lnTo>
                    <a:lnTo>
                      <a:pt x="198" y="1522"/>
                    </a:lnTo>
                    <a:lnTo>
                      <a:pt x="106" y="1758"/>
                    </a:lnTo>
                    <a:lnTo>
                      <a:pt x="53" y="1994"/>
                    </a:lnTo>
                    <a:lnTo>
                      <a:pt x="14" y="2244"/>
                    </a:lnTo>
                    <a:lnTo>
                      <a:pt x="1" y="2493"/>
                    </a:lnTo>
                    <a:lnTo>
                      <a:pt x="14" y="2755"/>
                    </a:lnTo>
                    <a:lnTo>
                      <a:pt x="53" y="3004"/>
                    </a:lnTo>
                    <a:lnTo>
                      <a:pt x="106" y="3241"/>
                    </a:lnTo>
                    <a:lnTo>
                      <a:pt x="198" y="3477"/>
                    </a:lnTo>
                    <a:lnTo>
                      <a:pt x="303" y="3687"/>
                    </a:lnTo>
                    <a:lnTo>
                      <a:pt x="421" y="3897"/>
                    </a:lnTo>
                    <a:lnTo>
                      <a:pt x="565" y="4080"/>
                    </a:lnTo>
                    <a:lnTo>
                      <a:pt x="736" y="4264"/>
                    </a:lnTo>
                    <a:lnTo>
                      <a:pt x="906" y="4421"/>
                    </a:lnTo>
                    <a:lnTo>
                      <a:pt x="1103" y="4566"/>
                    </a:lnTo>
                    <a:lnTo>
                      <a:pt x="1300" y="4697"/>
                    </a:lnTo>
                    <a:lnTo>
                      <a:pt x="1523" y="4802"/>
                    </a:lnTo>
                    <a:lnTo>
                      <a:pt x="1759" y="4881"/>
                    </a:lnTo>
                    <a:lnTo>
                      <a:pt x="1995" y="4946"/>
                    </a:lnTo>
                    <a:lnTo>
                      <a:pt x="2244" y="4985"/>
                    </a:lnTo>
                    <a:lnTo>
                      <a:pt x="2493" y="4999"/>
                    </a:lnTo>
                    <a:lnTo>
                      <a:pt x="2756" y="4985"/>
                    </a:lnTo>
                    <a:lnTo>
                      <a:pt x="2992" y="4946"/>
                    </a:lnTo>
                    <a:lnTo>
                      <a:pt x="3241" y="4881"/>
                    </a:lnTo>
                    <a:lnTo>
                      <a:pt x="3464" y="4802"/>
                    </a:lnTo>
                    <a:lnTo>
                      <a:pt x="3687" y="4697"/>
                    </a:lnTo>
                    <a:lnTo>
                      <a:pt x="3884" y="4566"/>
                    </a:lnTo>
                    <a:lnTo>
                      <a:pt x="4081" y="4421"/>
                    </a:lnTo>
                    <a:lnTo>
                      <a:pt x="4265" y="4264"/>
                    </a:lnTo>
                    <a:lnTo>
                      <a:pt x="4422" y="4080"/>
                    </a:lnTo>
                    <a:lnTo>
                      <a:pt x="4566" y="3897"/>
                    </a:lnTo>
                    <a:lnTo>
                      <a:pt x="4684" y="3687"/>
                    </a:lnTo>
                    <a:lnTo>
                      <a:pt x="4789" y="3477"/>
                    </a:lnTo>
                    <a:lnTo>
                      <a:pt x="4881" y="3241"/>
                    </a:lnTo>
                    <a:lnTo>
                      <a:pt x="4934" y="3004"/>
                    </a:lnTo>
                    <a:lnTo>
                      <a:pt x="4973" y="2755"/>
                    </a:lnTo>
                    <a:lnTo>
                      <a:pt x="4986" y="2493"/>
                    </a:lnTo>
                    <a:lnTo>
                      <a:pt x="4973" y="2244"/>
                    </a:lnTo>
                    <a:lnTo>
                      <a:pt x="4934" y="1994"/>
                    </a:lnTo>
                    <a:lnTo>
                      <a:pt x="4881" y="1758"/>
                    </a:lnTo>
                    <a:lnTo>
                      <a:pt x="4789" y="1522"/>
                    </a:lnTo>
                    <a:lnTo>
                      <a:pt x="4684" y="1312"/>
                    </a:lnTo>
                    <a:lnTo>
                      <a:pt x="4566" y="1102"/>
                    </a:lnTo>
                    <a:lnTo>
                      <a:pt x="4422" y="905"/>
                    </a:lnTo>
                    <a:lnTo>
                      <a:pt x="4265" y="735"/>
                    </a:lnTo>
                    <a:lnTo>
                      <a:pt x="4081" y="577"/>
                    </a:lnTo>
                    <a:lnTo>
                      <a:pt x="3884" y="433"/>
                    </a:lnTo>
                    <a:lnTo>
                      <a:pt x="3687" y="302"/>
                    </a:lnTo>
                    <a:lnTo>
                      <a:pt x="3464" y="197"/>
                    </a:lnTo>
                    <a:lnTo>
                      <a:pt x="3241" y="118"/>
                    </a:lnTo>
                    <a:lnTo>
                      <a:pt x="2992" y="53"/>
                    </a:lnTo>
                    <a:lnTo>
                      <a:pt x="2756" y="13"/>
                    </a:lnTo>
                    <a:lnTo>
                      <a:pt x="2493"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6" name="Google Shape;2446;p45"/>
              <p:cNvSpPr/>
              <p:nvPr/>
            </p:nvSpPr>
            <p:spPr>
              <a:xfrm>
                <a:off x="2459972" y="4053255"/>
                <a:ext cx="44749" cy="45001"/>
              </a:xfrm>
              <a:custGeom>
                <a:avLst/>
                <a:gdLst/>
                <a:ahLst/>
                <a:cxnLst/>
                <a:rect l="l" t="t" r="r" b="b"/>
                <a:pathLst>
                  <a:path w="2493" h="2507" extrusionOk="0">
                    <a:moveTo>
                      <a:pt x="1246" y="1"/>
                    </a:moveTo>
                    <a:lnTo>
                      <a:pt x="1115" y="14"/>
                    </a:lnTo>
                    <a:lnTo>
                      <a:pt x="997" y="27"/>
                    </a:lnTo>
                    <a:lnTo>
                      <a:pt x="879" y="66"/>
                    </a:lnTo>
                    <a:lnTo>
                      <a:pt x="761" y="106"/>
                    </a:lnTo>
                    <a:lnTo>
                      <a:pt x="656" y="158"/>
                    </a:lnTo>
                    <a:lnTo>
                      <a:pt x="551" y="224"/>
                    </a:lnTo>
                    <a:lnTo>
                      <a:pt x="459" y="289"/>
                    </a:lnTo>
                    <a:lnTo>
                      <a:pt x="367" y="368"/>
                    </a:lnTo>
                    <a:lnTo>
                      <a:pt x="289" y="460"/>
                    </a:lnTo>
                    <a:lnTo>
                      <a:pt x="210" y="552"/>
                    </a:lnTo>
                    <a:lnTo>
                      <a:pt x="158" y="656"/>
                    </a:lnTo>
                    <a:lnTo>
                      <a:pt x="105" y="761"/>
                    </a:lnTo>
                    <a:lnTo>
                      <a:pt x="53" y="880"/>
                    </a:lnTo>
                    <a:lnTo>
                      <a:pt x="26" y="998"/>
                    </a:lnTo>
                    <a:lnTo>
                      <a:pt x="13" y="1129"/>
                    </a:lnTo>
                    <a:lnTo>
                      <a:pt x="0" y="1247"/>
                    </a:lnTo>
                    <a:lnTo>
                      <a:pt x="13" y="1378"/>
                    </a:lnTo>
                    <a:lnTo>
                      <a:pt x="26" y="1509"/>
                    </a:lnTo>
                    <a:lnTo>
                      <a:pt x="53" y="1627"/>
                    </a:lnTo>
                    <a:lnTo>
                      <a:pt x="105" y="1732"/>
                    </a:lnTo>
                    <a:lnTo>
                      <a:pt x="158" y="1850"/>
                    </a:lnTo>
                    <a:lnTo>
                      <a:pt x="210" y="1955"/>
                    </a:lnTo>
                    <a:lnTo>
                      <a:pt x="289" y="2047"/>
                    </a:lnTo>
                    <a:lnTo>
                      <a:pt x="367" y="2139"/>
                    </a:lnTo>
                    <a:lnTo>
                      <a:pt x="459" y="2218"/>
                    </a:lnTo>
                    <a:lnTo>
                      <a:pt x="551" y="2283"/>
                    </a:lnTo>
                    <a:lnTo>
                      <a:pt x="656" y="2349"/>
                    </a:lnTo>
                    <a:lnTo>
                      <a:pt x="761" y="2401"/>
                    </a:lnTo>
                    <a:lnTo>
                      <a:pt x="879" y="2441"/>
                    </a:lnTo>
                    <a:lnTo>
                      <a:pt x="997" y="2480"/>
                    </a:lnTo>
                    <a:lnTo>
                      <a:pt x="1115" y="2493"/>
                    </a:lnTo>
                    <a:lnTo>
                      <a:pt x="1246" y="2506"/>
                    </a:lnTo>
                    <a:lnTo>
                      <a:pt x="1378" y="2493"/>
                    </a:lnTo>
                    <a:lnTo>
                      <a:pt x="1496" y="2480"/>
                    </a:lnTo>
                    <a:lnTo>
                      <a:pt x="1614" y="2441"/>
                    </a:lnTo>
                    <a:lnTo>
                      <a:pt x="1732" y="2401"/>
                    </a:lnTo>
                    <a:lnTo>
                      <a:pt x="1837" y="2349"/>
                    </a:lnTo>
                    <a:lnTo>
                      <a:pt x="1942" y="2283"/>
                    </a:lnTo>
                    <a:lnTo>
                      <a:pt x="2047" y="2218"/>
                    </a:lnTo>
                    <a:lnTo>
                      <a:pt x="2125" y="2139"/>
                    </a:lnTo>
                    <a:lnTo>
                      <a:pt x="2217" y="2047"/>
                    </a:lnTo>
                    <a:lnTo>
                      <a:pt x="2283" y="1955"/>
                    </a:lnTo>
                    <a:lnTo>
                      <a:pt x="2348" y="1850"/>
                    </a:lnTo>
                    <a:lnTo>
                      <a:pt x="2401" y="1732"/>
                    </a:lnTo>
                    <a:lnTo>
                      <a:pt x="2440" y="1627"/>
                    </a:lnTo>
                    <a:lnTo>
                      <a:pt x="2467" y="1509"/>
                    </a:lnTo>
                    <a:lnTo>
                      <a:pt x="2493" y="1378"/>
                    </a:lnTo>
                    <a:lnTo>
                      <a:pt x="2493" y="1247"/>
                    </a:lnTo>
                    <a:lnTo>
                      <a:pt x="2493" y="1129"/>
                    </a:lnTo>
                    <a:lnTo>
                      <a:pt x="2467" y="998"/>
                    </a:lnTo>
                    <a:lnTo>
                      <a:pt x="2440" y="880"/>
                    </a:lnTo>
                    <a:lnTo>
                      <a:pt x="2401" y="761"/>
                    </a:lnTo>
                    <a:lnTo>
                      <a:pt x="2348" y="656"/>
                    </a:lnTo>
                    <a:lnTo>
                      <a:pt x="2283" y="552"/>
                    </a:lnTo>
                    <a:lnTo>
                      <a:pt x="2217" y="460"/>
                    </a:lnTo>
                    <a:lnTo>
                      <a:pt x="2125" y="368"/>
                    </a:lnTo>
                    <a:lnTo>
                      <a:pt x="2047" y="289"/>
                    </a:lnTo>
                    <a:lnTo>
                      <a:pt x="1942" y="224"/>
                    </a:lnTo>
                    <a:lnTo>
                      <a:pt x="1837" y="158"/>
                    </a:lnTo>
                    <a:lnTo>
                      <a:pt x="1732" y="106"/>
                    </a:lnTo>
                    <a:lnTo>
                      <a:pt x="1614" y="66"/>
                    </a:lnTo>
                    <a:lnTo>
                      <a:pt x="1496" y="27"/>
                    </a:lnTo>
                    <a:lnTo>
                      <a:pt x="1378" y="14"/>
                    </a:lnTo>
                    <a:lnTo>
                      <a:pt x="1246"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7" name="Google Shape;2447;p45"/>
              <p:cNvSpPr/>
              <p:nvPr/>
            </p:nvSpPr>
            <p:spPr>
              <a:xfrm>
                <a:off x="2206105" y="3966359"/>
                <a:ext cx="313694" cy="64548"/>
              </a:xfrm>
              <a:custGeom>
                <a:avLst/>
                <a:gdLst/>
                <a:ahLst/>
                <a:cxnLst/>
                <a:rect l="l" t="t" r="r" b="b"/>
                <a:pathLst>
                  <a:path w="17476" h="3596" extrusionOk="0">
                    <a:moveTo>
                      <a:pt x="1" y="1"/>
                    </a:moveTo>
                    <a:lnTo>
                      <a:pt x="1" y="3595"/>
                    </a:lnTo>
                    <a:lnTo>
                      <a:pt x="16872" y="3595"/>
                    </a:lnTo>
                    <a:lnTo>
                      <a:pt x="16990" y="3582"/>
                    </a:lnTo>
                    <a:lnTo>
                      <a:pt x="17108" y="3556"/>
                    </a:lnTo>
                    <a:lnTo>
                      <a:pt x="17213" y="3503"/>
                    </a:lnTo>
                    <a:lnTo>
                      <a:pt x="17292" y="3425"/>
                    </a:lnTo>
                    <a:lnTo>
                      <a:pt x="17370" y="3333"/>
                    </a:lnTo>
                    <a:lnTo>
                      <a:pt x="17423" y="3241"/>
                    </a:lnTo>
                    <a:lnTo>
                      <a:pt x="17462" y="3123"/>
                    </a:lnTo>
                    <a:lnTo>
                      <a:pt x="17475" y="3005"/>
                    </a:lnTo>
                    <a:lnTo>
                      <a:pt x="17462" y="2900"/>
                    </a:lnTo>
                    <a:lnTo>
                      <a:pt x="17436" y="2795"/>
                    </a:lnTo>
                    <a:lnTo>
                      <a:pt x="17384" y="2703"/>
                    </a:lnTo>
                    <a:lnTo>
                      <a:pt x="17331" y="2611"/>
                    </a:lnTo>
                    <a:lnTo>
                      <a:pt x="17252" y="2546"/>
                    </a:lnTo>
                    <a:lnTo>
                      <a:pt x="17161" y="2480"/>
                    </a:lnTo>
                    <a:lnTo>
                      <a:pt x="17069" y="2441"/>
                    </a:lnTo>
                    <a:lnTo>
                      <a:pt x="16964" y="2415"/>
                    </a:lnTo>
                    <a:lnTo>
                      <a:pt x="1"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8" name="Google Shape;2448;p45"/>
              <p:cNvSpPr/>
              <p:nvPr/>
            </p:nvSpPr>
            <p:spPr>
              <a:xfrm>
                <a:off x="2161374" y="3978601"/>
                <a:ext cx="44749" cy="112116"/>
              </a:xfrm>
              <a:custGeom>
                <a:avLst/>
                <a:gdLst/>
                <a:ahLst/>
                <a:cxnLst/>
                <a:rect l="l" t="t" r="r" b="b"/>
                <a:pathLst>
                  <a:path w="2493" h="6246" extrusionOk="0">
                    <a:moveTo>
                      <a:pt x="0" y="1"/>
                    </a:moveTo>
                    <a:lnTo>
                      <a:pt x="420" y="6245"/>
                    </a:lnTo>
                    <a:lnTo>
                      <a:pt x="2073" y="6245"/>
                    </a:lnTo>
                    <a:lnTo>
                      <a:pt x="2493"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9" name="Google Shape;2449;p45"/>
              <p:cNvSpPr/>
              <p:nvPr/>
            </p:nvSpPr>
            <p:spPr>
              <a:xfrm>
                <a:off x="2162792" y="4068333"/>
                <a:ext cx="41931" cy="104559"/>
              </a:xfrm>
              <a:custGeom>
                <a:avLst/>
                <a:gdLst/>
                <a:ahLst/>
                <a:cxnLst/>
                <a:rect l="l" t="t" r="r" b="b"/>
                <a:pathLst>
                  <a:path w="2336" h="5825" extrusionOk="0">
                    <a:moveTo>
                      <a:pt x="1050" y="0"/>
                    </a:moveTo>
                    <a:lnTo>
                      <a:pt x="931" y="26"/>
                    </a:lnTo>
                    <a:lnTo>
                      <a:pt x="827" y="53"/>
                    </a:lnTo>
                    <a:lnTo>
                      <a:pt x="722" y="92"/>
                    </a:lnTo>
                    <a:lnTo>
                      <a:pt x="617" y="131"/>
                    </a:lnTo>
                    <a:lnTo>
                      <a:pt x="512" y="197"/>
                    </a:lnTo>
                    <a:lnTo>
                      <a:pt x="433" y="263"/>
                    </a:lnTo>
                    <a:lnTo>
                      <a:pt x="341" y="341"/>
                    </a:lnTo>
                    <a:lnTo>
                      <a:pt x="276" y="420"/>
                    </a:lnTo>
                    <a:lnTo>
                      <a:pt x="197" y="512"/>
                    </a:lnTo>
                    <a:lnTo>
                      <a:pt x="144" y="604"/>
                    </a:lnTo>
                    <a:lnTo>
                      <a:pt x="92" y="709"/>
                    </a:lnTo>
                    <a:lnTo>
                      <a:pt x="52" y="814"/>
                    </a:lnTo>
                    <a:lnTo>
                      <a:pt x="26" y="932"/>
                    </a:lnTo>
                    <a:lnTo>
                      <a:pt x="13" y="1037"/>
                    </a:lnTo>
                    <a:lnTo>
                      <a:pt x="0" y="1168"/>
                    </a:lnTo>
                    <a:lnTo>
                      <a:pt x="0" y="4657"/>
                    </a:lnTo>
                    <a:lnTo>
                      <a:pt x="13" y="4775"/>
                    </a:lnTo>
                    <a:lnTo>
                      <a:pt x="26" y="4894"/>
                    </a:lnTo>
                    <a:lnTo>
                      <a:pt x="52" y="4999"/>
                    </a:lnTo>
                    <a:lnTo>
                      <a:pt x="92" y="5103"/>
                    </a:lnTo>
                    <a:lnTo>
                      <a:pt x="144" y="5208"/>
                    </a:lnTo>
                    <a:lnTo>
                      <a:pt x="197" y="5300"/>
                    </a:lnTo>
                    <a:lnTo>
                      <a:pt x="276" y="5392"/>
                    </a:lnTo>
                    <a:lnTo>
                      <a:pt x="341" y="5484"/>
                    </a:lnTo>
                    <a:lnTo>
                      <a:pt x="433" y="5550"/>
                    </a:lnTo>
                    <a:lnTo>
                      <a:pt x="512" y="5615"/>
                    </a:lnTo>
                    <a:lnTo>
                      <a:pt x="617" y="5681"/>
                    </a:lnTo>
                    <a:lnTo>
                      <a:pt x="722" y="5733"/>
                    </a:lnTo>
                    <a:lnTo>
                      <a:pt x="827" y="5773"/>
                    </a:lnTo>
                    <a:lnTo>
                      <a:pt x="931" y="5799"/>
                    </a:lnTo>
                    <a:lnTo>
                      <a:pt x="1050" y="5812"/>
                    </a:lnTo>
                    <a:lnTo>
                      <a:pt x="1168" y="5825"/>
                    </a:lnTo>
                    <a:lnTo>
                      <a:pt x="1286" y="5812"/>
                    </a:lnTo>
                    <a:lnTo>
                      <a:pt x="1404" y="5799"/>
                    </a:lnTo>
                    <a:lnTo>
                      <a:pt x="1509" y="5773"/>
                    </a:lnTo>
                    <a:lnTo>
                      <a:pt x="1627" y="5733"/>
                    </a:lnTo>
                    <a:lnTo>
                      <a:pt x="1719" y="5681"/>
                    </a:lnTo>
                    <a:lnTo>
                      <a:pt x="1824" y="5615"/>
                    </a:lnTo>
                    <a:lnTo>
                      <a:pt x="1915" y="5550"/>
                    </a:lnTo>
                    <a:lnTo>
                      <a:pt x="1994" y="5484"/>
                    </a:lnTo>
                    <a:lnTo>
                      <a:pt x="2073" y="5392"/>
                    </a:lnTo>
                    <a:lnTo>
                      <a:pt x="2138" y="5300"/>
                    </a:lnTo>
                    <a:lnTo>
                      <a:pt x="2191" y="5208"/>
                    </a:lnTo>
                    <a:lnTo>
                      <a:pt x="2243" y="5103"/>
                    </a:lnTo>
                    <a:lnTo>
                      <a:pt x="2283" y="4999"/>
                    </a:lnTo>
                    <a:lnTo>
                      <a:pt x="2309" y="4894"/>
                    </a:lnTo>
                    <a:lnTo>
                      <a:pt x="2322" y="4775"/>
                    </a:lnTo>
                    <a:lnTo>
                      <a:pt x="2335" y="4657"/>
                    </a:lnTo>
                    <a:lnTo>
                      <a:pt x="2335" y="1168"/>
                    </a:lnTo>
                    <a:lnTo>
                      <a:pt x="2322" y="1037"/>
                    </a:lnTo>
                    <a:lnTo>
                      <a:pt x="2309" y="932"/>
                    </a:lnTo>
                    <a:lnTo>
                      <a:pt x="2283" y="814"/>
                    </a:lnTo>
                    <a:lnTo>
                      <a:pt x="2243" y="709"/>
                    </a:lnTo>
                    <a:lnTo>
                      <a:pt x="2191" y="604"/>
                    </a:lnTo>
                    <a:lnTo>
                      <a:pt x="2138" y="512"/>
                    </a:lnTo>
                    <a:lnTo>
                      <a:pt x="2073" y="420"/>
                    </a:lnTo>
                    <a:lnTo>
                      <a:pt x="1994" y="341"/>
                    </a:lnTo>
                    <a:lnTo>
                      <a:pt x="1915" y="263"/>
                    </a:lnTo>
                    <a:lnTo>
                      <a:pt x="1824" y="197"/>
                    </a:lnTo>
                    <a:lnTo>
                      <a:pt x="1719" y="131"/>
                    </a:lnTo>
                    <a:lnTo>
                      <a:pt x="1627" y="92"/>
                    </a:lnTo>
                    <a:lnTo>
                      <a:pt x="1509" y="53"/>
                    </a:lnTo>
                    <a:lnTo>
                      <a:pt x="1404" y="26"/>
                    </a:lnTo>
                    <a:lnTo>
                      <a:pt x="128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0" name="Google Shape;2450;p45"/>
              <p:cNvSpPr/>
              <p:nvPr/>
            </p:nvSpPr>
            <p:spPr>
              <a:xfrm>
                <a:off x="1891747" y="1544617"/>
                <a:ext cx="591309" cy="702240"/>
              </a:xfrm>
              <a:custGeom>
                <a:avLst/>
                <a:gdLst/>
                <a:ahLst/>
                <a:cxnLst/>
                <a:rect l="l" t="t" r="r" b="b"/>
                <a:pathLst>
                  <a:path w="32942" h="39122" extrusionOk="0">
                    <a:moveTo>
                      <a:pt x="19009" y="1"/>
                    </a:moveTo>
                    <a:lnTo>
                      <a:pt x="18695" y="27"/>
                    </a:lnTo>
                    <a:lnTo>
                      <a:pt x="18406" y="93"/>
                    </a:lnTo>
                    <a:lnTo>
                      <a:pt x="18130" y="171"/>
                    </a:lnTo>
                    <a:lnTo>
                      <a:pt x="17881" y="276"/>
                    </a:lnTo>
                    <a:lnTo>
                      <a:pt x="17645" y="407"/>
                    </a:lnTo>
                    <a:lnTo>
                      <a:pt x="17422" y="552"/>
                    </a:lnTo>
                    <a:lnTo>
                      <a:pt x="17238" y="709"/>
                    </a:lnTo>
                    <a:lnTo>
                      <a:pt x="17055" y="893"/>
                    </a:lnTo>
                    <a:lnTo>
                      <a:pt x="16897" y="1090"/>
                    </a:lnTo>
                    <a:lnTo>
                      <a:pt x="16766" y="1299"/>
                    </a:lnTo>
                    <a:lnTo>
                      <a:pt x="16648" y="1523"/>
                    </a:lnTo>
                    <a:lnTo>
                      <a:pt x="16556" y="1746"/>
                    </a:lnTo>
                    <a:lnTo>
                      <a:pt x="16478" y="1982"/>
                    </a:lnTo>
                    <a:lnTo>
                      <a:pt x="16412" y="2231"/>
                    </a:lnTo>
                    <a:lnTo>
                      <a:pt x="16373" y="2480"/>
                    </a:lnTo>
                    <a:lnTo>
                      <a:pt x="16359" y="2729"/>
                    </a:lnTo>
                    <a:lnTo>
                      <a:pt x="16281" y="2848"/>
                    </a:lnTo>
                    <a:lnTo>
                      <a:pt x="16254" y="2848"/>
                    </a:lnTo>
                    <a:lnTo>
                      <a:pt x="15874" y="2874"/>
                    </a:lnTo>
                    <a:lnTo>
                      <a:pt x="15507" y="2913"/>
                    </a:lnTo>
                    <a:lnTo>
                      <a:pt x="15152" y="2952"/>
                    </a:lnTo>
                    <a:lnTo>
                      <a:pt x="14798" y="2992"/>
                    </a:lnTo>
                    <a:lnTo>
                      <a:pt x="14457" y="3044"/>
                    </a:lnTo>
                    <a:lnTo>
                      <a:pt x="14116" y="3110"/>
                    </a:lnTo>
                    <a:lnTo>
                      <a:pt x="13788" y="3175"/>
                    </a:lnTo>
                    <a:lnTo>
                      <a:pt x="13460" y="3254"/>
                    </a:lnTo>
                    <a:lnTo>
                      <a:pt x="13145" y="3333"/>
                    </a:lnTo>
                    <a:lnTo>
                      <a:pt x="12830" y="3425"/>
                    </a:lnTo>
                    <a:lnTo>
                      <a:pt x="12516" y="3517"/>
                    </a:lnTo>
                    <a:lnTo>
                      <a:pt x="12214" y="3622"/>
                    </a:lnTo>
                    <a:lnTo>
                      <a:pt x="11925" y="3726"/>
                    </a:lnTo>
                    <a:lnTo>
                      <a:pt x="11637" y="3845"/>
                    </a:lnTo>
                    <a:lnTo>
                      <a:pt x="11348" y="3963"/>
                    </a:lnTo>
                    <a:lnTo>
                      <a:pt x="11072" y="4094"/>
                    </a:lnTo>
                    <a:lnTo>
                      <a:pt x="10810" y="4238"/>
                    </a:lnTo>
                    <a:lnTo>
                      <a:pt x="10548" y="4382"/>
                    </a:lnTo>
                    <a:lnTo>
                      <a:pt x="10285" y="4527"/>
                    </a:lnTo>
                    <a:lnTo>
                      <a:pt x="10036" y="4684"/>
                    </a:lnTo>
                    <a:lnTo>
                      <a:pt x="9800" y="4842"/>
                    </a:lnTo>
                    <a:lnTo>
                      <a:pt x="9551" y="5012"/>
                    </a:lnTo>
                    <a:lnTo>
                      <a:pt x="9328" y="5183"/>
                    </a:lnTo>
                    <a:lnTo>
                      <a:pt x="9105" y="5366"/>
                    </a:lnTo>
                    <a:lnTo>
                      <a:pt x="8882" y="5550"/>
                    </a:lnTo>
                    <a:lnTo>
                      <a:pt x="8672" y="5747"/>
                    </a:lnTo>
                    <a:lnTo>
                      <a:pt x="8462" y="5944"/>
                    </a:lnTo>
                    <a:lnTo>
                      <a:pt x="8252" y="6154"/>
                    </a:lnTo>
                    <a:lnTo>
                      <a:pt x="8068" y="6363"/>
                    </a:lnTo>
                    <a:lnTo>
                      <a:pt x="7871" y="6586"/>
                    </a:lnTo>
                    <a:lnTo>
                      <a:pt x="7688" y="6809"/>
                    </a:lnTo>
                    <a:lnTo>
                      <a:pt x="7517" y="7032"/>
                    </a:lnTo>
                    <a:lnTo>
                      <a:pt x="7347" y="7269"/>
                    </a:lnTo>
                    <a:lnTo>
                      <a:pt x="7176" y="7505"/>
                    </a:lnTo>
                    <a:lnTo>
                      <a:pt x="7019" y="7754"/>
                    </a:lnTo>
                    <a:lnTo>
                      <a:pt x="6874" y="8003"/>
                    </a:lnTo>
                    <a:lnTo>
                      <a:pt x="6730" y="8266"/>
                    </a:lnTo>
                    <a:lnTo>
                      <a:pt x="6586" y="8515"/>
                    </a:lnTo>
                    <a:lnTo>
                      <a:pt x="6323" y="9066"/>
                    </a:lnTo>
                    <a:lnTo>
                      <a:pt x="6087" y="9617"/>
                    </a:lnTo>
                    <a:lnTo>
                      <a:pt x="5877" y="10194"/>
                    </a:lnTo>
                    <a:lnTo>
                      <a:pt x="5681" y="10798"/>
                    </a:lnTo>
                    <a:lnTo>
                      <a:pt x="5523" y="11414"/>
                    </a:lnTo>
                    <a:lnTo>
                      <a:pt x="5379" y="12057"/>
                    </a:lnTo>
                    <a:lnTo>
                      <a:pt x="5261" y="12713"/>
                    </a:lnTo>
                    <a:lnTo>
                      <a:pt x="5169" y="13395"/>
                    </a:lnTo>
                    <a:lnTo>
                      <a:pt x="5090" y="14077"/>
                    </a:lnTo>
                    <a:lnTo>
                      <a:pt x="5051" y="14799"/>
                    </a:lnTo>
                    <a:lnTo>
                      <a:pt x="5025" y="15520"/>
                    </a:lnTo>
                    <a:lnTo>
                      <a:pt x="5025" y="16255"/>
                    </a:lnTo>
                    <a:lnTo>
                      <a:pt x="5051" y="17016"/>
                    </a:lnTo>
                    <a:lnTo>
                      <a:pt x="5025" y="17803"/>
                    </a:lnTo>
                    <a:lnTo>
                      <a:pt x="4985" y="18577"/>
                    </a:lnTo>
                    <a:lnTo>
                      <a:pt x="4920" y="19351"/>
                    </a:lnTo>
                    <a:lnTo>
                      <a:pt x="4841" y="20112"/>
                    </a:lnTo>
                    <a:lnTo>
                      <a:pt x="4736" y="20873"/>
                    </a:lnTo>
                    <a:lnTo>
                      <a:pt x="4618" y="21634"/>
                    </a:lnTo>
                    <a:lnTo>
                      <a:pt x="4461" y="22382"/>
                    </a:lnTo>
                    <a:lnTo>
                      <a:pt x="4303" y="23130"/>
                    </a:lnTo>
                    <a:lnTo>
                      <a:pt x="4106" y="23877"/>
                    </a:lnTo>
                    <a:lnTo>
                      <a:pt x="3896" y="24612"/>
                    </a:lnTo>
                    <a:lnTo>
                      <a:pt x="3673" y="25334"/>
                    </a:lnTo>
                    <a:lnTo>
                      <a:pt x="3424" y="26068"/>
                    </a:lnTo>
                    <a:lnTo>
                      <a:pt x="3149" y="26790"/>
                    </a:lnTo>
                    <a:lnTo>
                      <a:pt x="2860" y="27498"/>
                    </a:lnTo>
                    <a:lnTo>
                      <a:pt x="2545" y="28220"/>
                    </a:lnTo>
                    <a:lnTo>
                      <a:pt x="2204" y="28928"/>
                    </a:lnTo>
                    <a:lnTo>
                      <a:pt x="2020" y="29309"/>
                    </a:lnTo>
                    <a:lnTo>
                      <a:pt x="1811" y="29715"/>
                    </a:lnTo>
                    <a:lnTo>
                      <a:pt x="1338" y="30594"/>
                    </a:lnTo>
                    <a:lnTo>
                      <a:pt x="1102" y="31067"/>
                    </a:lnTo>
                    <a:lnTo>
                      <a:pt x="879" y="31552"/>
                    </a:lnTo>
                    <a:lnTo>
                      <a:pt x="656" y="32050"/>
                    </a:lnTo>
                    <a:lnTo>
                      <a:pt x="459" y="32549"/>
                    </a:lnTo>
                    <a:lnTo>
                      <a:pt x="289" y="33047"/>
                    </a:lnTo>
                    <a:lnTo>
                      <a:pt x="223" y="33310"/>
                    </a:lnTo>
                    <a:lnTo>
                      <a:pt x="158" y="33559"/>
                    </a:lnTo>
                    <a:lnTo>
                      <a:pt x="105" y="33808"/>
                    </a:lnTo>
                    <a:lnTo>
                      <a:pt x="53" y="34058"/>
                    </a:lnTo>
                    <a:lnTo>
                      <a:pt x="26" y="34307"/>
                    </a:lnTo>
                    <a:lnTo>
                      <a:pt x="13" y="34556"/>
                    </a:lnTo>
                    <a:lnTo>
                      <a:pt x="0" y="34792"/>
                    </a:lnTo>
                    <a:lnTo>
                      <a:pt x="13" y="35042"/>
                    </a:lnTo>
                    <a:lnTo>
                      <a:pt x="39" y="35278"/>
                    </a:lnTo>
                    <a:lnTo>
                      <a:pt x="79" y="35501"/>
                    </a:lnTo>
                    <a:lnTo>
                      <a:pt x="144" y="35737"/>
                    </a:lnTo>
                    <a:lnTo>
                      <a:pt x="210" y="35960"/>
                    </a:lnTo>
                    <a:lnTo>
                      <a:pt x="315" y="36183"/>
                    </a:lnTo>
                    <a:lnTo>
                      <a:pt x="420" y="36393"/>
                    </a:lnTo>
                    <a:lnTo>
                      <a:pt x="538" y="36563"/>
                    </a:lnTo>
                    <a:lnTo>
                      <a:pt x="656" y="36734"/>
                    </a:lnTo>
                    <a:lnTo>
                      <a:pt x="787" y="36891"/>
                    </a:lnTo>
                    <a:lnTo>
                      <a:pt x="932" y="37036"/>
                    </a:lnTo>
                    <a:lnTo>
                      <a:pt x="1089" y="37180"/>
                    </a:lnTo>
                    <a:lnTo>
                      <a:pt x="1246" y="37311"/>
                    </a:lnTo>
                    <a:lnTo>
                      <a:pt x="1417" y="37429"/>
                    </a:lnTo>
                    <a:lnTo>
                      <a:pt x="1587" y="37547"/>
                    </a:lnTo>
                    <a:lnTo>
                      <a:pt x="1771" y="37652"/>
                    </a:lnTo>
                    <a:lnTo>
                      <a:pt x="1968" y="37757"/>
                    </a:lnTo>
                    <a:lnTo>
                      <a:pt x="2152" y="37849"/>
                    </a:lnTo>
                    <a:lnTo>
                      <a:pt x="2362" y="37928"/>
                    </a:lnTo>
                    <a:lnTo>
                      <a:pt x="2558" y="38006"/>
                    </a:lnTo>
                    <a:lnTo>
                      <a:pt x="2768" y="38072"/>
                    </a:lnTo>
                    <a:lnTo>
                      <a:pt x="3201" y="38190"/>
                    </a:lnTo>
                    <a:lnTo>
                      <a:pt x="3634" y="38269"/>
                    </a:lnTo>
                    <a:lnTo>
                      <a:pt x="4080" y="38334"/>
                    </a:lnTo>
                    <a:lnTo>
                      <a:pt x="4513" y="38374"/>
                    </a:lnTo>
                    <a:lnTo>
                      <a:pt x="4959" y="38374"/>
                    </a:lnTo>
                    <a:lnTo>
                      <a:pt x="5379" y="38361"/>
                    </a:lnTo>
                    <a:lnTo>
                      <a:pt x="5799" y="38334"/>
                    </a:lnTo>
                    <a:lnTo>
                      <a:pt x="6205" y="38282"/>
                    </a:lnTo>
                    <a:lnTo>
                      <a:pt x="6573" y="38203"/>
                    </a:lnTo>
                    <a:lnTo>
                      <a:pt x="6874" y="38125"/>
                    </a:lnTo>
                    <a:lnTo>
                      <a:pt x="7163" y="38033"/>
                    </a:lnTo>
                    <a:lnTo>
                      <a:pt x="7452" y="37941"/>
                    </a:lnTo>
                    <a:lnTo>
                      <a:pt x="7727" y="37836"/>
                    </a:lnTo>
                    <a:lnTo>
                      <a:pt x="7990" y="37705"/>
                    </a:lnTo>
                    <a:lnTo>
                      <a:pt x="8252" y="37574"/>
                    </a:lnTo>
                    <a:lnTo>
                      <a:pt x="8514" y="37442"/>
                    </a:lnTo>
                    <a:lnTo>
                      <a:pt x="8764" y="37285"/>
                    </a:lnTo>
                    <a:lnTo>
                      <a:pt x="8987" y="37521"/>
                    </a:lnTo>
                    <a:lnTo>
                      <a:pt x="9236" y="37731"/>
                    </a:lnTo>
                    <a:lnTo>
                      <a:pt x="9472" y="37928"/>
                    </a:lnTo>
                    <a:lnTo>
                      <a:pt x="9721" y="38111"/>
                    </a:lnTo>
                    <a:lnTo>
                      <a:pt x="9984" y="38282"/>
                    </a:lnTo>
                    <a:lnTo>
                      <a:pt x="10246" y="38426"/>
                    </a:lnTo>
                    <a:lnTo>
                      <a:pt x="10522" y="38571"/>
                    </a:lnTo>
                    <a:lnTo>
                      <a:pt x="10784" y="38689"/>
                    </a:lnTo>
                    <a:lnTo>
                      <a:pt x="11059" y="38794"/>
                    </a:lnTo>
                    <a:lnTo>
                      <a:pt x="11348" y="38885"/>
                    </a:lnTo>
                    <a:lnTo>
                      <a:pt x="11637" y="38951"/>
                    </a:lnTo>
                    <a:lnTo>
                      <a:pt x="11925" y="39017"/>
                    </a:lnTo>
                    <a:lnTo>
                      <a:pt x="12214" y="39056"/>
                    </a:lnTo>
                    <a:lnTo>
                      <a:pt x="12502" y="39095"/>
                    </a:lnTo>
                    <a:lnTo>
                      <a:pt x="12791" y="39108"/>
                    </a:lnTo>
                    <a:lnTo>
                      <a:pt x="13093" y="39122"/>
                    </a:lnTo>
                    <a:lnTo>
                      <a:pt x="13395" y="39108"/>
                    </a:lnTo>
                    <a:lnTo>
                      <a:pt x="13683" y="39095"/>
                    </a:lnTo>
                    <a:lnTo>
                      <a:pt x="13985" y="39056"/>
                    </a:lnTo>
                    <a:lnTo>
                      <a:pt x="14274" y="39017"/>
                    </a:lnTo>
                    <a:lnTo>
                      <a:pt x="14575" y="38951"/>
                    </a:lnTo>
                    <a:lnTo>
                      <a:pt x="14877" y="38885"/>
                    </a:lnTo>
                    <a:lnTo>
                      <a:pt x="15166" y="38807"/>
                    </a:lnTo>
                    <a:lnTo>
                      <a:pt x="15454" y="38715"/>
                    </a:lnTo>
                    <a:lnTo>
                      <a:pt x="15743" y="38623"/>
                    </a:lnTo>
                    <a:lnTo>
                      <a:pt x="16031" y="38505"/>
                    </a:lnTo>
                    <a:lnTo>
                      <a:pt x="16320" y="38387"/>
                    </a:lnTo>
                    <a:lnTo>
                      <a:pt x="16596" y="38256"/>
                    </a:lnTo>
                    <a:lnTo>
                      <a:pt x="16871" y="38111"/>
                    </a:lnTo>
                    <a:lnTo>
                      <a:pt x="17133" y="37967"/>
                    </a:lnTo>
                    <a:lnTo>
                      <a:pt x="17409" y="37810"/>
                    </a:lnTo>
                    <a:lnTo>
                      <a:pt x="17671" y="37639"/>
                    </a:lnTo>
                    <a:lnTo>
                      <a:pt x="17684" y="37652"/>
                    </a:lnTo>
                    <a:lnTo>
                      <a:pt x="17881" y="37757"/>
                    </a:lnTo>
                    <a:lnTo>
                      <a:pt x="18078" y="37862"/>
                    </a:lnTo>
                    <a:lnTo>
                      <a:pt x="18275" y="37954"/>
                    </a:lnTo>
                    <a:lnTo>
                      <a:pt x="18485" y="38046"/>
                    </a:lnTo>
                    <a:lnTo>
                      <a:pt x="18681" y="38111"/>
                    </a:lnTo>
                    <a:lnTo>
                      <a:pt x="18891" y="38190"/>
                    </a:lnTo>
                    <a:lnTo>
                      <a:pt x="19088" y="38243"/>
                    </a:lnTo>
                    <a:lnTo>
                      <a:pt x="19298" y="38295"/>
                    </a:lnTo>
                    <a:lnTo>
                      <a:pt x="19705" y="38374"/>
                    </a:lnTo>
                    <a:lnTo>
                      <a:pt x="20125" y="38426"/>
                    </a:lnTo>
                    <a:lnTo>
                      <a:pt x="20531" y="38453"/>
                    </a:lnTo>
                    <a:lnTo>
                      <a:pt x="20951" y="38439"/>
                    </a:lnTo>
                    <a:lnTo>
                      <a:pt x="21358" y="38400"/>
                    </a:lnTo>
                    <a:lnTo>
                      <a:pt x="21751" y="38321"/>
                    </a:lnTo>
                    <a:lnTo>
                      <a:pt x="22145" y="38216"/>
                    </a:lnTo>
                    <a:lnTo>
                      <a:pt x="22538" y="38085"/>
                    </a:lnTo>
                    <a:lnTo>
                      <a:pt x="22919" y="37928"/>
                    </a:lnTo>
                    <a:lnTo>
                      <a:pt x="23103" y="37836"/>
                    </a:lnTo>
                    <a:lnTo>
                      <a:pt x="23273" y="37731"/>
                    </a:lnTo>
                    <a:lnTo>
                      <a:pt x="23457" y="37626"/>
                    </a:lnTo>
                    <a:lnTo>
                      <a:pt x="23627" y="37508"/>
                    </a:lnTo>
                    <a:lnTo>
                      <a:pt x="23798" y="37390"/>
                    </a:lnTo>
                    <a:lnTo>
                      <a:pt x="23968" y="37259"/>
                    </a:lnTo>
                    <a:lnTo>
                      <a:pt x="24244" y="37429"/>
                    </a:lnTo>
                    <a:lnTo>
                      <a:pt x="24533" y="37587"/>
                    </a:lnTo>
                    <a:lnTo>
                      <a:pt x="24834" y="37731"/>
                    </a:lnTo>
                    <a:lnTo>
                      <a:pt x="25149" y="37875"/>
                    </a:lnTo>
                    <a:lnTo>
                      <a:pt x="25477" y="38006"/>
                    </a:lnTo>
                    <a:lnTo>
                      <a:pt x="25805" y="38125"/>
                    </a:lnTo>
                    <a:lnTo>
                      <a:pt x="26159" y="38243"/>
                    </a:lnTo>
                    <a:lnTo>
                      <a:pt x="26514" y="38334"/>
                    </a:lnTo>
                    <a:lnTo>
                      <a:pt x="26868" y="38426"/>
                    </a:lnTo>
                    <a:lnTo>
                      <a:pt x="27222" y="38492"/>
                    </a:lnTo>
                    <a:lnTo>
                      <a:pt x="27589" y="38557"/>
                    </a:lnTo>
                    <a:lnTo>
                      <a:pt x="27957" y="38597"/>
                    </a:lnTo>
                    <a:lnTo>
                      <a:pt x="28311" y="38623"/>
                    </a:lnTo>
                    <a:lnTo>
                      <a:pt x="28678" y="38636"/>
                    </a:lnTo>
                    <a:lnTo>
                      <a:pt x="29032" y="38636"/>
                    </a:lnTo>
                    <a:lnTo>
                      <a:pt x="29387" y="38610"/>
                    </a:lnTo>
                    <a:lnTo>
                      <a:pt x="29728" y="38571"/>
                    </a:lnTo>
                    <a:lnTo>
                      <a:pt x="30056" y="38505"/>
                    </a:lnTo>
                    <a:lnTo>
                      <a:pt x="30384" y="38426"/>
                    </a:lnTo>
                    <a:lnTo>
                      <a:pt x="30698" y="38334"/>
                    </a:lnTo>
                    <a:lnTo>
                      <a:pt x="30987" y="38203"/>
                    </a:lnTo>
                    <a:lnTo>
                      <a:pt x="31276" y="38059"/>
                    </a:lnTo>
                    <a:lnTo>
                      <a:pt x="31538" y="37902"/>
                    </a:lnTo>
                    <a:lnTo>
                      <a:pt x="31787" y="37705"/>
                    </a:lnTo>
                    <a:lnTo>
                      <a:pt x="31905" y="37600"/>
                    </a:lnTo>
                    <a:lnTo>
                      <a:pt x="32023" y="37495"/>
                    </a:lnTo>
                    <a:lnTo>
                      <a:pt x="32128" y="37377"/>
                    </a:lnTo>
                    <a:lnTo>
                      <a:pt x="32233" y="37246"/>
                    </a:lnTo>
                    <a:lnTo>
                      <a:pt x="32325" y="37128"/>
                    </a:lnTo>
                    <a:lnTo>
                      <a:pt x="32417" y="36983"/>
                    </a:lnTo>
                    <a:lnTo>
                      <a:pt x="32496" y="36839"/>
                    </a:lnTo>
                    <a:lnTo>
                      <a:pt x="32574" y="36695"/>
                    </a:lnTo>
                    <a:lnTo>
                      <a:pt x="32640" y="36537"/>
                    </a:lnTo>
                    <a:lnTo>
                      <a:pt x="32706" y="36380"/>
                    </a:lnTo>
                    <a:lnTo>
                      <a:pt x="32758" y="36209"/>
                    </a:lnTo>
                    <a:lnTo>
                      <a:pt x="32811" y="36026"/>
                    </a:lnTo>
                    <a:lnTo>
                      <a:pt x="32850" y="35842"/>
                    </a:lnTo>
                    <a:lnTo>
                      <a:pt x="32889" y="35645"/>
                    </a:lnTo>
                    <a:lnTo>
                      <a:pt x="32916" y="35448"/>
                    </a:lnTo>
                    <a:lnTo>
                      <a:pt x="32942" y="35238"/>
                    </a:lnTo>
                    <a:lnTo>
                      <a:pt x="32942" y="35002"/>
                    </a:lnTo>
                    <a:lnTo>
                      <a:pt x="32942" y="34779"/>
                    </a:lnTo>
                    <a:lnTo>
                      <a:pt x="32942" y="34543"/>
                    </a:lnTo>
                    <a:lnTo>
                      <a:pt x="32916" y="34320"/>
                    </a:lnTo>
                    <a:lnTo>
                      <a:pt x="32889" y="34097"/>
                    </a:lnTo>
                    <a:lnTo>
                      <a:pt x="32850" y="33887"/>
                    </a:lnTo>
                    <a:lnTo>
                      <a:pt x="32811" y="33664"/>
                    </a:lnTo>
                    <a:lnTo>
                      <a:pt x="32758" y="33454"/>
                    </a:lnTo>
                    <a:lnTo>
                      <a:pt x="32627" y="33021"/>
                    </a:lnTo>
                    <a:lnTo>
                      <a:pt x="32470" y="32615"/>
                    </a:lnTo>
                    <a:lnTo>
                      <a:pt x="32286" y="32208"/>
                    </a:lnTo>
                    <a:lnTo>
                      <a:pt x="32089" y="31801"/>
                    </a:lnTo>
                    <a:lnTo>
                      <a:pt x="31879" y="31408"/>
                    </a:lnTo>
                    <a:lnTo>
                      <a:pt x="31656" y="31014"/>
                    </a:lnTo>
                    <a:lnTo>
                      <a:pt x="31197" y="30240"/>
                    </a:lnTo>
                    <a:lnTo>
                      <a:pt x="30751" y="29453"/>
                    </a:lnTo>
                    <a:lnTo>
                      <a:pt x="30528" y="29059"/>
                    </a:lnTo>
                    <a:lnTo>
                      <a:pt x="30318" y="28666"/>
                    </a:lnTo>
                    <a:lnTo>
                      <a:pt x="30174" y="28351"/>
                    </a:lnTo>
                    <a:lnTo>
                      <a:pt x="30029" y="28023"/>
                    </a:lnTo>
                    <a:lnTo>
                      <a:pt x="29898" y="27695"/>
                    </a:lnTo>
                    <a:lnTo>
                      <a:pt x="29767" y="27367"/>
                    </a:lnTo>
                    <a:lnTo>
                      <a:pt x="29636" y="26960"/>
                    </a:lnTo>
                    <a:lnTo>
                      <a:pt x="29518" y="26540"/>
                    </a:lnTo>
                    <a:lnTo>
                      <a:pt x="29413" y="26108"/>
                    </a:lnTo>
                    <a:lnTo>
                      <a:pt x="29321" y="25661"/>
                    </a:lnTo>
                    <a:lnTo>
                      <a:pt x="29242" y="25215"/>
                    </a:lnTo>
                    <a:lnTo>
                      <a:pt x="29177" y="24756"/>
                    </a:lnTo>
                    <a:lnTo>
                      <a:pt x="29111" y="24297"/>
                    </a:lnTo>
                    <a:lnTo>
                      <a:pt x="29072" y="23825"/>
                    </a:lnTo>
                    <a:lnTo>
                      <a:pt x="29032" y="23366"/>
                    </a:lnTo>
                    <a:lnTo>
                      <a:pt x="29006" y="22893"/>
                    </a:lnTo>
                    <a:lnTo>
                      <a:pt x="28967" y="21962"/>
                    </a:lnTo>
                    <a:lnTo>
                      <a:pt x="28954" y="21057"/>
                    </a:lnTo>
                    <a:lnTo>
                      <a:pt x="28941" y="20178"/>
                    </a:lnTo>
                    <a:lnTo>
                      <a:pt x="28954" y="19496"/>
                    </a:lnTo>
                    <a:lnTo>
                      <a:pt x="28980" y="18840"/>
                    </a:lnTo>
                    <a:lnTo>
                      <a:pt x="29019" y="18184"/>
                    </a:lnTo>
                    <a:lnTo>
                      <a:pt x="29072" y="17554"/>
                    </a:lnTo>
                    <a:lnTo>
                      <a:pt x="29177" y="16268"/>
                    </a:lnTo>
                    <a:lnTo>
                      <a:pt x="29216" y="15639"/>
                    </a:lnTo>
                    <a:lnTo>
                      <a:pt x="29255" y="14996"/>
                    </a:lnTo>
                    <a:lnTo>
                      <a:pt x="29255" y="14340"/>
                    </a:lnTo>
                    <a:lnTo>
                      <a:pt x="29242" y="13671"/>
                    </a:lnTo>
                    <a:lnTo>
                      <a:pt x="29216" y="13330"/>
                    </a:lnTo>
                    <a:lnTo>
                      <a:pt x="29190" y="12975"/>
                    </a:lnTo>
                    <a:lnTo>
                      <a:pt x="29150" y="12634"/>
                    </a:lnTo>
                    <a:lnTo>
                      <a:pt x="29098" y="12280"/>
                    </a:lnTo>
                    <a:lnTo>
                      <a:pt x="29032" y="11913"/>
                    </a:lnTo>
                    <a:lnTo>
                      <a:pt x="28967" y="11545"/>
                    </a:lnTo>
                    <a:lnTo>
                      <a:pt x="28875" y="11165"/>
                    </a:lnTo>
                    <a:lnTo>
                      <a:pt x="28783" y="10785"/>
                    </a:lnTo>
                    <a:lnTo>
                      <a:pt x="28678" y="10391"/>
                    </a:lnTo>
                    <a:lnTo>
                      <a:pt x="28547" y="9997"/>
                    </a:lnTo>
                    <a:lnTo>
                      <a:pt x="28403" y="9591"/>
                    </a:lnTo>
                    <a:lnTo>
                      <a:pt x="28245" y="9171"/>
                    </a:lnTo>
                    <a:lnTo>
                      <a:pt x="28140" y="8935"/>
                    </a:lnTo>
                    <a:lnTo>
                      <a:pt x="28035" y="8685"/>
                    </a:lnTo>
                    <a:lnTo>
                      <a:pt x="27904" y="8462"/>
                    </a:lnTo>
                    <a:lnTo>
                      <a:pt x="27773" y="8226"/>
                    </a:lnTo>
                    <a:lnTo>
                      <a:pt x="27629" y="8016"/>
                    </a:lnTo>
                    <a:lnTo>
                      <a:pt x="27484" y="7807"/>
                    </a:lnTo>
                    <a:lnTo>
                      <a:pt x="27327" y="7597"/>
                    </a:lnTo>
                    <a:lnTo>
                      <a:pt x="27169" y="7400"/>
                    </a:lnTo>
                    <a:lnTo>
                      <a:pt x="26841" y="7032"/>
                    </a:lnTo>
                    <a:lnTo>
                      <a:pt x="26514" y="6691"/>
                    </a:lnTo>
                    <a:lnTo>
                      <a:pt x="26172" y="6377"/>
                    </a:lnTo>
                    <a:lnTo>
                      <a:pt x="25831" y="6088"/>
                    </a:lnTo>
                    <a:lnTo>
                      <a:pt x="25503" y="5839"/>
                    </a:lnTo>
                    <a:lnTo>
                      <a:pt x="25202" y="5629"/>
                    </a:lnTo>
                    <a:lnTo>
                      <a:pt x="24926" y="5445"/>
                    </a:lnTo>
                    <a:lnTo>
                      <a:pt x="24690" y="5288"/>
                    </a:lnTo>
                    <a:lnTo>
                      <a:pt x="24336" y="5091"/>
                    </a:lnTo>
                    <a:lnTo>
                      <a:pt x="24191" y="5025"/>
                    </a:lnTo>
                    <a:lnTo>
                      <a:pt x="24244" y="4789"/>
                    </a:lnTo>
                    <a:lnTo>
                      <a:pt x="24270" y="4553"/>
                    </a:lnTo>
                    <a:lnTo>
                      <a:pt x="24270" y="4304"/>
                    </a:lnTo>
                    <a:lnTo>
                      <a:pt x="24244" y="4068"/>
                    </a:lnTo>
                    <a:lnTo>
                      <a:pt x="24205" y="3831"/>
                    </a:lnTo>
                    <a:lnTo>
                      <a:pt x="24126" y="3608"/>
                    </a:lnTo>
                    <a:lnTo>
                      <a:pt x="24034" y="3385"/>
                    </a:lnTo>
                    <a:lnTo>
                      <a:pt x="23916" y="3175"/>
                    </a:lnTo>
                    <a:lnTo>
                      <a:pt x="23772" y="2992"/>
                    </a:lnTo>
                    <a:lnTo>
                      <a:pt x="23614" y="2821"/>
                    </a:lnTo>
                    <a:lnTo>
                      <a:pt x="23522" y="2743"/>
                    </a:lnTo>
                    <a:lnTo>
                      <a:pt x="23431" y="2664"/>
                    </a:lnTo>
                    <a:lnTo>
                      <a:pt x="23326" y="2598"/>
                    </a:lnTo>
                    <a:lnTo>
                      <a:pt x="23221" y="2546"/>
                    </a:lnTo>
                    <a:lnTo>
                      <a:pt x="23103" y="2493"/>
                    </a:lnTo>
                    <a:lnTo>
                      <a:pt x="22985" y="2441"/>
                    </a:lnTo>
                    <a:lnTo>
                      <a:pt x="22866" y="2401"/>
                    </a:lnTo>
                    <a:lnTo>
                      <a:pt x="22735" y="2375"/>
                    </a:lnTo>
                    <a:lnTo>
                      <a:pt x="22591" y="2349"/>
                    </a:lnTo>
                    <a:lnTo>
                      <a:pt x="22460" y="2336"/>
                    </a:lnTo>
                    <a:lnTo>
                      <a:pt x="22302" y="2323"/>
                    </a:lnTo>
                    <a:lnTo>
                      <a:pt x="22158" y="2336"/>
                    </a:lnTo>
                    <a:lnTo>
                      <a:pt x="22040" y="2349"/>
                    </a:lnTo>
                    <a:lnTo>
                      <a:pt x="21922" y="2362"/>
                    </a:lnTo>
                    <a:lnTo>
                      <a:pt x="21883" y="2126"/>
                    </a:lnTo>
                    <a:lnTo>
                      <a:pt x="21804" y="1890"/>
                    </a:lnTo>
                    <a:lnTo>
                      <a:pt x="21725" y="1654"/>
                    </a:lnTo>
                    <a:lnTo>
                      <a:pt x="21620" y="1431"/>
                    </a:lnTo>
                    <a:lnTo>
                      <a:pt x="21489" y="1221"/>
                    </a:lnTo>
                    <a:lnTo>
                      <a:pt x="21358" y="1024"/>
                    </a:lnTo>
                    <a:lnTo>
                      <a:pt x="21200" y="827"/>
                    </a:lnTo>
                    <a:lnTo>
                      <a:pt x="21030" y="657"/>
                    </a:lnTo>
                    <a:lnTo>
                      <a:pt x="20833" y="499"/>
                    </a:lnTo>
                    <a:lnTo>
                      <a:pt x="20623" y="368"/>
                    </a:lnTo>
                    <a:lnTo>
                      <a:pt x="20400" y="250"/>
                    </a:lnTo>
                    <a:lnTo>
                      <a:pt x="20151" y="145"/>
                    </a:lnTo>
                    <a:lnTo>
                      <a:pt x="19888" y="66"/>
                    </a:lnTo>
                    <a:lnTo>
                      <a:pt x="19613" y="27"/>
                    </a:lnTo>
                    <a:lnTo>
                      <a:pt x="1932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1" name="Google Shape;2451;p45"/>
              <p:cNvSpPr/>
              <p:nvPr/>
            </p:nvSpPr>
            <p:spPr>
              <a:xfrm>
                <a:off x="1989700" y="3428739"/>
                <a:ext cx="395636" cy="44767"/>
              </a:xfrm>
              <a:custGeom>
                <a:avLst/>
                <a:gdLst/>
                <a:ahLst/>
                <a:cxnLst/>
                <a:rect l="l" t="t" r="r" b="b"/>
                <a:pathLst>
                  <a:path w="22041" h="2494" extrusionOk="0">
                    <a:moveTo>
                      <a:pt x="1" y="1"/>
                    </a:moveTo>
                    <a:lnTo>
                      <a:pt x="14" y="250"/>
                    </a:lnTo>
                    <a:lnTo>
                      <a:pt x="53" y="499"/>
                    </a:lnTo>
                    <a:lnTo>
                      <a:pt x="106" y="736"/>
                    </a:lnTo>
                    <a:lnTo>
                      <a:pt x="197" y="972"/>
                    </a:lnTo>
                    <a:lnTo>
                      <a:pt x="302" y="1182"/>
                    </a:lnTo>
                    <a:lnTo>
                      <a:pt x="420" y="1392"/>
                    </a:lnTo>
                    <a:lnTo>
                      <a:pt x="565" y="1588"/>
                    </a:lnTo>
                    <a:lnTo>
                      <a:pt x="735" y="1759"/>
                    </a:lnTo>
                    <a:lnTo>
                      <a:pt x="906" y="1916"/>
                    </a:lnTo>
                    <a:lnTo>
                      <a:pt x="1103" y="2061"/>
                    </a:lnTo>
                    <a:lnTo>
                      <a:pt x="1299" y="2192"/>
                    </a:lnTo>
                    <a:lnTo>
                      <a:pt x="1522" y="2297"/>
                    </a:lnTo>
                    <a:lnTo>
                      <a:pt x="1759" y="2375"/>
                    </a:lnTo>
                    <a:lnTo>
                      <a:pt x="1995" y="2441"/>
                    </a:lnTo>
                    <a:lnTo>
                      <a:pt x="2244" y="2480"/>
                    </a:lnTo>
                    <a:lnTo>
                      <a:pt x="2493" y="2494"/>
                    </a:lnTo>
                    <a:lnTo>
                      <a:pt x="19548" y="2494"/>
                    </a:lnTo>
                    <a:lnTo>
                      <a:pt x="19797" y="2480"/>
                    </a:lnTo>
                    <a:lnTo>
                      <a:pt x="20046" y="2441"/>
                    </a:lnTo>
                    <a:lnTo>
                      <a:pt x="20282" y="2375"/>
                    </a:lnTo>
                    <a:lnTo>
                      <a:pt x="20519" y="2297"/>
                    </a:lnTo>
                    <a:lnTo>
                      <a:pt x="20729" y="2192"/>
                    </a:lnTo>
                    <a:lnTo>
                      <a:pt x="20938" y="2061"/>
                    </a:lnTo>
                    <a:lnTo>
                      <a:pt x="21135" y="1916"/>
                    </a:lnTo>
                    <a:lnTo>
                      <a:pt x="21306" y="1759"/>
                    </a:lnTo>
                    <a:lnTo>
                      <a:pt x="21476" y="1588"/>
                    </a:lnTo>
                    <a:lnTo>
                      <a:pt x="21621" y="1392"/>
                    </a:lnTo>
                    <a:lnTo>
                      <a:pt x="21739" y="1182"/>
                    </a:lnTo>
                    <a:lnTo>
                      <a:pt x="21844" y="972"/>
                    </a:lnTo>
                    <a:lnTo>
                      <a:pt x="21922" y="736"/>
                    </a:lnTo>
                    <a:lnTo>
                      <a:pt x="21988" y="499"/>
                    </a:lnTo>
                    <a:lnTo>
                      <a:pt x="22027" y="250"/>
                    </a:lnTo>
                    <a:lnTo>
                      <a:pt x="2204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44" name="Rectangle 45">
            <a:extLst>
              <a:ext uri="{FF2B5EF4-FFF2-40B4-BE49-F238E27FC236}">
                <a16:creationId xmlns:a16="http://schemas.microsoft.com/office/drawing/2014/main" id="{B11F1D21-DB22-4DDE-8E23-970964315A05}"/>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45" name="Google Shape;412;p18">
            <a:extLst>
              <a:ext uri="{FF2B5EF4-FFF2-40B4-BE49-F238E27FC236}">
                <a16:creationId xmlns:a16="http://schemas.microsoft.com/office/drawing/2014/main" id="{B94612BB-D85C-432D-A4A0-93D9D65D9980}"/>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MÔ HÌNH SUPPORT VECTOR MACHINE (SV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wipe(left)">
                                      <p:cBhvr>
                                        <p:cTn id="7"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18">
            <a:extLst>
              <a:ext uri="{FF2B5EF4-FFF2-40B4-BE49-F238E27FC236}">
                <a16:creationId xmlns:a16="http://schemas.microsoft.com/office/drawing/2014/main" id="{BFCBB098-4768-DB0C-21E2-066E235E6ED2}"/>
              </a:ext>
            </a:extLst>
          </p:cNvPr>
          <p:cNvSpPr/>
          <p:nvPr/>
        </p:nvSpPr>
        <p:spPr>
          <a:xfrm>
            <a:off x="533525" y="1242062"/>
            <a:ext cx="1761875" cy="56493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latin typeface="Tahoma" panose="020B0604030504040204" pitchFamily="34" charset="0"/>
                <a:ea typeface="Tahoma" panose="020B0604030504040204" pitchFamily="34" charset="0"/>
                <a:cs typeface="Tahoma" panose="020B0604030504040204" pitchFamily="34" charset="0"/>
              </a:rPr>
              <a:t>1</a:t>
            </a:r>
          </a:p>
        </p:txBody>
      </p:sp>
      <p:sp>
        <p:nvSpPr>
          <p:cNvPr id="4" name="Rectangle: Rounded Corners 23">
            <a:extLst>
              <a:ext uri="{FF2B5EF4-FFF2-40B4-BE49-F238E27FC236}">
                <a16:creationId xmlns:a16="http://schemas.microsoft.com/office/drawing/2014/main" id="{D8C69FE8-25DA-A290-8151-96384A784C1A}"/>
              </a:ext>
            </a:extLst>
          </p:cNvPr>
          <p:cNvSpPr/>
          <p:nvPr/>
        </p:nvSpPr>
        <p:spPr>
          <a:xfrm>
            <a:off x="533525" y="1806992"/>
            <a:ext cx="1761875" cy="1625331"/>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rPr>
              <a:t>Là một thuật toán học máy có giám sát</a:t>
            </a:r>
            <a:endParaRPr kumimoji="0" lang="en-US" b="1"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5" name="Diagonal Stripe 24">
            <a:extLst>
              <a:ext uri="{FF2B5EF4-FFF2-40B4-BE49-F238E27FC236}">
                <a16:creationId xmlns:a16="http://schemas.microsoft.com/office/drawing/2014/main" id="{266DDCBB-B127-15C3-5C9A-68D306B7CEBD}"/>
              </a:ext>
            </a:extLst>
          </p:cNvPr>
          <p:cNvSpPr/>
          <p:nvPr/>
        </p:nvSpPr>
        <p:spPr>
          <a:xfrm>
            <a:off x="1365820" y="3432323"/>
            <a:ext cx="929580" cy="968979"/>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Rounded Corners 23">
            <a:extLst>
              <a:ext uri="{FF2B5EF4-FFF2-40B4-BE49-F238E27FC236}">
                <a16:creationId xmlns:a16="http://schemas.microsoft.com/office/drawing/2014/main" id="{6D57186A-486D-7529-2186-B251C180B3C7}"/>
              </a:ext>
            </a:extLst>
          </p:cNvPr>
          <p:cNvSpPr/>
          <p:nvPr/>
        </p:nvSpPr>
        <p:spPr>
          <a:xfrm>
            <a:off x="2638550" y="1806992"/>
            <a:ext cx="1761875" cy="1625331"/>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rPr>
              <a:t>Mạnh mẽ trong các bài toán phân loại và hồi quy, với không gian dữ liệu có số chiều lớn</a:t>
            </a:r>
          </a:p>
        </p:txBody>
      </p:sp>
      <p:sp>
        <p:nvSpPr>
          <p:cNvPr id="7" name="Diagonal Stripe 24">
            <a:extLst>
              <a:ext uri="{FF2B5EF4-FFF2-40B4-BE49-F238E27FC236}">
                <a16:creationId xmlns:a16="http://schemas.microsoft.com/office/drawing/2014/main" id="{0D7C0A86-626A-8E17-AB24-672257ED0865}"/>
              </a:ext>
            </a:extLst>
          </p:cNvPr>
          <p:cNvSpPr/>
          <p:nvPr/>
        </p:nvSpPr>
        <p:spPr>
          <a:xfrm>
            <a:off x="3470845" y="3432323"/>
            <a:ext cx="929580" cy="968979"/>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Rounded Corners 23">
            <a:extLst>
              <a:ext uri="{FF2B5EF4-FFF2-40B4-BE49-F238E27FC236}">
                <a16:creationId xmlns:a16="http://schemas.microsoft.com/office/drawing/2014/main" id="{4325141F-607C-1E90-7240-A7E4677086D4}"/>
              </a:ext>
            </a:extLst>
          </p:cNvPr>
          <p:cNvSpPr/>
          <p:nvPr/>
        </p:nvSpPr>
        <p:spPr>
          <a:xfrm>
            <a:off x="4743575" y="1806992"/>
            <a:ext cx="1761875" cy="1625331"/>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rPr>
              <a:t>Maximum Margin Classifier và Hyperplane</a:t>
            </a:r>
            <a:endParaRPr kumimoji="0" lang="en-US" b="1"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9" name="Diagonal Stripe 24">
            <a:extLst>
              <a:ext uri="{FF2B5EF4-FFF2-40B4-BE49-F238E27FC236}">
                <a16:creationId xmlns:a16="http://schemas.microsoft.com/office/drawing/2014/main" id="{4D6A21F5-1D65-5168-D236-8684582FC999}"/>
              </a:ext>
            </a:extLst>
          </p:cNvPr>
          <p:cNvSpPr/>
          <p:nvPr/>
        </p:nvSpPr>
        <p:spPr>
          <a:xfrm>
            <a:off x="5575870" y="3432323"/>
            <a:ext cx="929580" cy="968979"/>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Rounded Corners 23">
            <a:extLst>
              <a:ext uri="{FF2B5EF4-FFF2-40B4-BE49-F238E27FC236}">
                <a16:creationId xmlns:a16="http://schemas.microsoft.com/office/drawing/2014/main" id="{0950DC08-28DC-0EE3-EB18-910F80DAED8D}"/>
              </a:ext>
            </a:extLst>
          </p:cNvPr>
          <p:cNvSpPr/>
          <p:nvPr/>
        </p:nvSpPr>
        <p:spPr>
          <a:xfrm>
            <a:off x="6848600" y="1806992"/>
            <a:ext cx="1761875" cy="1625331"/>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rPr>
              <a:t>Khái niệm Support Vectors</a:t>
            </a:r>
            <a:endParaRPr kumimoji="0" lang="en-VN" b="1"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11" name="Diagonal Stripe 24">
            <a:extLst>
              <a:ext uri="{FF2B5EF4-FFF2-40B4-BE49-F238E27FC236}">
                <a16:creationId xmlns:a16="http://schemas.microsoft.com/office/drawing/2014/main" id="{90ED6EE7-BFE3-EE74-611D-CA54DC5532E3}"/>
              </a:ext>
            </a:extLst>
          </p:cNvPr>
          <p:cNvSpPr/>
          <p:nvPr/>
        </p:nvSpPr>
        <p:spPr>
          <a:xfrm>
            <a:off x="7680895" y="3432323"/>
            <a:ext cx="929580" cy="968979"/>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2" name="Rectangle: Rounded Corners 18">
            <a:extLst>
              <a:ext uri="{FF2B5EF4-FFF2-40B4-BE49-F238E27FC236}">
                <a16:creationId xmlns:a16="http://schemas.microsoft.com/office/drawing/2014/main" id="{70B5A71B-566F-361E-7A42-725A15780D22}"/>
              </a:ext>
            </a:extLst>
          </p:cNvPr>
          <p:cNvSpPr/>
          <p:nvPr/>
        </p:nvSpPr>
        <p:spPr>
          <a:xfrm>
            <a:off x="2638550" y="1242062"/>
            <a:ext cx="1761875" cy="56493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latin typeface="Tahoma" panose="020B0604030504040204" pitchFamily="34" charset="0"/>
                <a:ea typeface="Tahoma" panose="020B0604030504040204" pitchFamily="34" charset="0"/>
                <a:cs typeface="Tahoma" panose="020B0604030504040204" pitchFamily="34" charset="0"/>
              </a:rPr>
              <a:t>2</a:t>
            </a:r>
          </a:p>
        </p:txBody>
      </p:sp>
      <p:sp>
        <p:nvSpPr>
          <p:cNvPr id="13" name="Rectangle: Rounded Corners 18">
            <a:extLst>
              <a:ext uri="{FF2B5EF4-FFF2-40B4-BE49-F238E27FC236}">
                <a16:creationId xmlns:a16="http://schemas.microsoft.com/office/drawing/2014/main" id="{7B5BCE20-9617-92D2-5218-5F8C3AD683BC}"/>
              </a:ext>
            </a:extLst>
          </p:cNvPr>
          <p:cNvSpPr/>
          <p:nvPr/>
        </p:nvSpPr>
        <p:spPr>
          <a:xfrm>
            <a:off x="4743575" y="1242061"/>
            <a:ext cx="1761875" cy="564930"/>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latin typeface="Tahoma" panose="020B0604030504040204" pitchFamily="34" charset="0"/>
                <a:ea typeface="Tahoma" panose="020B0604030504040204" pitchFamily="34" charset="0"/>
                <a:cs typeface="Tahoma" panose="020B0604030504040204" pitchFamily="34" charset="0"/>
              </a:rPr>
              <a:t>3</a:t>
            </a:r>
          </a:p>
        </p:txBody>
      </p:sp>
      <p:sp>
        <p:nvSpPr>
          <p:cNvPr id="14" name="Rectangle: Rounded Corners 18">
            <a:extLst>
              <a:ext uri="{FF2B5EF4-FFF2-40B4-BE49-F238E27FC236}">
                <a16:creationId xmlns:a16="http://schemas.microsoft.com/office/drawing/2014/main" id="{44BC9853-8851-82A1-CAE4-F78DA8F1FB07}"/>
              </a:ext>
            </a:extLst>
          </p:cNvPr>
          <p:cNvSpPr/>
          <p:nvPr/>
        </p:nvSpPr>
        <p:spPr>
          <a:xfrm>
            <a:off x="6848600" y="1242060"/>
            <a:ext cx="1761875" cy="564930"/>
          </a:xfrm>
          <a:prstGeom prst="round2Same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latin typeface="Tahoma" panose="020B0604030504040204" pitchFamily="34" charset="0"/>
                <a:ea typeface="Tahoma" panose="020B0604030504040204" pitchFamily="34" charset="0"/>
                <a:cs typeface="Tahoma" panose="020B0604030504040204" pitchFamily="34" charset="0"/>
              </a:rPr>
              <a:t>4</a:t>
            </a:r>
          </a:p>
        </p:txBody>
      </p:sp>
      <p:sp>
        <p:nvSpPr>
          <p:cNvPr id="17" name="Rectangle 45">
            <a:extLst>
              <a:ext uri="{FF2B5EF4-FFF2-40B4-BE49-F238E27FC236}">
                <a16:creationId xmlns:a16="http://schemas.microsoft.com/office/drawing/2014/main" id="{FD6A6B51-D65A-4DEE-BB3C-E2059E69FFE3}"/>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8" name="Google Shape;412;p18">
            <a:extLst>
              <a:ext uri="{FF2B5EF4-FFF2-40B4-BE49-F238E27FC236}">
                <a16:creationId xmlns:a16="http://schemas.microsoft.com/office/drawing/2014/main" id="{778A1009-4C3B-49EB-8D67-339F40266E19}"/>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MÔ HÌNH SUPPORT VECTOR MACHINE (SVM)</a:t>
            </a:r>
          </a:p>
        </p:txBody>
      </p:sp>
    </p:spTree>
    <p:extLst>
      <p:ext uri="{BB962C8B-B14F-4D97-AF65-F5344CB8AC3E}">
        <p14:creationId xmlns:p14="http://schemas.microsoft.com/office/powerpoint/2010/main" val="22545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27018-8E92-E1F4-2477-D88E4D8005E7}"/>
            </a:ext>
          </a:extLst>
        </p:cNvPr>
        <p:cNvGrpSpPr/>
        <p:nvPr/>
      </p:nvGrpSpPr>
      <p:grpSpPr>
        <a:xfrm>
          <a:off x="0" y="0"/>
          <a:ext cx="0" cy="0"/>
          <a:chOff x="0" y="0"/>
          <a:chExt cx="0" cy="0"/>
        </a:xfrm>
      </p:grpSpPr>
      <p:sp>
        <p:nvSpPr>
          <p:cNvPr id="39" name="Rectangle 45">
            <a:extLst>
              <a:ext uri="{FF2B5EF4-FFF2-40B4-BE49-F238E27FC236}">
                <a16:creationId xmlns:a16="http://schemas.microsoft.com/office/drawing/2014/main" id="{0FB14866-9F10-0BB4-4419-3F6FE13FD603}"/>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40" name="Google Shape;412;p18">
            <a:extLst>
              <a:ext uri="{FF2B5EF4-FFF2-40B4-BE49-F238E27FC236}">
                <a16:creationId xmlns:a16="http://schemas.microsoft.com/office/drawing/2014/main" id="{9632FDC6-88B1-D269-838D-FD48E0305A65}"/>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dirty="0">
                <a:solidFill>
                  <a:schemeClr val="bg1"/>
                </a:solidFill>
              </a:rPr>
              <a:t>MÔ HÌNH SUPPORT VECTOR MACHINE (SVM)</a:t>
            </a:r>
          </a:p>
        </p:txBody>
      </p:sp>
      <p:pic>
        <p:nvPicPr>
          <p:cNvPr id="7" name="Picture 6" descr="A diagram of a flowchart&#10;&#10;Description automatically generated">
            <a:extLst>
              <a:ext uri="{FF2B5EF4-FFF2-40B4-BE49-F238E27FC236}">
                <a16:creationId xmlns:a16="http://schemas.microsoft.com/office/drawing/2014/main" id="{2A80EBE3-B8F8-80CF-13E0-3F037C21040F}"/>
              </a:ext>
            </a:extLst>
          </p:cNvPr>
          <p:cNvPicPr>
            <a:picLocks noChangeAspect="1"/>
          </p:cNvPicPr>
          <p:nvPr/>
        </p:nvPicPr>
        <p:blipFill>
          <a:blip r:embed="rId3"/>
          <a:stretch>
            <a:fillRect/>
          </a:stretch>
        </p:blipFill>
        <p:spPr>
          <a:xfrm>
            <a:off x="685800" y="913037"/>
            <a:ext cx="7772400" cy="3935548"/>
          </a:xfrm>
          <a:prstGeom prst="rect">
            <a:avLst/>
          </a:prstGeom>
        </p:spPr>
      </p:pic>
    </p:spTree>
    <p:extLst>
      <p:ext uri="{BB962C8B-B14F-4D97-AF65-F5344CB8AC3E}">
        <p14:creationId xmlns:p14="http://schemas.microsoft.com/office/powerpoint/2010/main" val="1997735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34"/>
        <p:cNvGrpSpPr/>
        <p:nvPr/>
      </p:nvGrpSpPr>
      <p:grpSpPr>
        <a:xfrm>
          <a:off x="0" y="0"/>
          <a:ext cx="0" cy="0"/>
          <a:chOff x="0" y="0"/>
          <a:chExt cx="0" cy="0"/>
        </a:xfrm>
      </p:grpSpPr>
      <p:sp>
        <p:nvSpPr>
          <p:cNvPr id="96" name="Rectangle 45">
            <a:extLst>
              <a:ext uri="{FF2B5EF4-FFF2-40B4-BE49-F238E27FC236}">
                <a16:creationId xmlns:a16="http://schemas.microsoft.com/office/drawing/2014/main" id="{3316B994-B281-4903-9FF0-13AB43294841}"/>
              </a:ext>
            </a:extLst>
          </p:cNvPr>
          <p:cNvSpPr>
            <a:spLocks noChangeArrowheads="1"/>
          </p:cNvSpPr>
          <p:nvPr/>
        </p:nvSpPr>
        <p:spPr bwMode="gray">
          <a:xfrm>
            <a:off x="0" y="158750"/>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235" name="Google Shape;235;p16"/>
          <p:cNvSpPr txBox="1">
            <a:spLocks noGrp="1"/>
          </p:cNvSpPr>
          <p:nvPr>
            <p:ph type="title"/>
          </p:nvPr>
        </p:nvSpPr>
        <p:spPr>
          <a:xfrm>
            <a:off x="414554" y="267780"/>
            <a:ext cx="82296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solidFill>
                  <a:schemeClr val="bg1"/>
                </a:solidFill>
              </a:rPr>
              <a:t>NỘI DUNG</a:t>
            </a:r>
          </a:p>
        </p:txBody>
      </p:sp>
      <p:grpSp>
        <p:nvGrpSpPr>
          <p:cNvPr id="236" name="Google Shape;236;p16"/>
          <p:cNvGrpSpPr/>
          <p:nvPr/>
        </p:nvGrpSpPr>
        <p:grpSpPr>
          <a:xfrm>
            <a:off x="3297249" y="1109874"/>
            <a:ext cx="2487708" cy="596100"/>
            <a:chOff x="3297249" y="1109874"/>
            <a:chExt cx="2487708" cy="596100"/>
          </a:xfrm>
        </p:grpSpPr>
        <p:sp>
          <p:nvSpPr>
            <p:cNvPr id="237" name="Google Shape;237;p16"/>
            <p:cNvSpPr/>
            <p:nvPr/>
          </p:nvSpPr>
          <p:spPr>
            <a:xfrm>
              <a:off x="3297249" y="1109874"/>
              <a:ext cx="596100" cy="5961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1</a:t>
              </a:r>
              <a:endParaRPr sz="1800">
                <a:solidFill>
                  <a:schemeClr val="lt1"/>
                </a:solidFill>
              </a:endParaRPr>
            </a:p>
          </p:txBody>
        </p:sp>
        <p:sp>
          <p:nvSpPr>
            <p:cNvPr id="239" name="Google Shape;239;p16"/>
            <p:cNvSpPr txBox="1"/>
            <p:nvPr/>
          </p:nvSpPr>
          <p:spPr>
            <a:xfrm>
              <a:off x="3803757" y="1260331"/>
              <a:ext cx="19812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G</a:t>
              </a:r>
              <a:r>
                <a:rPr lang="en" sz="1800" b="1">
                  <a:latin typeface="Fira Sans Extra Condensed"/>
                  <a:ea typeface="Fira Sans Extra Condensed"/>
                  <a:cs typeface="Fira Sans Extra Condensed"/>
                  <a:sym typeface="Fira Sans Extra Condensed"/>
                </a:rPr>
                <a:t>iới thiệu</a:t>
              </a:r>
              <a:endParaRPr sz="1800" b="1">
                <a:solidFill>
                  <a:srgbClr val="000000"/>
                </a:solidFill>
                <a:latin typeface="Fira Sans Extra Condensed"/>
                <a:ea typeface="Fira Sans Extra Condensed"/>
                <a:cs typeface="Fira Sans Extra Condensed"/>
                <a:sym typeface="Fira Sans Extra Condensed"/>
              </a:endParaRPr>
            </a:p>
          </p:txBody>
        </p:sp>
      </p:grpSp>
      <p:grpSp>
        <p:nvGrpSpPr>
          <p:cNvPr id="241" name="Google Shape;241;p16"/>
          <p:cNvGrpSpPr/>
          <p:nvPr/>
        </p:nvGrpSpPr>
        <p:grpSpPr>
          <a:xfrm>
            <a:off x="414554" y="1509185"/>
            <a:ext cx="2653421" cy="2696472"/>
            <a:chOff x="3525722" y="1985800"/>
            <a:chExt cx="2702609" cy="2746178"/>
          </a:xfrm>
        </p:grpSpPr>
        <p:sp>
          <p:nvSpPr>
            <p:cNvPr id="242" name="Google Shape;242;p16"/>
            <p:cNvSpPr/>
            <p:nvPr/>
          </p:nvSpPr>
          <p:spPr>
            <a:xfrm>
              <a:off x="5442457" y="4676877"/>
              <a:ext cx="683885" cy="51372"/>
            </a:xfrm>
            <a:custGeom>
              <a:avLst/>
              <a:gdLst/>
              <a:ahLst/>
              <a:cxnLst/>
              <a:rect l="l" t="t" r="r" b="b"/>
              <a:pathLst>
                <a:path w="19263" h="1447" extrusionOk="0">
                  <a:moveTo>
                    <a:pt x="8650" y="0"/>
                  </a:moveTo>
                  <a:lnTo>
                    <a:pt x="7692" y="10"/>
                  </a:lnTo>
                  <a:lnTo>
                    <a:pt x="6763" y="29"/>
                  </a:lnTo>
                  <a:lnTo>
                    <a:pt x="5882" y="58"/>
                  </a:lnTo>
                  <a:lnTo>
                    <a:pt x="5039" y="86"/>
                  </a:lnTo>
                  <a:lnTo>
                    <a:pt x="4244" y="125"/>
                  </a:lnTo>
                  <a:lnTo>
                    <a:pt x="3506" y="163"/>
                  </a:lnTo>
                  <a:lnTo>
                    <a:pt x="2826" y="211"/>
                  </a:lnTo>
                  <a:lnTo>
                    <a:pt x="2204" y="259"/>
                  </a:lnTo>
                  <a:lnTo>
                    <a:pt x="1648" y="316"/>
                  </a:lnTo>
                  <a:lnTo>
                    <a:pt x="1160" y="374"/>
                  </a:lnTo>
                  <a:lnTo>
                    <a:pt x="757" y="441"/>
                  </a:lnTo>
                  <a:lnTo>
                    <a:pt x="432" y="508"/>
                  </a:lnTo>
                  <a:lnTo>
                    <a:pt x="307" y="536"/>
                  </a:lnTo>
                  <a:lnTo>
                    <a:pt x="202" y="575"/>
                  </a:lnTo>
                  <a:lnTo>
                    <a:pt x="116" y="613"/>
                  </a:lnTo>
                  <a:lnTo>
                    <a:pt x="49" y="642"/>
                  </a:lnTo>
                  <a:lnTo>
                    <a:pt x="10" y="680"/>
                  </a:lnTo>
                  <a:lnTo>
                    <a:pt x="1" y="699"/>
                  </a:lnTo>
                  <a:lnTo>
                    <a:pt x="1" y="718"/>
                  </a:lnTo>
                  <a:lnTo>
                    <a:pt x="1" y="738"/>
                  </a:lnTo>
                  <a:lnTo>
                    <a:pt x="10" y="757"/>
                  </a:lnTo>
                  <a:lnTo>
                    <a:pt x="49" y="795"/>
                  </a:lnTo>
                  <a:lnTo>
                    <a:pt x="116" y="833"/>
                  </a:lnTo>
                  <a:lnTo>
                    <a:pt x="202" y="862"/>
                  </a:lnTo>
                  <a:lnTo>
                    <a:pt x="307" y="900"/>
                  </a:lnTo>
                  <a:lnTo>
                    <a:pt x="432" y="939"/>
                  </a:lnTo>
                  <a:lnTo>
                    <a:pt x="757" y="1006"/>
                  </a:lnTo>
                  <a:lnTo>
                    <a:pt x="1160" y="1063"/>
                  </a:lnTo>
                  <a:lnTo>
                    <a:pt x="1648" y="1121"/>
                  </a:lnTo>
                  <a:lnTo>
                    <a:pt x="2204" y="1178"/>
                  </a:lnTo>
                  <a:lnTo>
                    <a:pt x="2826" y="1236"/>
                  </a:lnTo>
                  <a:lnTo>
                    <a:pt x="3506" y="1274"/>
                  </a:lnTo>
                  <a:lnTo>
                    <a:pt x="4244" y="1322"/>
                  </a:lnTo>
                  <a:lnTo>
                    <a:pt x="5039" y="1360"/>
                  </a:lnTo>
                  <a:lnTo>
                    <a:pt x="5882" y="1389"/>
                  </a:lnTo>
                  <a:lnTo>
                    <a:pt x="6763" y="1408"/>
                  </a:lnTo>
                  <a:lnTo>
                    <a:pt x="7692" y="1427"/>
                  </a:lnTo>
                  <a:lnTo>
                    <a:pt x="8650" y="1437"/>
                  </a:lnTo>
                  <a:lnTo>
                    <a:pt x="9627" y="1446"/>
                  </a:lnTo>
                  <a:lnTo>
                    <a:pt x="10613" y="1437"/>
                  </a:lnTo>
                  <a:lnTo>
                    <a:pt x="11571" y="1427"/>
                  </a:lnTo>
                  <a:lnTo>
                    <a:pt x="12491" y="1408"/>
                  </a:lnTo>
                  <a:lnTo>
                    <a:pt x="13381" y="1389"/>
                  </a:lnTo>
                  <a:lnTo>
                    <a:pt x="14224" y="1360"/>
                  </a:lnTo>
                  <a:lnTo>
                    <a:pt x="15019" y="1322"/>
                  </a:lnTo>
                  <a:lnTo>
                    <a:pt x="15757" y="1274"/>
                  </a:lnTo>
                  <a:lnTo>
                    <a:pt x="16437" y="1236"/>
                  </a:lnTo>
                  <a:lnTo>
                    <a:pt x="17059" y="1178"/>
                  </a:lnTo>
                  <a:lnTo>
                    <a:pt x="17615" y="1121"/>
                  </a:lnTo>
                  <a:lnTo>
                    <a:pt x="18094" y="1063"/>
                  </a:lnTo>
                  <a:lnTo>
                    <a:pt x="18506" y="1006"/>
                  </a:lnTo>
                  <a:lnTo>
                    <a:pt x="18831" y="939"/>
                  </a:lnTo>
                  <a:lnTo>
                    <a:pt x="18956" y="900"/>
                  </a:lnTo>
                  <a:lnTo>
                    <a:pt x="19061" y="862"/>
                  </a:lnTo>
                  <a:lnTo>
                    <a:pt x="19147" y="833"/>
                  </a:lnTo>
                  <a:lnTo>
                    <a:pt x="19214" y="795"/>
                  </a:lnTo>
                  <a:lnTo>
                    <a:pt x="19243" y="757"/>
                  </a:lnTo>
                  <a:lnTo>
                    <a:pt x="19253" y="738"/>
                  </a:lnTo>
                  <a:lnTo>
                    <a:pt x="19262" y="718"/>
                  </a:lnTo>
                  <a:lnTo>
                    <a:pt x="19253" y="699"/>
                  </a:lnTo>
                  <a:lnTo>
                    <a:pt x="19243" y="680"/>
                  </a:lnTo>
                  <a:lnTo>
                    <a:pt x="19214" y="642"/>
                  </a:lnTo>
                  <a:lnTo>
                    <a:pt x="19147" y="613"/>
                  </a:lnTo>
                  <a:lnTo>
                    <a:pt x="19061" y="575"/>
                  </a:lnTo>
                  <a:lnTo>
                    <a:pt x="18956" y="536"/>
                  </a:lnTo>
                  <a:lnTo>
                    <a:pt x="18831" y="508"/>
                  </a:lnTo>
                  <a:lnTo>
                    <a:pt x="18506" y="441"/>
                  </a:lnTo>
                  <a:lnTo>
                    <a:pt x="18094" y="374"/>
                  </a:lnTo>
                  <a:lnTo>
                    <a:pt x="17615" y="316"/>
                  </a:lnTo>
                  <a:lnTo>
                    <a:pt x="17059" y="259"/>
                  </a:lnTo>
                  <a:lnTo>
                    <a:pt x="16437" y="211"/>
                  </a:lnTo>
                  <a:lnTo>
                    <a:pt x="15757" y="163"/>
                  </a:lnTo>
                  <a:lnTo>
                    <a:pt x="15019" y="125"/>
                  </a:lnTo>
                  <a:lnTo>
                    <a:pt x="14224" y="86"/>
                  </a:lnTo>
                  <a:lnTo>
                    <a:pt x="13381" y="58"/>
                  </a:lnTo>
                  <a:lnTo>
                    <a:pt x="12491" y="29"/>
                  </a:lnTo>
                  <a:lnTo>
                    <a:pt x="11571" y="10"/>
                  </a:lnTo>
                  <a:lnTo>
                    <a:pt x="10613" y="0"/>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16"/>
            <p:cNvSpPr/>
            <p:nvPr/>
          </p:nvSpPr>
          <p:spPr>
            <a:xfrm>
              <a:off x="3525722" y="4641150"/>
              <a:ext cx="995383" cy="90828"/>
            </a:xfrm>
            <a:custGeom>
              <a:avLst/>
              <a:gdLst/>
              <a:ahLst/>
              <a:cxnLst/>
              <a:rect l="l" t="t" r="r" b="b"/>
              <a:pathLst>
                <a:path w="45219" h="2558" extrusionOk="0">
                  <a:moveTo>
                    <a:pt x="22614" y="0"/>
                  </a:moveTo>
                  <a:lnTo>
                    <a:pt x="20296" y="10"/>
                  </a:lnTo>
                  <a:lnTo>
                    <a:pt x="18055" y="29"/>
                  </a:lnTo>
                  <a:lnTo>
                    <a:pt x="15890" y="58"/>
                  </a:lnTo>
                  <a:lnTo>
                    <a:pt x="13812" y="106"/>
                  </a:lnTo>
                  <a:lnTo>
                    <a:pt x="11839" y="154"/>
                  </a:lnTo>
                  <a:lnTo>
                    <a:pt x="9971" y="221"/>
                  </a:lnTo>
                  <a:lnTo>
                    <a:pt x="8228" y="297"/>
                  </a:lnTo>
                  <a:lnTo>
                    <a:pt x="6628" y="374"/>
                  </a:lnTo>
                  <a:lnTo>
                    <a:pt x="5163" y="470"/>
                  </a:lnTo>
                  <a:lnTo>
                    <a:pt x="3870" y="566"/>
                  </a:lnTo>
                  <a:lnTo>
                    <a:pt x="2730" y="671"/>
                  </a:lnTo>
                  <a:lnTo>
                    <a:pt x="2232" y="728"/>
                  </a:lnTo>
                  <a:lnTo>
                    <a:pt x="1782" y="786"/>
                  </a:lnTo>
                  <a:lnTo>
                    <a:pt x="1379" y="843"/>
                  </a:lnTo>
                  <a:lnTo>
                    <a:pt x="1025" y="901"/>
                  </a:lnTo>
                  <a:lnTo>
                    <a:pt x="718" y="958"/>
                  </a:lnTo>
                  <a:lnTo>
                    <a:pt x="460" y="1025"/>
                  </a:lnTo>
                  <a:lnTo>
                    <a:pt x="268" y="1083"/>
                  </a:lnTo>
                  <a:lnTo>
                    <a:pt x="182" y="1121"/>
                  </a:lnTo>
                  <a:lnTo>
                    <a:pt x="125" y="1150"/>
                  </a:lnTo>
                  <a:lnTo>
                    <a:pt x="67" y="1179"/>
                  </a:lnTo>
                  <a:lnTo>
                    <a:pt x="38" y="1217"/>
                  </a:lnTo>
                  <a:lnTo>
                    <a:pt x="10" y="1246"/>
                  </a:lnTo>
                  <a:lnTo>
                    <a:pt x="0" y="1274"/>
                  </a:lnTo>
                  <a:lnTo>
                    <a:pt x="10" y="1313"/>
                  </a:lnTo>
                  <a:lnTo>
                    <a:pt x="38" y="1341"/>
                  </a:lnTo>
                  <a:lnTo>
                    <a:pt x="67" y="1380"/>
                  </a:lnTo>
                  <a:lnTo>
                    <a:pt x="125" y="1408"/>
                  </a:lnTo>
                  <a:lnTo>
                    <a:pt x="182" y="1437"/>
                  </a:lnTo>
                  <a:lnTo>
                    <a:pt x="268" y="1475"/>
                  </a:lnTo>
                  <a:lnTo>
                    <a:pt x="460" y="1533"/>
                  </a:lnTo>
                  <a:lnTo>
                    <a:pt x="718" y="1600"/>
                  </a:lnTo>
                  <a:lnTo>
                    <a:pt x="1025" y="1657"/>
                  </a:lnTo>
                  <a:lnTo>
                    <a:pt x="1379" y="1715"/>
                  </a:lnTo>
                  <a:lnTo>
                    <a:pt x="1782" y="1772"/>
                  </a:lnTo>
                  <a:lnTo>
                    <a:pt x="2232" y="1830"/>
                  </a:lnTo>
                  <a:lnTo>
                    <a:pt x="2730" y="1887"/>
                  </a:lnTo>
                  <a:lnTo>
                    <a:pt x="3870" y="1993"/>
                  </a:lnTo>
                  <a:lnTo>
                    <a:pt x="5163" y="2088"/>
                  </a:lnTo>
                  <a:lnTo>
                    <a:pt x="6628" y="2184"/>
                  </a:lnTo>
                  <a:lnTo>
                    <a:pt x="8228" y="2261"/>
                  </a:lnTo>
                  <a:lnTo>
                    <a:pt x="9971" y="2337"/>
                  </a:lnTo>
                  <a:lnTo>
                    <a:pt x="11839" y="2405"/>
                  </a:lnTo>
                  <a:lnTo>
                    <a:pt x="13812" y="2452"/>
                  </a:lnTo>
                  <a:lnTo>
                    <a:pt x="15890" y="2500"/>
                  </a:lnTo>
                  <a:lnTo>
                    <a:pt x="18055" y="2529"/>
                  </a:lnTo>
                  <a:lnTo>
                    <a:pt x="20296" y="2548"/>
                  </a:lnTo>
                  <a:lnTo>
                    <a:pt x="22614" y="2558"/>
                  </a:lnTo>
                  <a:lnTo>
                    <a:pt x="24922" y="2548"/>
                  </a:lnTo>
                  <a:lnTo>
                    <a:pt x="27163" y="2529"/>
                  </a:lnTo>
                  <a:lnTo>
                    <a:pt x="29328" y="2500"/>
                  </a:lnTo>
                  <a:lnTo>
                    <a:pt x="31407" y="2452"/>
                  </a:lnTo>
                  <a:lnTo>
                    <a:pt x="33380" y="2405"/>
                  </a:lnTo>
                  <a:lnTo>
                    <a:pt x="35247" y="2337"/>
                  </a:lnTo>
                  <a:lnTo>
                    <a:pt x="36991" y="2261"/>
                  </a:lnTo>
                  <a:lnTo>
                    <a:pt x="38590" y="2184"/>
                  </a:lnTo>
                  <a:lnTo>
                    <a:pt x="40056" y="2088"/>
                  </a:lnTo>
                  <a:lnTo>
                    <a:pt x="41358" y="1993"/>
                  </a:lnTo>
                  <a:lnTo>
                    <a:pt x="42488" y="1887"/>
                  </a:lnTo>
                  <a:lnTo>
                    <a:pt x="42986" y="1830"/>
                  </a:lnTo>
                  <a:lnTo>
                    <a:pt x="43437" y="1772"/>
                  </a:lnTo>
                  <a:lnTo>
                    <a:pt x="43839" y="1715"/>
                  </a:lnTo>
                  <a:lnTo>
                    <a:pt x="44193" y="1657"/>
                  </a:lnTo>
                  <a:lnTo>
                    <a:pt x="44500" y="1600"/>
                  </a:lnTo>
                  <a:lnTo>
                    <a:pt x="44758" y="1533"/>
                  </a:lnTo>
                  <a:lnTo>
                    <a:pt x="44950" y="1475"/>
                  </a:lnTo>
                  <a:lnTo>
                    <a:pt x="45036" y="1437"/>
                  </a:lnTo>
                  <a:lnTo>
                    <a:pt x="45094" y="1408"/>
                  </a:lnTo>
                  <a:lnTo>
                    <a:pt x="45151" y="1380"/>
                  </a:lnTo>
                  <a:lnTo>
                    <a:pt x="45189" y="1341"/>
                  </a:lnTo>
                  <a:lnTo>
                    <a:pt x="45209" y="1313"/>
                  </a:lnTo>
                  <a:lnTo>
                    <a:pt x="45218" y="1274"/>
                  </a:lnTo>
                  <a:lnTo>
                    <a:pt x="45209" y="1246"/>
                  </a:lnTo>
                  <a:lnTo>
                    <a:pt x="45189" y="1217"/>
                  </a:lnTo>
                  <a:lnTo>
                    <a:pt x="45151" y="1179"/>
                  </a:lnTo>
                  <a:lnTo>
                    <a:pt x="45094" y="1150"/>
                  </a:lnTo>
                  <a:lnTo>
                    <a:pt x="45036" y="1121"/>
                  </a:lnTo>
                  <a:lnTo>
                    <a:pt x="44950" y="1083"/>
                  </a:lnTo>
                  <a:lnTo>
                    <a:pt x="44758" y="1025"/>
                  </a:lnTo>
                  <a:lnTo>
                    <a:pt x="44500" y="958"/>
                  </a:lnTo>
                  <a:lnTo>
                    <a:pt x="44193" y="901"/>
                  </a:lnTo>
                  <a:lnTo>
                    <a:pt x="43839" y="843"/>
                  </a:lnTo>
                  <a:lnTo>
                    <a:pt x="43437" y="786"/>
                  </a:lnTo>
                  <a:lnTo>
                    <a:pt x="42986" y="728"/>
                  </a:lnTo>
                  <a:lnTo>
                    <a:pt x="42488" y="671"/>
                  </a:lnTo>
                  <a:lnTo>
                    <a:pt x="41358" y="566"/>
                  </a:lnTo>
                  <a:lnTo>
                    <a:pt x="40056" y="470"/>
                  </a:lnTo>
                  <a:lnTo>
                    <a:pt x="38590" y="374"/>
                  </a:lnTo>
                  <a:lnTo>
                    <a:pt x="36991" y="297"/>
                  </a:lnTo>
                  <a:lnTo>
                    <a:pt x="35247" y="221"/>
                  </a:lnTo>
                  <a:lnTo>
                    <a:pt x="33380" y="154"/>
                  </a:lnTo>
                  <a:lnTo>
                    <a:pt x="31407" y="106"/>
                  </a:lnTo>
                  <a:lnTo>
                    <a:pt x="29328" y="58"/>
                  </a:lnTo>
                  <a:lnTo>
                    <a:pt x="27163" y="29"/>
                  </a:lnTo>
                  <a:lnTo>
                    <a:pt x="24922" y="10"/>
                  </a:lnTo>
                  <a:lnTo>
                    <a:pt x="22614" y="0"/>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16"/>
            <p:cNvSpPr/>
            <p:nvPr/>
          </p:nvSpPr>
          <p:spPr>
            <a:xfrm>
              <a:off x="5580521" y="4523830"/>
              <a:ext cx="288067" cy="139134"/>
            </a:xfrm>
            <a:custGeom>
              <a:avLst/>
              <a:gdLst/>
              <a:ahLst/>
              <a:cxnLst/>
              <a:rect l="l" t="t" r="r" b="b"/>
              <a:pathLst>
                <a:path w="8114" h="3919" extrusionOk="0">
                  <a:moveTo>
                    <a:pt x="1447" y="1"/>
                  </a:moveTo>
                  <a:lnTo>
                    <a:pt x="1" y="1007"/>
                  </a:lnTo>
                  <a:lnTo>
                    <a:pt x="2050" y="2826"/>
                  </a:lnTo>
                  <a:lnTo>
                    <a:pt x="2184" y="2932"/>
                  </a:lnTo>
                  <a:lnTo>
                    <a:pt x="2318" y="3037"/>
                  </a:lnTo>
                  <a:lnTo>
                    <a:pt x="2462" y="3123"/>
                  </a:lnTo>
                  <a:lnTo>
                    <a:pt x="2615" y="3210"/>
                  </a:lnTo>
                  <a:lnTo>
                    <a:pt x="2769" y="3277"/>
                  </a:lnTo>
                  <a:lnTo>
                    <a:pt x="2922" y="3344"/>
                  </a:lnTo>
                  <a:lnTo>
                    <a:pt x="3085" y="3392"/>
                  </a:lnTo>
                  <a:lnTo>
                    <a:pt x="3247" y="3439"/>
                  </a:lnTo>
                  <a:lnTo>
                    <a:pt x="3860" y="3564"/>
                  </a:lnTo>
                  <a:lnTo>
                    <a:pt x="4588" y="3698"/>
                  </a:lnTo>
                  <a:lnTo>
                    <a:pt x="4972" y="3765"/>
                  </a:lnTo>
                  <a:lnTo>
                    <a:pt x="5364" y="3813"/>
                  </a:lnTo>
                  <a:lnTo>
                    <a:pt x="5757" y="3861"/>
                  </a:lnTo>
                  <a:lnTo>
                    <a:pt x="6140" y="3899"/>
                  </a:lnTo>
                  <a:lnTo>
                    <a:pt x="6514" y="3918"/>
                  </a:lnTo>
                  <a:lnTo>
                    <a:pt x="6858" y="3918"/>
                  </a:lnTo>
                  <a:lnTo>
                    <a:pt x="7021" y="3909"/>
                  </a:lnTo>
                  <a:lnTo>
                    <a:pt x="7175" y="3899"/>
                  </a:lnTo>
                  <a:lnTo>
                    <a:pt x="7328" y="3880"/>
                  </a:lnTo>
                  <a:lnTo>
                    <a:pt x="7462" y="3861"/>
                  </a:lnTo>
                  <a:lnTo>
                    <a:pt x="7586" y="3832"/>
                  </a:lnTo>
                  <a:lnTo>
                    <a:pt x="7701" y="3794"/>
                  </a:lnTo>
                  <a:lnTo>
                    <a:pt x="7807" y="3746"/>
                  </a:lnTo>
                  <a:lnTo>
                    <a:pt x="7893" y="3698"/>
                  </a:lnTo>
                  <a:lnTo>
                    <a:pt x="7969" y="3641"/>
                  </a:lnTo>
                  <a:lnTo>
                    <a:pt x="8027" y="3574"/>
                  </a:lnTo>
                  <a:lnTo>
                    <a:pt x="8075" y="3497"/>
                  </a:lnTo>
                  <a:lnTo>
                    <a:pt x="8104" y="3420"/>
                  </a:lnTo>
                  <a:lnTo>
                    <a:pt x="8113" y="3353"/>
                  </a:lnTo>
                  <a:lnTo>
                    <a:pt x="8113" y="3296"/>
                  </a:lnTo>
                  <a:lnTo>
                    <a:pt x="8113" y="3238"/>
                  </a:lnTo>
                  <a:lnTo>
                    <a:pt x="8094" y="3181"/>
                  </a:lnTo>
                  <a:lnTo>
                    <a:pt x="8075" y="3123"/>
                  </a:lnTo>
                  <a:lnTo>
                    <a:pt x="8046" y="3076"/>
                  </a:lnTo>
                  <a:lnTo>
                    <a:pt x="7979" y="2961"/>
                  </a:lnTo>
                  <a:lnTo>
                    <a:pt x="7883" y="2855"/>
                  </a:lnTo>
                  <a:lnTo>
                    <a:pt x="7768" y="2750"/>
                  </a:lnTo>
                  <a:lnTo>
                    <a:pt x="7634" y="2654"/>
                  </a:lnTo>
                  <a:lnTo>
                    <a:pt x="7481" y="2549"/>
                  </a:lnTo>
                  <a:lnTo>
                    <a:pt x="7318" y="2453"/>
                  </a:lnTo>
                  <a:lnTo>
                    <a:pt x="7136" y="2367"/>
                  </a:lnTo>
                  <a:lnTo>
                    <a:pt x="6945" y="2271"/>
                  </a:lnTo>
                  <a:lnTo>
                    <a:pt x="6734" y="2185"/>
                  </a:lnTo>
                  <a:lnTo>
                    <a:pt x="6312" y="2022"/>
                  </a:lnTo>
                  <a:lnTo>
                    <a:pt x="5862" y="1878"/>
                  </a:lnTo>
                  <a:lnTo>
                    <a:pt x="5403" y="1744"/>
                  </a:lnTo>
                  <a:lnTo>
                    <a:pt x="4972" y="1629"/>
                  </a:lnTo>
                  <a:lnTo>
                    <a:pt x="4550" y="1524"/>
                  </a:lnTo>
                  <a:lnTo>
                    <a:pt x="4186" y="1438"/>
                  </a:lnTo>
                  <a:lnTo>
                    <a:pt x="3621" y="1323"/>
                  </a:lnTo>
                  <a:lnTo>
                    <a:pt x="3410" y="1284"/>
                  </a:lnTo>
                  <a:lnTo>
                    <a:pt x="144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16"/>
            <p:cNvSpPr/>
            <p:nvPr/>
          </p:nvSpPr>
          <p:spPr>
            <a:xfrm>
              <a:off x="3950723" y="4466034"/>
              <a:ext cx="209181" cy="236376"/>
            </a:xfrm>
            <a:custGeom>
              <a:avLst/>
              <a:gdLst/>
              <a:ahLst/>
              <a:cxnLst/>
              <a:rect l="l" t="t" r="r" b="b"/>
              <a:pathLst>
                <a:path w="5892" h="6658" extrusionOk="0">
                  <a:moveTo>
                    <a:pt x="5508" y="1"/>
                  </a:moveTo>
                  <a:lnTo>
                    <a:pt x="3047" y="1198"/>
                  </a:lnTo>
                  <a:lnTo>
                    <a:pt x="2893" y="1284"/>
                  </a:lnTo>
                  <a:lnTo>
                    <a:pt x="2750" y="1370"/>
                  </a:lnTo>
                  <a:lnTo>
                    <a:pt x="2616" y="1466"/>
                  </a:lnTo>
                  <a:lnTo>
                    <a:pt x="2481" y="1571"/>
                  </a:lnTo>
                  <a:lnTo>
                    <a:pt x="2357" y="1686"/>
                  </a:lnTo>
                  <a:lnTo>
                    <a:pt x="2242" y="1811"/>
                  </a:lnTo>
                  <a:lnTo>
                    <a:pt x="2127" y="1945"/>
                  </a:lnTo>
                  <a:lnTo>
                    <a:pt x="2022" y="2079"/>
                  </a:lnTo>
                  <a:lnTo>
                    <a:pt x="1677" y="2596"/>
                  </a:lnTo>
                  <a:lnTo>
                    <a:pt x="1275" y="3219"/>
                  </a:lnTo>
                  <a:lnTo>
                    <a:pt x="1064" y="3545"/>
                  </a:lnTo>
                  <a:lnTo>
                    <a:pt x="872" y="3889"/>
                  </a:lnTo>
                  <a:lnTo>
                    <a:pt x="681" y="4234"/>
                  </a:lnTo>
                  <a:lnTo>
                    <a:pt x="499" y="4579"/>
                  </a:lnTo>
                  <a:lnTo>
                    <a:pt x="336" y="4914"/>
                  </a:lnTo>
                  <a:lnTo>
                    <a:pt x="202" y="5230"/>
                  </a:lnTo>
                  <a:lnTo>
                    <a:pt x="154" y="5384"/>
                  </a:lnTo>
                  <a:lnTo>
                    <a:pt x="96" y="5537"/>
                  </a:lnTo>
                  <a:lnTo>
                    <a:pt x="58" y="5680"/>
                  </a:lnTo>
                  <a:lnTo>
                    <a:pt x="29" y="5815"/>
                  </a:lnTo>
                  <a:lnTo>
                    <a:pt x="10" y="5939"/>
                  </a:lnTo>
                  <a:lnTo>
                    <a:pt x="1" y="6064"/>
                  </a:lnTo>
                  <a:lnTo>
                    <a:pt x="1" y="6169"/>
                  </a:lnTo>
                  <a:lnTo>
                    <a:pt x="10" y="6274"/>
                  </a:lnTo>
                  <a:lnTo>
                    <a:pt x="39" y="6370"/>
                  </a:lnTo>
                  <a:lnTo>
                    <a:pt x="77" y="6447"/>
                  </a:lnTo>
                  <a:lnTo>
                    <a:pt x="125" y="6514"/>
                  </a:lnTo>
                  <a:lnTo>
                    <a:pt x="192" y="6571"/>
                  </a:lnTo>
                  <a:lnTo>
                    <a:pt x="250" y="6610"/>
                  </a:lnTo>
                  <a:lnTo>
                    <a:pt x="298" y="6629"/>
                  </a:lnTo>
                  <a:lnTo>
                    <a:pt x="355" y="6648"/>
                  </a:lnTo>
                  <a:lnTo>
                    <a:pt x="413" y="6657"/>
                  </a:lnTo>
                  <a:lnTo>
                    <a:pt x="537" y="6657"/>
                  </a:lnTo>
                  <a:lnTo>
                    <a:pt x="662" y="6629"/>
                  </a:lnTo>
                  <a:lnTo>
                    <a:pt x="796" y="6590"/>
                  </a:lnTo>
                  <a:lnTo>
                    <a:pt x="939" y="6523"/>
                  </a:lnTo>
                  <a:lnTo>
                    <a:pt x="1083" y="6437"/>
                  </a:lnTo>
                  <a:lnTo>
                    <a:pt x="1227" y="6332"/>
                  </a:lnTo>
                  <a:lnTo>
                    <a:pt x="1380" y="6217"/>
                  </a:lnTo>
                  <a:lnTo>
                    <a:pt x="1533" y="6083"/>
                  </a:lnTo>
                  <a:lnTo>
                    <a:pt x="1696" y="5939"/>
                  </a:lnTo>
                  <a:lnTo>
                    <a:pt x="1849" y="5776"/>
                  </a:lnTo>
                  <a:lnTo>
                    <a:pt x="2165" y="5441"/>
                  </a:lnTo>
                  <a:lnTo>
                    <a:pt x="2472" y="5087"/>
                  </a:lnTo>
                  <a:lnTo>
                    <a:pt x="2769" y="4723"/>
                  </a:lnTo>
                  <a:lnTo>
                    <a:pt x="3047" y="4359"/>
                  </a:lnTo>
                  <a:lnTo>
                    <a:pt x="3296" y="4014"/>
                  </a:lnTo>
                  <a:lnTo>
                    <a:pt x="3516" y="3698"/>
                  </a:lnTo>
                  <a:lnTo>
                    <a:pt x="3842" y="3228"/>
                  </a:lnTo>
                  <a:lnTo>
                    <a:pt x="3956" y="3047"/>
                  </a:lnTo>
                  <a:lnTo>
                    <a:pt x="5891" y="1725"/>
                  </a:lnTo>
                  <a:lnTo>
                    <a:pt x="5508"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16"/>
            <p:cNvSpPr/>
            <p:nvPr/>
          </p:nvSpPr>
          <p:spPr>
            <a:xfrm>
              <a:off x="4109202" y="3262998"/>
              <a:ext cx="1703978" cy="44911"/>
            </a:xfrm>
            <a:custGeom>
              <a:avLst/>
              <a:gdLst/>
              <a:ahLst/>
              <a:cxnLst/>
              <a:rect l="l" t="t" r="r" b="b"/>
              <a:pathLst>
                <a:path w="47996" h="1265" extrusionOk="0">
                  <a:moveTo>
                    <a:pt x="0" y="0"/>
                  </a:moveTo>
                  <a:lnTo>
                    <a:pt x="0" y="1265"/>
                  </a:lnTo>
                  <a:lnTo>
                    <a:pt x="47996" y="1265"/>
                  </a:lnTo>
                  <a:lnTo>
                    <a:pt x="47996" y="0"/>
                  </a:lnTo>
                  <a:close/>
                </a:path>
              </a:pathLst>
            </a:cu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6"/>
            <p:cNvSpPr/>
            <p:nvPr/>
          </p:nvSpPr>
          <p:spPr>
            <a:xfrm>
              <a:off x="3841912" y="3228313"/>
              <a:ext cx="534952" cy="1474135"/>
            </a:xfrm>
            <a:custGeom>
              <a:avLst/>
              <a:gdLst/>
              <a:ahLst/>
              <a:cxnLst/>
              <a:rect l="l" t="t" r="r" b="b"/>
              <a:pathLst>
                <a:path w="15068" h="41522" extrusionOk="0">
                  <a:moveTo>
                    <a:pt x="11130" y="0"/>
                  </a:moveTo>
                  <a:lnTo>
                    <a:pt x="1" y="41521"/>
                  </a:lnTo>
                  <a:lnTo>
                    <a:pt x="1409" y="41521"/>
                  </a:lnTo>
                  <a:lnTo>
                    <a:pt x="15067" y="383"/>
                  </a:lnTo>
                  <a:lnTo>
                    <a:pt x="11130" y="0"/>
                  </a:lnTo>
                  <a:close/>
                </a:path>
              </a:pathLst>
            </a:cu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16"/>
            <p:cNvSpPr/>
            <p:nvPr/>
          </p:nvSpPr>
          <p:spPr>
            <a:xfrm>
              <a:off x="5515909" y="3228313"/>
              <a:ext cx="534916" cy="1474135"/>
            </a:xfrm>
            <a:custGeom>
              <a:avLst/>
              <a:gdLst/>
              <a:ahLst/>
              <a:cxnLst/>
              <a:rect l="l" t="t" r="r" b="b"/>
              <a:pathLst>
                <a:path w="15067" h="41522" extrusionOk="0">
                  <a:moveTo>
                    <a:pt x="3928" y="0"/>
                  </a:moveTo>
                  <a:lnTo>
                    <a:pt x="1" y="383"/>
                  </a:lnTo>
                  <a:lnTo>
                    <a:pt x="13649" y="41521"/>
                  </a:lnTo>
                  <a:lnTo>
                    <a:pt x="15067" y="41521"/>
                  </a:lnTo>
                  <a:lnTo>
                    <a:pt x="3928" y="0"/>
                  </a:lnTo>
                  <a:close/>
                </a:path>
              </a:pathLst>
            </a:cu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16"/>
            <p:cNvSpPr/>
            <p:nvPr/>
          </p:nvSpPr>
          <p:spPr>
            <a:xfrm>
              <a:off x="4007171" y="3158589"/>
              <a:ext cx="1914153" cy="114638"/>
            </a:xfrm>
            <a:custGeom>
              <a:avLst/>
              <a:gdLst/>
              <a:ahLst/>
              <a:cxnLst/>
              <a:rect l="l" t="t" r="r" b="b"/>
              <a:pathLst>
                <a:path w="53916" h="3229" extrusionOk="0">
                  <a:moveTo>
                    <a:pt x="1" y="1"/>
                  </a:moveTo>
                  <a:lnTo>
                    <a:pt x="1" y="3229"/>
                  </a:lnTo>
                  <a:lnTo>
                    <a:pt x="53916" y="3229"/>
                  </a:lnTo>
                  <a:lnTo>
                    <a:pt x="53916" y="1"/>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16"/>
            <p:cNvSpPr/>
            <p:nvPr/>
          </p:nvSpPr>
          <p:spPr>
            <a:xfrm>
              <a:off x="5118400" y="2880435"/>
              <a:ext cx="295203" cy="279227"/>
            </a:xfrm>
            <a:custGeom>
              <a:avLst/>
              <a:gdLst/>
              <a:ahLst/>
              <a:cxnLst/>
              <a:rect l="l" t="t" r="r" b="b"/>
              <a:pathLst>
                <a:path w="8315" h="7865" extrusionOk="0">
                  <a:moveTo>
                    <a:pt x="1" y="1"/>
                  </a:moveTo>
                  <a:lnTo>
                    <a:pt x="1993" y="7865"/>
                  </a:lnTo>
                  <a:lnTo>
                    <a:pt x="8315" y="7865"/>
                  </a:lnTo>
                  <a:lnTo>
                    <a:pt x="6322" y="1"/>
                  </a:lnTo>
                  <a:close/>
                </a:path>
              </a:pathLst>
            </a:custGeom>
            <a:solidFill>
              <a:srgbClr val="EFEF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16"/>
            <p:cNvSpPr/>
            <p:nvPr/>
          </p:nvSpPr>
          <p:spPr>
            <a:xfrm>
              <a:off x="4628090" y="2140196"/>
              <a:ext cx="1228600" cy="793374"/>
            </a:xfrm>
            <a:custGeom>
              <a:avLst/>
              <a:gdLst/>
              <a:ahLst/>
              <a:cxnLst/>
              <a:rect l="l" t="t" r="r" b="b"/>
              <a:pathLst>
                <a:path w="34606" h="22347" extrusionOk="0">
                  <a:moveTo>
                    <a:pt x="4004" y="0"/>
                  </a:moveTo>
                  <a:lnTo>
                    <a:pt x="3841" y="10"/>
                  </a:lnTo>
                  <a:lnTo>
                    <a:pt x="3678" y="29"/>
                  </a:lnTo>
                  <a:lnTo>
                    <a:pt x="3515" y="77"/>
                  </a:lnTo>
                  <a:lnTo>
                    <a:pt x="3362" y="125"/>
                  </a:lnTo>
                  <a:lnTo>
                    <a:pt x="3219" y="202"/>
                  </a:lnTo>
                  <a:lnTo>
                    <a:pt x="3084" y="278"/>
                  </a:lnTo>
                  <a:lnTo>
                    <a:pt x="2960" y="374"/>
                  </a:lnTo>
                  <a:lnTo>
                    <a:pt x="2845" y="479"/>
                  </a:lnTo>
                  <a:lnTo>
                    <a:pt x="2730" y="594"/>
                  </a:lnTo>
                  <a:lnTo>
                    <a:pt x="2634" y="728"/>
                  </a:lnTo>
                  <a:lnTo>
                    <a:pt x="2558" y="862"/>
                  </a:lnTo>
                  <a:lnTo>
                    <a:pt x="2491" y="1006"/>
                  </a:lnTo>
                  <a:lnTo>
                    <a:pt x="2433" y="1159"/>
                  </a:lnTo>
                  <a:lnTo>
                    <a:pt x="2395" y="1313"/>
                  </a:lnTo>
                  <a:lnTo>
                    <a:pt x="2366" y="1475"/>
                  </a:lnTo>
                  <a:lnTo>
                    <a:pt x="2356" y="1648"/>
                  </a:lnTo>
                  <a:lnTo>
                    <a:pt x="0" y="20699"/>
                  </a:lnTo>
                  <a:lnTo>
                    <a:pt x="10" y="20862"/>
                  </a:lnTo>
                  <a:lnTo>
                    <a:pt x="39" y="21024"/>
                  </a:lnTo>
                  <a:lnTo>
                    <a:pt x="77" y="21187"/>
                  </a:lnTo>
                  <a:lnTo>
                    <a:pt x="134" y="21340"/>
                  </a:lnTo>
                  <a:lnTo>
                    <a:pt x="201" y="21484"/>
                  </a:lnTo>
                  <a:lnTo>
                    <a:pt x="288" y="21618"/>
                  </a:lnTo>
                  <a:lnTo>
                    <a:pt x="374" y="21743"/>
                  </a:lnTo>
                  <a:lnTo>
                    <a:pt x="489" y="21858"/>
                  </a:lnTo>
                  <a:lnTo>
                    <a:pt x="604" y="21973"/>
                  </a:lnTo>
                  <a:lnTo>
                    <a:pt x="728" y="22068"/>
                  </a:lnTo>
                  <a:lnTo>
                    <a:pt x="862" y="22145"/>
                  </a:lnTo>
                  <a:lnTo>
                    <a:pt x="1006" y="22212"/>
                  </a:lnTo>
                  <a:lnTo>
                    <a:pt x="1159" y="22269"/>
                  </a:lnTo>
                  <a:lnTo>
                    <a:pt x="1322" y="22308"/>
                  </a:lnTo>
                  <a:lnTo>
                    <a:pt x="1485" y="22337"/>
                  </a:lnTo>
                  <a:lnTo>
                    <a:pt x="1648" y="22346"/>
                  </a:lnTo>
                  <a:lnTo>
                    <a:pt x="30602" y="22346"/>
                  </a:lnTo>
                  <a:lnTo>
                    <a:pt x="30775" y="22337"/>
                  </a:lnTo>
                  <a:lnTo>
                    <a:pt x="30938" y="22308"/>
                  </a:lnTo>
                  <a:lnTo>
                    <a:pt x="31091" y="22269"/>
                  </a:lnTo>
                  <a:lnTo>
                    <a:pt x="31244" y="22212"/>
                  </a:lnTo>
                  <a:lnTo>
                    <a:pt x="31388" y="22145"/>
                  </a:lnTo>
                  <a:lnTo>
                    <a:pt x="31522" y="22068"/>
                  </a:lnTo>
                  <a:lnTo>
                    <a:pt x="31656" y="21973"/>
                  </a:lnTo>
                  <a:lnTo>
                    <a:pt x="31771" y="21858"/>
                  </a:lnTo>
                  <a:lnTo>
                    <a:pt x="31876" y="21743"/>
                  </a:lnTo>
                  <a:lnTo>
                    <a:pt x="31972" y="21618"/>
                  </a:lnTo>
                  <a:lnTo>
                    <a:pt x="32058" y="21484"/>
                  </a:lnTo>
                  <a:lnTo>
                    <a:pt x="32125" y="21340"/>
                  </a:lnTo>
                  <a:lnTo>
                    <a:pt x="32183" y="21187"/>
                  </a:lnTo>
                  <a:lnTo>
                    <a:pt x="32221" y="21024"/>
                  </a:lnTo>
                  <a:lnTo>
                    <a:pt x="32240" y="20862"/>
                  </a:lnTo>
                  <a:lnTo>
                    <a:pt x="32250" y="20699"/>
                  </a:lnTo>
                  <a:lnTo>
                    <a:pt x="34606" y="1648"/>
                  </a:lnTo>
                  <a:lnTo>
                    <a:pt x="34596" y="1475"/>
                  </a:lnTo>
                  <a:lnTo>
                    <a:pt x="34577" y="1313"/>
                  </a:lnTo>
                  <a:lnTo>
                    <a:pt x="34529" y="1159"/>
                  </a:lnTo>
                  <a:lnTo>
                    <a:pt x="34481" y="1006"/>
                  </a:lnTo>
                  <a:lnTo>
                    <a:pt x="34405" y="862"/>
                  </a:lnTo>
                  <a:lnTo>
                    <a:pt x="34328" y="728"/>
                  </a:lnTo>
                  <a:lnTo>
                    <a:pt x="34232" y="594"/>
                  </a:lnTo>
                  <a:lnTo>
                    <a:pt x="34127" y="479"/>
                  </a:lnTo>
                  <a:lnTo>
                    <a:pt x="34012" y="374"/>
                  </a:lnTo>
                  <a:lnTo>
                    <a:pt x="33878" y="278"/>
                  </a:lnTo>
                  <a:lnTo>
                    <a:pt x="33744" y="202"/>
                  </a:lnTo>
                  <a:lnTo>
                    <a:pt x="33600" y="125"/>
                  </a:lnTo>
                  <a:lnTo>
                    <a:pt x="33447" y="77"/>
                  </a:lnTo>
                  <a:lnTo>
                    <a:pt x="33294" y="29"/>
                  </a:lnTo>
                  <a:lnTo>
                    <a:pt x="33131" y="10"/>
                  </a:lnTo>
                  <a:lnTo>
                    <a:pt x="329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16"/>
            <p:cNvSpPr/>
            <p:nvPr/>
          </p:nvSpPr>
          <p:spPr>
            <a:xfrm>
              <a:off x="4628090" y="2140196"/>
              <a:ext cx="1228600" cy="793374"/>
            </a:xfrm>
            <a:custGeom>
              <a:avLst/>
              <a:gdLst/>
              <a:ahLst/>
              <a:cxnLst/>
              <a:rect l="l" t="t" r="r" b="b"/>
              <a:pathLst>
                <a:path w="34606" h="22347" extrusionOk="0">
                  <a:moveTo>
                    <a:pt x="32642" y="1916"/>
                  </a:moveTo>
                  <a:lnTo>
                    <a:pt x="30353" y="20430"/>
                  </a:lnTo>
                  <a:lnTo>
                    <a:pt x="1964" y="20430"/>
                  </a:lnTo>
                  <a:lnTo>
                    <a:pt x="4253" y="1916"/>
                  </a:lnTo>
                  <a:close/>
                  <a:moveTo>
                    <a:pt x="4004" y="0"/>
                  </a:moveTo>
                  <a:lnTo>
                    <a:pt x="3841" y="10"/>
                  </a:lnTo>
                  <a:lnTo>
                    <a:pt x="3678" y="29"/>
                  </a:lnTo>
                  <a:lnTo>
                    <a:pt x="3515" y="77"/>
                  </a:lnTo>
                  <a:lnTo>
                    <a:pt x="3362" y="125"/>
                  </a:lnTo>
                  <a:lnTo>
                    <a:pt x="3219" y="202"/>
                  </a:lnTo>
                  <a:lnTo>
                    <a:pt x="3084" y="278"/>
                  </a:lnTo>
                  <a:lnTo>
                    <a:pt x="2960" y="374"/>
                  </a:lnTo>
                  <a:lnTo>
                    <a:pt x="2845" y="479"/>
                  </a:lnTo>
                  <a:lnTo>
                    <a:pt x="2730" y="594"/>
                  </a:lnTo>
                  <a:lnTo>
                    <a:pt x="2634" y="728"/>
                  </a:lnTo>
                  <a:lnTo>
                    <a:pt x="2558" y="862"/>
                  </a:lnTo>
                  <a:lnTo>
                    <a:pt x="2491" y="1006"/>
                  </a:lnTo>
                  <a:lnTo>
                    <a:pt x="2433" y="1159"/>
                  </a:lnTo>
                  <a:lnTo>
                    <a:pt x="2395" y="1313"/>
                  </a:lnTo>
                  <a:lnTo>
                    <a:pt x="2366" y="1475"/>
                  </a:lnTo>
                  <a:lnTo>
                    <a:pt x="2356" y="1648"/>
                  </a:lnTo>
                  <a:lnTo>
                    <a:pt x="0" y="20699"/>
                  </a:lnTo>
                  <a:lnTo>
                    <a:pt x="10" y="20862"/>
                  </a:lnTo>
                  <a:lnTo>
                    <a:pt x="39" y="21024"/>
                  </a:lnTo>
                  <a:lnTo>
                    <a:pt x="77" y="21187"/>
                  </a:lnTo>
                  <a:lnTo>
                    <a:pt x="134" y="21340"/>
                  </a:lnTo>
                  <a:lnTo>
                    <a:pt x="201" y="21484"/>
                  </a:lnTo>
                  <a:lnTo>
                    <a:pt x="288" y="21618"/>
                  </a:lnTo>
                  <a:lnTo>
                    <a:pt x="374" y="21743"/>
                  </a:lnTo>
                  <a:lnTo>
                    <a:pt x="489" y="21858"/>
                  </a:lnTo>
                  <a:lnTo>
                    <a:pt x="604" y="21973"/>
                  </a:lnTo>
                  <a:lnTo>
                    <a:pt x="728" y="22068"/>
                  </a:lnTo>
                  <a:lnTo>
                    <a:pt x="862" y="22145"/>
                  </a:lnTo>
                  <a:lnTo>
                    <a:pt x="1006" y="22212"/>
                  </a:lnTo>
                  <a:lnTo>
                    <a:pt x="1159" y="22269"/>
                  </a:lnTo>
                  <a:lnTo>
                    <a:pt x="1322" y="22308"/>
                  </a:lnTo>
                  <a:lnTo>
                    <a:pt x="1485" y="22337"/>
                  </a:lnTo>
                  <a:lnTo>
                    <a:pt x="1648" y="22346"/>
                  </a:lnTo>
                  <a:lnTo>
                    <a:pt x="30602" y="22346"/>
                  </a:lnTo>
                  <a:lnTo>
                    <a:pt x="30775" y="22337"/>
                  </a:lnTo>
                  <a:lnTo>
                    <a:pt x="30938" y="22308"/>
                  </a:lnTo>
                  <a:lnTo>
                    <a:pt x="31091" y="22269"/>
                  </a:lnTo>
                  <a:lnTo>
                    <a:pt x="31244" y="22212"/>
                  </a:lnTo>
                  <a:lnTo>
                    <a:pt x="31388" y="22145"/>
                  </a:lnTo>
                  <a:lnTo>
                    <a:pt x="31522" y="22068"/>
                  </a:lnTo>
                  <a:lnTo>
                    <a:pt x="31656" y="21973"/>
                  </a:lnTo>
                  <a:lnTo>
                    <a:pt x="31771" y="21858"/>
                  </a:lnTo>
                  <a:lnTo>
                    <a:pt x="31876" y="21743"/>
                  </a:lnTo>
                  <a:lnTo>
                    <a:pt x="31972" y="21618"/>
                  </a:lnTo>
                  <a:lnTo>
                    <a:pt x="32058" y="21484"/>
                  </a:lnTo>
                  <a:lnTo>
                    <a:pt x="32125" y="21340"/>
                  </a:lnTo>
                  <a:lnTo>
                    <a:pt x="32183" y="21187"/>
                  </a:lnTo>
                  <a:lnTo>
                    <a:pt x="32221" y="21024"/>
                  </a:lnTo>
                  <a:lnTo>
                    <a:pt x="32240" y="20862"/>
                  </a:lnTo>
                  <a:lnTo>
                    <a:pt x="32250" y="20699"/>
                  </a:lnTo>
                  <a:lnTo>
                    <a:pt x="34606" y="1648"/>
                  </a:lnTo>
                  <a:lnTo>
                    <a:pt x="34596" y="1475"/>
                  </a:lnTo>
                  <a:lnTo>
                    <a:pt x="34577" y="1313"/>
                  </a:lnTo>
                  <a:lnTo>
                    <a:pt x="34529" y="1159"/>
                  </a:lnTo>
                  <a:lnTo>
                    <a:pt x="34481" y="1006"/>
                  </a:lnTo>
                  <a:lnTo>
                    <a:pt x="34405" y="862"/>
                  </a:lnTo>
                  <a:lnTo>
                    <a:pt x="34328" y="728"/>
                  </a:lnTo>
                  <a:lnTo>
                    <a:pt x="34232" y="594"/>
                  </a:lnTo>
                  <a:lnTo>
                    <a:pt x="34127" y="479"/>
                  </a:lnTo>
                  <a:lnTo>
                    <a:pt x="34012" y="374"/>
                  </a:lnTo>
                  <a:lnTo>
                    <a:pt x="33878" y="278"/>
                  </a:lnTo>
                  <a:lnTo>
                    <a:pt x="33744" y="202"/>
                  </a:lnTo>
                  <a:lnTo>
                    <a:pt x="33600" y="125"/>
                  </a:lnTo>
                  <a:lnTo>
                    <a:pt x="33447" y="77"/>
                  </a:lnTo>
                  <a:lnTo>
                    <a:pt x="33294" y="29"/>
                  </a:lnTo>
                  <a:lnTo>
                    <a:pt x="33131" y="10"/>
                  </a:lnTo>
                  <a:lnTo>
                    <a:pt x="32958"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16"/>
            <p:cNvSpPr/>
            <p:nvPr/>
          </p:nvSpPr>
          <p:spPr>
            <a:xfrm>
              <a:off x="4697779" y="2208181"/>
              <a:ext cx="1089217" cy="657364"/>
            </a:xfrm>
            <a:custGeom>
              <a:avLst/>
              <a:gdLst/>
              <a:ahLst/>
              <a:cxnLst/>
              <a:rect l="l" t="t" r="r" b="b"/>
              <a:pathLst>
                <a:path w="30680" h="18516" fill="none" extrusionOk="0">
                  <a:moveTo>
                    <a:pt x="30679" y="1"/>
                  </a:moveTo>
                  <a:lnTo>
                    <a:pt x="28390" y="18515"/>
                  </a:lnTo>
                  <a:lnTo>
                    <a:pt x="1" y="18515"/>
                  </a:lnTo>
                  <a:lnTo>
                    <a:pt x="2290" y="1"/>
                  </a:lnTo>
                  <a:lnTo>
                    <a:pt x="30679"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16"/>
            <p:cNvSpPr/>
            <p:nvPr/>
          </p:nvSpPr>
          <p:spPr>
            <a:xfrm>
              <a:off x="4628090" y="2140196"/>
              <a:ext cx="1228600" cy="793374"/>
            </a:xfrm>
            <a:custGeom>
              <a:avLst/>
              <a:gdLst/>
              <a:ahLst/>
              <a:cxnLst/>
              <a:rect l="l" t="t" r="r" b="b"/>
              <a:pathLst>
                <a:path w="34606" h="22347" fill="none" extrusionOk="0">
                  <a:moveTo>
                    <a:pt x="32958" y="0"/>
                  </a:moveTo>
                  <a:lnTo>
                    <a:pt x="4004" y="0"/>
                  </a:lnTo>
                  <a:lnTo>
                    <a:pt x="4004" y="0"/>
                  </a:lnTo>
                  <a:lnTo>
                    <a:pt x="3841" y="10"/>
                  </a:lnTo>
                  <a:lnTo>
                    <a:pt x="3678" y="29"/>
                  </a:lnTo>
                  <a:lnTo>
                    <a:pt x="3515" y="77"/>
                  </a:lnTo>
                  <a:lnTo>
                    <a:pt x="3362" y="125"/>
                  </a:lnTo>
                  <a:lnTo>
                    <a:pt x="3219" y="202"/>
                  </a:lnTo>
                  <a:lnTo>
                    <a:pt x="3084" y="278"/>
                  </a:lnTo>
                  <a:lnTo>
                    <a:pt x="2960" y="374"/>
                  </a:lnTo>
                  <a:lnTo>
                    <a:pt x="2845" y="479"/>
                  </a:lnTo>
                  <a:lnTo>
                    <a:pt x="2730" y="594"/>
                  </a:lnTo>
                  <a:lnTo>
                    <a:pt x="2634" y="728"/>
                  </a:lnTo>
                  <a:lnTo>
                    <a:pt x="2558" y="862"/>
                  </a:lnTo>
                  <a:lnTo>
                    <a:pt x="2491" y="1006"/>
                  </a:lnTo>
                  <a:lnTo>
                    <a:pt x="2433" y="1159"/>
                  </a:lnTo>
                  <a:lnTo>
                    <a:pt x="2395" y="1313"/>
                  </a:lnTo>
                  <a:lnTo>
                    <a:pt x="2366" y="1475"/>
                  </a:lnTo>
                  <a:lnTo>
                    <a:pt x="2356" y="1648"/>
                  </a:lnTo>
                  <a:lnTo>
                    <a:pt x="0" y="20699"/>
                  </a:lnTo>
                  <a:lnTo>
                    <a:pt x="0" y="20699"/>
                  </a:lnTo>
                  <a:lnTo>
                    <a:pt x="10" y="20862"/>
                  </a:lnTo>
                  <a:lnTo>
                    <a:pt x="39" y="21024"/>
                  </a:lnTo>
                  <a:lnTo>
                    <a:pt x="77" y="21187"/>
                  </a:lnTo>
                  <a:lnTo>
                    <a:pt x="134" y="21340"/>
                  </a:lnTo>
                  <a:lnTo>
                    <a:pt x="201" y="21484"/>
                  </a:lnTo>
                  <a:lnTo>
                    <a:pt x="288" y="21618"/>
                  </a:lnTo>
                  <a:lnTo>
                    <a:pt x="374" y="21743"/>
                  </a:lnTo>
                  <a:lnTo>
                    <a:pt x="489" y="21858"/>
                  </a:lnTo>
                  <a:lnTo>
                    <a:pt x="604" y="21973"/>
                  </a:lnTo>
                  <a:lnTo>
                    <a:pt x="728" y="22068"/>
                  </a:lnTo>
                  <a:lnTo>
                    <a:pt x="862" y="22145"/>
                  </a:lnTo>
                  <a:lnTo>
                    <a:pt x="1006" y="22212"/>
                  </a:lnTo>
                  <a:lnTo>
                    <a:pt x="1159" y="22269"/>
                  </a:lnTo>
                  <a:lnTo>
                    <a:pt x="1322" y="22308"/>
                  </a:lnTo>
                  <a:lnTo>
                    <a:pt x="1485" y="22337"/>
                  </a:lnTo>
                  <a:lnTo>
                    <a:pt x="1648" y="22346"/>
                  </a:lnTo>
                  <a:lnTo>
                    <a:pt x="30602" y="22346"/>
                  </a:lnTo>
                  <a:lnTo>
                    <a:pt x="30602" y="22346"/>
                  </a:lnTo>
                  <a:lnTo>
                    <a:pt x="30775" y="22337"/>
                  </a:lnTo>
                  <a:lnTo>
                    <a:pt x="30938" y="22308"/>
                  </a:lnTo>
                  <a:lnTo>
                    <a:pt x="31091" y="22269"/>
                  </a:lnTo>
                  <a:lnTo>
                    <a:pt x="31244" y="22212"/>
                  </a:lnTo>
                  <a:lnTo>
                    <a:pt x="31388" y="22145"/>
                  </a:lnTo>
                  <a:lnTo>
                    <a:pt x="31522" y="22068"/>
                  </a:lnTo>
                  <a:lnTo>
                    <a:pt x="31656" y="21973"/>
                  </a:lnTo>
                  <a:lnTo>
                    <a:pt x="31771" y="21858"/>
                  </a:lnTo>
                  <a:lnTo>
                    <a:pt x="31876" y="21743"/>
                  </a:lnTo>
                  <a:lnTo>
                    <a:pt x="31972" y="21618"/>
                  </a:lnTo>
                  <a:lnTo>
                    <a:pt x="32058" y="21484"/>
                  </a:lnTo>
                  <a:lnTo>
                    <a:pt x="32125" y="21340"/>
                  </a:lnTo>
                  <a:lnTo>
                    <a:pt x="32183" y="21187"/>
                  </a:lnTo>
                  <a:lnTo>
                    <a:pt x="32221" y="21024"/>
                  </a:lnTo>
                  <a:lnTo>
                    <a:pt x="32240" y="20862"/>
                  </a:lnTo>
                  <a:lnTo>
                    <a:pt x="32250" y="20699"/>
                  </a:lnTo>
                  <a:lnTo>
                    <a:pt x="34606" y="1648"/>
                  </a:lnTo>
                  <a:lnTo>
                    <a:pt x="34606" y="1648"/>
                  </a:lnTo>
                  <a:lnTo>
                    <a:pt x="34596" y="1475"/>
                  </a:lnTo>
                  <a:lnTo>
                    <a:pt x="34577" y="1313"/>
                  </a:lnTo>
                  <a:lnTo>
                    <a:pt x="34529" y="1159"/>
                  </a:lnTo>
                  <a:lnTo>
                    <a:pt x="34481" y="1006"/>
                  </a:lnTo>
                  <a:lnTo>
                    <a:pt x="34405" y="862"/>
                  </a:lnTo>
                  <a:lnTo>
                    <a:pt x="34328" y="728"/>
                  </a:lnTo>
                  <a:lnTo>
                    <a:pt x="34232" y="594"/>
                  </a:lnTo>
                  <a:lnTo>
                    <a:pt x="34127" y="479"/>
                  </a:lnTo>
                  <a:lnTo>
                    <a:pt x="34012" y="374"/>
                  </a:lnTo>
                  <a:lnTo>
                    <a:pt x="33878" y="278"/>
                  </a:lnTo>
                  <a:lnTo>
                    <a:pt x="33744" y="202"/>
                  </a:lnTo>
                  <a:lnTo>
                    <a:pt x="33600" y="125"/>
                  </a:lnTo>
                  <a:lnTo>
                    <a:pt x="33447" y="77"/>
                  </a:lnTo>
                  <a:lnTo>
                    <a:pt x="33294" y="29"/>
                  </a:lnTo>
                  <a:lnTo>
                    <a:pt x="33131" y="10"/>
                  </a:lnTo>
                  <a:lnTo>
                    <a:pt x="32958" y="0"/>
                  </a:lnTo>
                  <a:lnTo>
                    <a:pt x="32958"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16"/>
            <p:cNvSpPr/>
            <p:nvPr/>
          </p:nvSpPr>
          <p:spPr>
            <a:xfrm>
              <a:off x="5022866" y="3079385"/>
              <a:ext cx="390741" cy="80271"/>
            </a:xfrm>
            <a:custGeom>
              <a:avLst/>
              <a:gdLst/>
              <a:ahLst/>
              <a:cxnLst/>
              <a:rect l="l" t="t" r="r" b="b"/>
              <a:pathLst>
                <a:path w="11006" h="2261" extrusionOk="0">
                  <a:moveTo>
                    <a:pt x="2165" y="0"/>
                  </a:moveTo>
                  <a:lnTo>
                    <a:pt x="1945" y="10"/>
                  </a:lnTo>
                  <a:lnTo>
                    <a:pt x="1734" y="48"/>
                  </a:lnTo>
                  <a:lnTo>
                    <a:pt x="1523" y="96"/>
                  </a:lnTo>
                  <a:lnTo>
                    <a:pt x="1322" y="173"/>
                  </a:lnTo>
                  <a:lnTo>
                    <a:pt x="1131" y="259"/>
                  </a:lnTo>
                  <a:lnTo>
                    <a:pt x="958" y="374"/>
                  </a:lnTo>
                  <a:lnTo>
                    <a:pt x="786" y="498"/>
                  </a:lnTo>
                  <a:lnTo>
                    <a:pt x="633" y="632"/>
                  </a:lnTo>
                  <a:lnTo>
                    <a:pt x="499" y="786"/>
                  </a:lnTo>
                  <a:lnTo>
                    <a:pt x="374" y="958"/>
                  </a:lnTo>
                  <a:lnTo>
                    <a:pt x="259" y="1140"/>
                  </a:lnTo>
                  <a:lnTo>
                    <a:pt x="173" y="1322"/>
                  </a:lnTo>
                  <a:lnTo>
                    <a:pt x="96" y="1523"/>
                  </a:lnTo>
                  <a:lnTo>
                    <a:pt x="48" y="1734"/>
                  </a:lnTo>
                  <a:lnTo>
                    <a:pt x="10" y="1944"/>
                  </a:lnTo>
                  <a:lnTo>
                    <a:pt x="0" y="2165"/>
                  </a:lnTo>
                  <a:lnTo>
                    <a:pt x="0" y="2261"/>
                  </a:lnTo>
                  <a:lnTo>
                    <a:pt x="11006" y="2261"/>
                  </a:lnTo>
                  <a:lnTo>
                    <a:pt x="11006" y="2165"/>
                  </a:lnTo>
                  <a:lnTo>
                    <a:pt x="10996" y="1944"/>
                  </a:lnTo>
                  <a:lnTo>
                    <a:pt x="10967" y="1734"/>
                  </a:lnTo>
                  <a:lnTo>
                    <a:pt x="10910" y="1523"/>
                  </a:lnTo>
                  <a:lnTo>
                    <a:pt x="10843" y="1322"/>
                  </a:lnTo>
                  <a:lnTo>
                    <a:pt x="10747" y="1140"/>
                  </a:lnTo>
                  <a:lnTo>
                    <a:pt x="10642" y="958"/>
                  </a:lnTo>
                  <a:lnTo>
                    <a:pt x="10517" y="786"/>
                  </a:lnTo>
                  <a:lnTo>
                    <a:pt x="10374" y="632"/>
                  </a:lnTo>
                  <a:lnTo>
                    <a:pt x="10220" y="498"/>
                  </a:lnTo>
                  <a:lnTo>
                    <a:pt x="10057" y="374"/>
                  </a:lnTo>
                  <a:lnTo>
                    <a:pt x="9875" y="259"/>
                  </a:lnTo>
                  <a:lnTo>
                    <a:pt x="9684" y="173"/>
                  </a:lnTo>
                  <a:lnTo>
                    <a:pt x="9483" y="96"/>
                  </a:lnTo>
                  <a:lnTo>
                    <a:pt x="9282" y="48"/>
                  </a:lnTo>
                  <a:lnTo>
                    <a:pt x="9061" y="10"/>
                  </a:lnTo>
                  <a:lnTo>
                    <a:pt x="8841" y="0"/>
                  </a:lnTo>
                  <a:close/>
                </a:path>
              </a:pathLst>
            </a:custGeom>
            <a:solidFill>
              <a:srgbClr val="D9D9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256;p16"/>
            <p:cNvSpPr/>
            <p:nvPr/>
          </p:nvSpPr>
          <p:spPr>
            <a:xfrm>
              <a:off x="4852494" y="2303395"/>
              <a:ext cx="320375" cy="46970"/>
            </a:xfrm>
            <a:custGeom>
              <a:avLst/>
              <a:gdLst/>
              <a:ahLst/>
              <a:cxnLst/>
              <a:rect l="l" t="t" r="r" b="b"/>
              <a:pathLst>
                <a:path w="9024" h="1323" extrusionOk="0">
                  <a:moveTo>
                    <a:pt x="173" y="1"/>
                  </a:moveTo>
                  <a:lnTo>
                    <a:pt x="1" y="1323"/>
                  </a:lnTo>
                  <a:lnTo>
                    <a:pt x="8861" y="1323"/>
                  </a:lnTo>
                  <a:lnTo>
                    <a:pt x="9023"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16"/>
            <p:cNvSpPr/>
            <p:nvPr/>
          </p:nvSpPr>
          <p:spPr>
            <a:xfrm>
              <a:off x="5336733" y="2406456"/>
              <a:ext cx="320339" cy="47289"/>
            </a:xfrm>
            <a:custGeom>
              <a:avLst/>
              <a:gdLst/>
              <a:ahLst/>
              <a:cxnLst/>
              <a:rect l="l" t="t" r="r" b="b"/>
              <a:pathLst>
                <a:path w="9023" h="1332" extrusionOk="0">
                  <a:moveTo>
                    <a:pt x="163" y="0"/>
                  </a:moveTo>
                  <a:lnTo>
                    <a:pt x="0" y="1331"/>
                  </a:lnTo>
                  <a:lnTo>
                    <a:pt x="8860" y="1331"/>
                  </a:lnTo>
                  <a:lnTo>
                    <a:pt x="902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16"/>
            <p:cNvSpPr/>
            <p:nvPr/>
          </p:nvSpPr>
          <p:spPr>
            <a:xfrm>
              <a:off x="5160220" y="2509801"/>
              <a:ext cx="343842" cy="47325"/>
            </a:xfrm>
            <a:custGeom>
              <a:avLst/>
              <a:gdLst/>
              <a:ahLst/>
              <a:cxnLst/>
              <a:rect l="l" t="t" r="r" b="b"/>
              <a:pathLst>
                <a:path w="9685" h="1333" extrusionOk="0">
                  <a:moveTo>
                    <a:pt x="164" y="1"/>
                  </a:moveTo>
                  <a:lnTo>
                    <a:pt x="1" y="1332"/>
                  </a:lnTo>
                  <a:lnTo>
                    <a:pt x="9522" y="1332"/>
                  </a:lnTo>
                  <a:lnTo>
                    <a:pt x="9684"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16"/>
            <p:cNvSpPr/>
            <p:nvPr/>
          </p:nvSpPr>
          <p:spPr>
            <a:xfrm>
              <a:off x="4842305" y="2406456"/>
              <a:ext cx="440053" cy="47289"/>
            </a:xfrm>
            <a:custGeom>
              <a:avLst/>
              <a:gdLst/>
              <a:ahLst/>
              <a:cxnLst/>
              <a:rect l="l" t="t" r="r" b="b"/>
              <a:pathLst>
                <a:path w="12395" h="1332" extrusionOk="0">
                  <a:moveTo>
                    <a:pt x="163" y="0"/>
                  </a:moveTo>
                  <a:lnTo>
                    <a:pt x="0" y="1331"/>
                  </a:lnTo>
                  <a:lnTo>
                    <a:pt x="12232" y="1331"/>
                  </a:lnTo>
                  <a:lnTo>
                    <a:pt x="12395"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16"/>
            <p:cNvSpPr/>
            <p:nvPr/>
          </p:nvSpPr>
          <p:spPr>
            <a:xfrm>
              <a:off x="4831087" y="2509801"/>
              <a:ext cx="274789" cy="47325"/>
            </a:xfrm>
            <a:custGeom>
              <a:avLst/>
              <a:gdLst/>
              <a:ahLst/>
              <a:cxnLst/>
              <a:rect l="l" t="t" r="r" b="b"/>
              <a:pathLst>
                <a:path w="7740" h="1333" extrusionOk="0">
                  <a:moveTo>
                    <a:pt x="163" y="1"/>
                  </a:moveTo>
                  <a:lnTo>
                    <a:pt x="0" y="1332"/>
                  </a:lnTo>
                  <a:lnTo>
                    <a:pt x="7577" y="1332"/>
                  </a:lnTo>
                  <a:lnTo>
                    <a:pt x="773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16"/>
            <p:cNvSpPr/>
            <p:nvPr/>
          </p:nvSpPr>
          <p:spPr>
            <a:xfrm>
              <a:off x="4816105" y="2613181"/>
              <a:ext cx="369333" cy="47289"/>
            </a:xfrm>
            <a:custGeom>
              <a:avLst/>
              <a:gdLst/>
              <a:ahLst/>
              <a:cxnLst/>
              <a:rect l="l" t="t" r="r" b="b"/>
              <a:pathLst>
                <a:path w="10403" h="1332" extrusionOk="0">
                  <a:moveTo>
                    <a:pt x="164" y="1"/>
                  </a:moveTo>
                  <a:lnTo>
                    <a:pt x="1" y="1332"/>
                  </a:lnTo>
                  <a:lnTo>
                    <a:pt x="10240" y="1332"/>
                  </a:lnTo>
                  <a:lnTo>
                    <a:pt x="1040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6"/>
            <p:cNvSpPr/>
            <p:nvPr/>
          </p:nvSpPr>
          <p:spPr>
            <a:xfrm>
              <a:off x="5229271" y="2613181"/>
              <a:ext cx="180246" cy="47289"/>
            </a:xfrm>
            <a:custGeom>
              <a:avLst/>
              <a:gdLst/>
              <a:ahLst/>
              <a:cxnLst/>
              <a:rect l="l" t="t" r="r" b="b"/>
              <a:pathLst>
                <a:path w="5077" h="1332" extrusionOk="0">
                  <a:moveTo>
                    <a:pt x="163" y="1"/>
                  </a:moveTo>
                  <a:lnTo>
                    <a:pt x="0" y="1332"/>
                  </a:lnTo>
                  <a:lnTo>
                    <a:pt x="4914" y="1332"/>
                  </a:lnTo>
                  <a:lnTo>
                    <a:pt x="5077"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16"/>
            <p:cNvSpPr/>
            <p:nvPr/>
          </p:nvSpPr>
          <p:spPr>
            <a:xfrm>
              <a:off x="4802863" y="2716561"/>
              <a:ext cx="204068" cy="47289"/>
            </a:xfrm>
            <a:custGeom>
              <a:avLst/>
              <a:gdLst/>
              <a:ahLst/>
              <a:cxnLst/>
              <a:rect l="l" t="t" r="r" b="b"/>
              <a:pathLst>
                <a:path w="5748" h="1332" extrusionOk="0">
                  <a:moveTo>
                    <a:pt x="163" y="0"/>
                  </a:moveTo>
                  <a:lnTo>
                    <a:pt x="0" y="1332"/>
                  </a:lnTo>
                  <a:lnTo>
                    <a:pt x="5584" y="1332"/>
                  </a:lnTo>
                  <a:lnTo>
                    <a:pt x="5747"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16"/>
            <p:cNvSpPr/>
            <p:nvPr/>
          </p:nvSpPr>
          <p:spPr>
            <a:xfrm>
              <a:off x="4439365" y="3464966"/>
              <a:ext cx="1235771" cy="1133772"/>
            </a:xfrm>
            <a:custGeom>
              <a:avLst/>
              <a:gdLst/>
              <a:ahLst/>
              <a:cxnLst/>
              <a:rect l="l" t="t" r="r" b="b"/>
              <a:pathLst>
                <a:path w="34808" h="31935" extrusionOk="0">
                  <a:moveTo>
                    <a:pt x="6092" y="1"/>
                  </a:moveTo>
                  <a:lnTo>
                    <a:pt x="5814" y="20"/>
                  </a:lnTo>
                  <a:lnTo>
                    <a:pt x="5537" y="39"/>
                  </a:lnTo>
                  <a:lnTo>
                    <a:pt x="5268" y="77"/>
                  </a:lnTo>
                  <a:lnTo>
                    <a:pt x="4991" y="135"/>
                  </a:lnTo>
                  <a:lnTo>
                    <a:pt x="4713" y="192"/>
                  </a:lnTo>
                  <a:lnTo>
                    <a:pt x="4445" y="269"/>
                  </a:lnTo>
                  <a:lnTo>
                    <a:pt x="4176" y="365"/>
                  </a:lnTo>
                  <a:lnTo>
                    <a:pt x="3918" y="460"/>
                  </a:lnTo>
                  <a:lnTo>
                    <a:pt x="3650" y="575"/>
                  </a:lnTo>
                  <a:lnTo>
                    <a:pt x="3391" y="700"/>
                  </a:lnTo>
                  <a:lnTo>
                    <a:pt x="3142" y="844"/>
                  </a:lnTo>
                  <a:lnTo>
                    <a:pt x="2893" y="997"/>
                  </a:lnTo>
                  <a:lnTo>
                    <a:pt x="2711" y="1112"/>
                  </a:lnTo>
                  <a:lnTo>
                    <a:pt x="2548" y="1227"/>
                  </a:lnTo>
                  <a:lnTo>
                    <a:pt x="2385" y="1351"/>
                  </a:lnTo>
                  <a:lnTo>
                    <a:pt x="2223" y="1485"/>
                  </a:lnTo>
                  <a:lnTo>
                    <a:pt x="2069" y="1619"/>
                  </a:lnTo>
                  <a:lnTo>
                    <a:pt x="1926" y="1753"/>
                  </a:lnTo>
                  <a:lnTo>
                    <a:pt x="1782" y="1897"/>
                  </a:lnTo>
                  <a:lnTo>
                    <a:pt x="1648" y="2041"/>
                  </a:lnTo>
                  <a:lnTo>
                    <a:pt x="1514" y="2185"/>
                  </a:lnTo>
                  <a:lnTo>
                    <a:pt x="1389" y="2338"/>
                  </a:lnTo>
                  <a:lnTo>
                    <a:pt x="1265" y="2491"/>
                  </a:lnTo>
                  <a:lnTo>
                    <a:pt x="1150" y="2644"/>
                  </a:lnTo>
                  <a:lnTo>
                    <a:pt x="1044" y="2807"/>
                  </a:lnTo>
                  <a:lnTo>
                    <a:pt x="939" y="2960"/>
                  </a:lnTo>
                  <a:lnTo>
                    <a:pt x="843" y="3133"/>
                  </a:lnTo>
                  <a:lnTo>
                    <a:pt x="748" y="3296"/>
                  </a:lnTo>
                  <a:lnTo>
                    <a:pt x="661" y="3468"/>
                  </a:lnTo>
                  <a:lnTo>
                    <a:pt x="575" y="3640"/>
                  </a:lnTo>
                  <a:lnTo>
                    <a:pt x="498" y="3813"/>
                  </a:lnTo>
                  <a:lnTo>
                    <a:pt x="431" y="3985"/>
                  </a:lnTo>
                  <a:lnTo>
                    <a:pt x="307" y="4340"/>
                  </a:lnTo>
                  <a:lnTo>
                    <a:pt x="202" y="4704"/>
                  </a:lnTo>
                  <a:lnTo>
                    <a:pt x="115" y="5068"/>
                  </a:lnTo>
                  <a:lnTo>
                    <a:pt x="58" y="5441"/>
                  </a:lnTo>
                  <a:lnTo>
                    <a:pt x="20" y="5815"/>
                  </a:lnTo>
                  <a:lnTo>
                    <a:pt x="0" y="6188"/>
                  </a:lnTo>
                  <a:lnTo>
                    <a:pt x="10" y="6562"/>
                  </a:lnTo>
                  <a:lnTo>
                    <a:pt x="29" y="6935"/>
                  </a:lnTo>
                  <a:lnTo>
                    <a:pt x="87" y="7309"/>
                  </a:lnTo>
                  <a:lnTo>
                    <a:pt x="154" y="7673"/>
                  </a:lnTo>
                  <a:lnTo>
                    <a:pt x="249" y="8037"/>
                  </a:lnTo>
                  <a:lnTo>
                    <a:pt x="364" y="8401"/>
                  </a:lnTo>
                  <a:lnTo>
                    <a:pt x="431" y="8573"/>
                  </a:lnTo>
                  <a:lnTo>
                    <a:pt x="498" y="8746"/>
                  </a:lnTo>
                  <a:lnTo>
                    <a:pt x="575" y="8928"/>
                  </a:lnTo>
                  <a:lnTo>
                    <a:pt x="661" y="9100"/>
                  </a:lnTo>
                  <a:lnTo>
                    <a:pt x="748" y="9263"/>
                  </a:lnTo>
                  <a:lnTo>
                    <a:pt x="843" y="9435"/>
                  </a:lnTo>
                  <a:lnTo>
                    <a:pt x="939" y="9598"/>
                  </a:lnTo>
                  <a:lnTo>
                    <a:pt x="1044" y="9761"/>
                  </a:lnTo>
                  <a:lnTo>
                    <a:pt x="1150" y="9924"/>
                  </a:lnTo>
                  <a:lnTo>
                    <a:pt x="1265" y="10077"/>
                  </a:lnTo>
                  <a:lnTo>
                    <a:pt x="1389" y="10230"/>
                  </a:lnTo>
                  <a:lnTo>
                    <a:pt x="1514" y="10383"/>
                  </a:lnTo>
                  <a:lnTo>
                    <a:pt x="1648" y="10527"/>
                  </a:lnTo>
                  <a:lnTo>
                    <a:pt x="1782" y="10671"/>
                  </a:lnTo>
                  <a:lnTo>
                    <a:pt x="1926" y="10814"/>
                  </a:lnTo>
                  <a:lnTo>
                    <a:pt x="2079" y="10948"/>
                  </a:lnTo>
                  <a:lnTo>
                    <a:pt x="2232" y="11083"/>
                  </a:lnTo>
                  <a:lnTo>
                    <a:pt x="2395" y="11217"/>
                  </a:lnTo>
                  <a:lnTo>
                    <a:pt x="2558" y="11341"/>
                  </a:lnTo>
                  <a:lnTo>
                    <a:pt x="2730" y="11466"/>
                  </a:lnTo>
                  <a:lnTo>
                    <a:pt x="32566" y="31934"/>
                  </a:lnTo>
                  <a:lnTo>
                    <a:pt x="32767" y="31838"/>
                  </a:lnTo>
                  <a:lnTo>
                    <a:pt x="32968" y="31723"/>
                  </a:lnTo>
                  <a:lnTo>
                    <a:pt x="33150" y="31618"/>
                  </a:lnTo>
                  <a:lnTo>
                    <a:pt x="33332" y="31503"/>
                  </a:lnTo>
                  <a:lnTo>
                    <a:pt x="33505" y="31388"/>
                  </a:lnTo>
                  <a:lnTo>
                    <a:pt x="33677" y="31264"/>
                  </a:lnTo>
                  <a:lnTo>
                    <a:pt x="33830" y="31139"/>
                  </a:lnTo>
                  <a:lnTo>
                    <a:pt x="33974" y="31015"/>
                  </a:lnTo>
                  <a:lnTo>
                    <a:pt x="34118" y="30881"/>
                  </a:lnTo>
                  <a:lnTo>
                    <a:pt x="34242" y="30737"/>
                  </a:lnTo>
                  <a:lnTo>
                    <a:pt x="34367" y="30603"/>
                  </a:lnTo>
                  <a:lnTo>
                    <a:pt x="34472" y="30459"/>
                  </a:lnTo>
                  <a:lnTo>
                    <a:pt x="34568" y="30306"/>
                  </a:lnTo>
                  <a:lnTo>
                    <a:pt x="34664" y="30153"/>
                  </a:lnTo>
                  <a:lnTo>
                    <a:pt x="34740" y="29990"/>
                  </a:lnTo>
                  <a:lnTo>
                    <a:pt x="34807" y="29827"/>
                  </a:lnTo>
                  <a:lnTo>
                    <a:pt x="11054" y="2185"/>
                  </a:lnTo>
                  <a:lnTo>
                    <a:pt x="10852" y="1964"/>
                  </a:lnTo>
                  <a:lnTo>
                    <a:pt x="10651" y="1763"/>
                  </a:lnTo>
                  <a:lnTo>
                    <a:pt x="10441" y="1572"/>
                  </a:lnTo>
                  <a:lnTo>
                    <a:pt x="10220" y="1380"/>
                  </a:lnTo>
                  <a:lnTo>
                    <a:pt x="10000" y="1208"/>
                  </a:lnTo>
                  <a:lnTo>
                    <a:pt x="9761" y="1045"/>
                  </a:lnTo>
                  <a:lnTo>
                    <a:pt x="9531" y="901"/>
                  </a:lnTo>
                  <a:lnTo>
                    <a:pt x="9282" y="757"/>
                  </a:lnTo>
                  <a:lnTo>
                    <a:pt x="9033" y="633"/>
                  </a:lnTo>
                  <a:lnTo>
                    <a:pt x="8784" y="518"/>
                  </a:lnTo>
                  <a:lnTo>
                    <a:pt x="8525" y="413"/>
                  </a:lnTo>
                  <a:lnTo>
                    <a:pt x="8266" y="317"/>
                  </a:lnTo>
                  <a:lnTo>
                    <a:pt x="7998" y="240"/>
                  </a:lnTo>
                  <a:lnTo>
                    <a:pt x="7730" y="164"/>
                  </a:lnTo>
                  <a:lnTo>
                    <a:pt x="7462" y="106"/>
                  </a:lnTo>
                  <a:lnTo>
                    <a:pt x="7194" y="68"/>
                  </a:lnTo>
                  <a:lnTo>
                    <a:pt x="6916" y="29"/>
                  </a:lnTo>
                  <a:lnTo>
                    <a:pt x="6648" y="10"/>
                  </a:lnTo>
                  <a:lnTo>
                    <a:pt x="6370" y="1"/>
                  </a:lnTo>
                  <a:close/>
                </a:path>
              </a:pathLst>
            </a:custGeom>
            <a:solidFill>
              <a:srgbClr val="6F1AD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6"/>
            <p:cNvSpPr/>
            <p:nvPr/>
          </p:nvSpPr>
          <p:spPr>
            <a:xfrm>
              <a:off x="4195221" y="2199696"/>
              <a:ext cx="205772" cy="324777"/>
            </a:xfrm>
            <a:custGeom>
              <a:avLst/>
              <a:gdLst/>
              <a:ahLst/>
              <a:cxnLst/>
              <a:rect l="l" t="t" r="r" b="b"/>
              <a:pathLst>
                <a:path w="5796" h="9148" extrusionOk="0">
                  <a:moveTo>
                    <a:pt x="3573" y="1"/>
                  </a:moveTo>
                  <a:lnTo>
                    <a:pt x="3228" y="796"/>
                  </a:lnTo>
                  <a:lnTo>
                    <a:pt x="2893" y="1543"/>
                  </a:lnTo>
                  <a:lnTo>
                    <a:pt x="2567" y="2232"/>
                  </a:lnTo>
                  <a:lnTo>
                    <a:pt x="2242" y="2874"/>
                  </a:lnTo>
                  <a:lnTo>
                    <a:pt x="1935" y="3458"/>
                  </a:lnTo>
                  <a:lnTo>
                    <a:pt x="1638" y="3995"/>
                  </a:lnTo>
                  <a:lnTo>
                    <a:pt x="1360" y="4483"/>
                  </a:lnTo>
                  <a:lnTo>
                    <a:pt x="1102" y="4914"/>
                  </a:lnTo>
                  <a:lnTo>
                    <a:pt x="862" y="5297"/>
                  </a:lnTo>
                  <a:lnTo>
                    <a:pt x="652" y="5632"/>
                  </a:lnTo>
                  <a:lnTo>
                    <a:pt x="460" y="5910"/>
                  </a:lnTo>
                  <a:lnTo>
                    <a:pt x="307" y="6140"/>
                  </a:lnTo>
                  <a:lnTo>
                    <a:pt x="87" y="6447"/>
                  </a:lnTo>
                  <a:lnTo>
                    <a:pt x="0" y="6552"/>
                  </a:lnTo>
                  <a:lnTo>
                    <a:pt x="230" y="6542"/>
                  </a:lnTo>
                  <a:lnTo>
                    <a:pt x="451" y="6562"/>
                  </a:lnTo>
                  <a:lnTo>
                    <a:pt x="680" y="6590"/>
                  </a:lnTo>
                  <a:lnTo>
                    <a:pt x="920" y="6638"/>
                  </a:lnTo>
                  <a:lnTo>
                    <a:pt x="1159" y="6705"/>
                  </a:lnTo>
                  <a:lnTo>
                    <a:pt x="1399" y="6782"/>
                  </a:lnTo>
                  <a:lnTo>
                    <a:pt x="1638" y="6868"/>
                  </a:lnTo>
                  <a:lnTo>
                    <a:pt x="1878" y="6973"/>
                  </a:lnTo>
                  <a:lnTo>
                    <a:pt x="2117" y="7079"/>
                  </a:lnTo>
                  <a:lnTo>
                    <a:pt x="2357" y="7194"/>
                  </a:lnTo>
                  <a:lnTo>
                    <a:pt x="2586" y="7318"/>
                  </a:lnTo>
                  <a:lnTo>
                    <a:pt x="2826" y="7452"/>
                  </a:lnTo>
                  <a:lnTo>
                    <a:pt x="3286" y="7720"/>
                  </a:lnTo>
                  <a:lnTo>
                    <a:pt x="3717" y="7989"/>
                  </a:lnTo>
                  <a:lnTo>
                    <a:pt x="4512" y="8506"/>
                  </a:lnTo>
                  <a:lnTo>
                    <a:pt x="4856" y="8736"/>
                  </a:lnTo>
                  <a:lnTo>
                    <a:pt x="5153" y="8918"/>
                  </a:lnTo>
                  <a:lnTo>
                    <a:pt x="5278" y="8994"/>
                  </a:lnTo>
                  <a:lnTo>
                    <a:pt x="5402" y="9052"/>
                  </a:lnTo>
                  <a:lnTo>
                    <a:pt x="5498" y="9100"/>
                  </a:lnTo>
                  <a:lnTo>
                    <a:pt x="5594" y="9128"/>
                  </a:lnTo>
                  <a:lnTo>
                    <a:pt x="5661" y="9148"/>
                  </a:lnTo>
                  <a:lnTo>
                    <a:pt x="5728" y="9138"/>
                  </a:lnTo>
                  <a:lnTo>
                    <a:pt x="5747" y="9128"/>
                  </a:lnTo>
                  <a:lnTo>
                    <a:pt x="5766" y="9109"/>
                  </a:lnTo>
                  <a:lnTo>
                    <a:pt x="5776" y="9090"/>
                  </a:lnTo>
                  <a:lnTo>
                    <a:pt x="5786" y="9061"/>
                  </a:lnTo>
                  <a:lnTo>
                    <a:pt x="5795" y="1361"/>
                  </a:lnTo>
                  <a:lnTo>
                    <a:pt x="3573"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6"/>
            <p:cNvSpPr/>
            <p:nvPr/>
          </p:nvSpPr>
          <p:spPr>
            <a:xfrm>
              <a:off x="4350256" y="2323134"/>
              <a:ext cx="50733" cy="169027"/>
            </a:xfrm>
            <a:custGeom>
              <a:avLst/>
              <a:gdLst/>
              <a:ahLst/>
              <a:cxnLst/>
              <a:rect l="l" t="t" r="r" b="b"/>
              <a:pathLst>
                <a:path w="1429" h="4761" extrusionOk="0">
                  <a:moveTo>
                    <a:pt x="384" y="0"/>
                  </a:moveTo>
                  <a:lnTo>
                    <a:pt x="365" y="10"/>
                  </a:lnTo>
                  <a:lnTo>
                    <a:pt x="346" y="29"/>
                  </a:lnTo>
                  <a:lnTo>
                    <a:pt x="336" y="48"/>
                  </a:lnTo>
                  <a:lnTo>
                    <a:pt x="307" y="106"/>
                  </a:lnTo>
                  <a:lnTo>
                    <a:pt x="240" y="269"/>
                  </a:lnTo>
                  <a:lnTo>
                    <a:pt x="183" y="441"/>
                  </a:lnTo>
                  <a:lnTo>
                    <a:pt x="135" y="613"/>
                  </a:lnTo>
                  <a:lnTo>
                    <a:pt x="97" y="786"/>
                  </a:lnTo>
                  <a:lnTo>
                    <a:pt x="58" y="958"/>
                  </a:lnTo>
                  <a:lnTo>
                    <a:pt x="30" y="1140"/>
                  </a:lnTo>
                  <a:lnTo>
                    <a:pt x="20" y="1313"/>
                  </a:lnTo>
                  <a:lnTo>
                    <a:pt x="11" y="1495"/>
                  </a:lnTo>
                  <a:lnTo>
                    <a:pt x="1" y="1667"/>
                  </a:lnTo>
                  <a:lnTo>
                    <a:pt x="11" y="1849"/>
                  </a:lnTo>
                  <a:lnTo>
                    <a:pt x="20" y="2021"/>
                  </a:lnTo>
                  <a:lnTo>
                    <a:pt x="39" y="2194"/>
                  </a:lnTo>
                  <a:lnTo>
                    <a:pt x="58" y="2366"/>
                  </a:lnTo>
                  <a:lnTo>
                    <a:pt x="97" y="2539"/>
                  </a:lnTo>
                  <a:lnTo>
                    <a:pt x="125" y="2711"/>
                  </a:lnTo>
                  <a:lnTo>
                    <a:pt x="173" y="2874"/>
                  </a:lnTo>
                  <a:lnTo>
                    <a:pt x="221" y="3037"/>
                  </a:lnTo>
                  <a:lnTo>
                    <a:pt x="269" y="3190"/>
                  </a:lnTo>
                  <a:lnTo>
                    <a:pt x="327" y="3343"/>
                  </a:lnTo>
                  <a:lnTo>
                    <a:pt x="394" y="3496"/>
                  </a:lnTo>
                  <a:lnTo>
                    <a:pt x="461" y="3640"/>
                  </a:lnTo>
                  <a:lnTo>
                    <a:pt x="528" y="3774"/>
                  </a:lnTo>
                  <a:lnTo>
                    <a:pt x="604" y="3908"/>
                  </a:lnTo>
                  <a:lnTo>
                    <a:pt x="681" y="4033"/>
                  </a:lnTo>
                  <a:lnTo>
                    <a:pt x="767" y="4157"/>
                  </a:lnTo>
                  <a:lnTo>
                    <a:pt x="853" y="4263"/>
                  </a:lnTo>
                  <a:lnTo>
                    <a:pt x="940" y="4368"/>
                  </a:lnTo>
                  <a:lnTo>
                    <a:pt x="1035" y="4464"/>
                  </a:lnTo>
                  <a:lnTo>
                    <a:pt x="1122" y="4560"/>
                  </a:lnTo>
                  <a:lnTo>
                    <a:pt x="1217" y="4636"/>
                  </a:lnTo>
                  <a:lnTo>
                    <a:pt x="1323" y="4703"/>
                  </a:lnTo>
                  <a:lnTo>
                    <a:pt x="1419" y="4761"/>
                  </a:lnTo>
                  <a:lnTo>
                    <a:pt x="1428" y="1092"/>
                  </a:lnTo>
                  <a:lnTo>
                    <a:pt x="1237" y="872"/>
                  </a:lnTo>
                  <a:lnTo>
                    <a:pt x="1055" y="652"/>
                  </a:lnTo>
                  <a:lnTo>
                    <a:pt x="882" y="431"/>
                  </a:lnTo>
                  <a:lnTo>
                    <a:pt x="719" y="240"/>
                  </a:lnTo>
                  <a:lnTo>
                    <a:pt x="643" y="163"/>
                  </a:lnTo>
                  <a:lnTo>
                    <a:pt x="576" y="96"/>
                  </a:lnTo>
                  <a:lnTo>
                    <a:pt x="509" y="48"/>
                  </a:lnTo>
                  <a:lnTo>
                    <a:pt x="451" y="20"/>
                  </a:lnTo>
                  <a:lnTo>
                    <a:pt x="403" y="0"/>
                  </a:lnTo>
                  <a:close/>
                </a:path>
              </a:pathLst>
            </a:custGeom>
            <a:solidFill>
              <a:srgbClr val="FF96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16"/>
            <p:cNvSpPr/>
            <p:nvPr/>
          </p:nvSpPr>
          <p:spPr>
            <a:xfrm>
              <a:off x="4349262" y="2111972"/>
              <a:ext cx="225121" cy="345865"/>
            </a:xfrm>
            <a:custGeom>
              <a:avLst/>
              <a:gdLst/>
              <a:ahLst/>
              <a:cxnLst/>
              <a:rect l="l" t="t" r="r" b="b"/>
              <a:pathLst>
                <a:path w="6341" h="9742" extrusionOk="0">
                  <a:moveTo>
                    <a:pt x="153" y="0"/>
                  </a:moveTo>
                  <a:lnTo>
                    <a:pt x="96" y="20"/>
                  </a:lnTo>
                  <a:lnTo>
                    <a:pt x="58" y="39"/>
                  </a:lnTo>
                  <a:lnTo>
                    <a:pt x="29" y="67"/>
                  </a:lnTo>
                  <a:lnTo>
                    <a:pt x="10" y="106"/>
                  </a:lnTo>
                  <a:lnTo>
                    <a:pt x="0" y="154"/>
                  </a:lnTo>
                  <a:lnTo>
                    <a:pt x="10" y="211"/>
                  </a:lnTo>
                  <a:lnTo>
                    <a:pt x="39" y="364"/>
                  </a:lnTo>
                  <a:lnTo>
                    <a:pt x="106" y="556"/>
                  </a:lnTo>
                  <a:lnTo>
                    <a:pt x="182" y="795"/>
                  </a:lnTo>
                  <a:lnTo>
                    <a:pt x="268" y="1083"/>
                  </a:lnTo>
                  <a:lnTo>
                    <a:pt x="355" y="1428"/>
                  </a:lnTo>
                  <a:lnTo>
                    <a:pt x="393" y="1610"/>
                  </a:lnTo>
                  <a:lnTo>
                    <a:pt x="431" y="1811"/>
                  </a:lnTo>
                  <a:lnTo>
                    <a:pt x="470" y="2031"/>
                  </a:lnTo>
                  <a:lnTo>
                    <a:pt x="498" y="2261"/>
                  </a:lnTo>
                  <a:lnTo>
                    <a:pt x="517" y="2500"/>
                  </a:lnTo>
                  <a:lnTo>
                    <a:pt x="537" y="2759"/>
                  </a:lnTo>
                  <a:lnTo>
                    <a:pt x="537" y="3037"/>
                  </a:lnTo>
                  <a:lnTo>
                    <a:pt x="537" y="3324"/>
                  </a:lnTo>
                  <a:lnTo>
                    <a:pt x="527" y="3630"/>
                  </a:lnTo>
                  <a:lnTo>
                    <a:pt x="498" y="3947"/>
                  </a:lnTo>
                  <a:lnTo>
                    <a:pt x="460" y="4282"/>
                  </a:lnTo>
                  <a:lnTo>
                    <a:pt x="403" y="4636"/>
                  </a:lnTo>
                  <a:lnTo>
                    <a:pt x="364" y="4952"/>
                  </a:lnTo>
                  <a:lnTo>
                    <a:pt x="326" y="5268"/>
                  </a:lnTo>
                  <a:lnTo>
                    <a:pt x="316" y="5575"/>
                  </a:lnTo>
                  <a:lnTo>
                    <a:pt x="316" y="5872"/>
                  </a:lnTo>
                  <a:lnTo>
                    <a:pt x="326" y="6159"/>
                  </a:lnTo>
                  <a:lnTo>
                    <a:pt x="355" y="6437"/>
                  </a:lnTo>
                  <a:lnTo>
                    <a:pt x="393" y="6705"/>
                  </a:lnTo>
                  <a:lnTo>
                    <a:pt x="441" y="6964"/>
                  </a:lnTo>
                  <a:lnTo>
                    <a:pt x="498" y="7222"/>
                  </a:lnTo>
                  <a:lnTo>
                    <a:pt x="565" y="7462"/>
                  </a:lnTo>
                  <a:lnTo>
                    <a:pt x="652" y="7692"/>
                  </a:lnTo>
                  <a:lnTo>
                    <a:pt x="738" y="7912"/>
                  </a:lnTo>
                  <a:lnTo>
                    <a:pt x="824" y="8113"/>
                  </a:lnTo>
                  <a:lnTo>
                    <a:pt x="929" y="8314"/>
                  </a:lnTo>
                  <a:lnTo>
                    <a:pt x="1035" y="8496"/>
                  </a:lnTo>
                  <a:lnTo>
                    <a:pt x="1140" y="8678"/>
                  </a:lnTo>
                  <a:lnTo>
                    <a:pt x="1255" y="8831"/>
                  </a:lnTo>
                  <a:lnTo>
                    <a:pt x="1379" y="8985"/>
                  </a:lnTo>
                  <a:lnTo>
                    <a:pt x="1504" y="9119"/>
                  </a:lnTo>
                  <a:lnTo>
                    <a:pt x="1619" y="9243"/>
                  </a:lnTo>
                  <a:lnTo>
                    <a:pt x="1743" y="9358"/>
                  </a:lnTo>
                  <a:lnTo>
                    <a:pt x="1878" y="9454"/>
                  </a:lnTo>
                  <a:lnTo>
                    <a:pt x="2002" y="9540"/>
                  </a:lnTo>
                  <a:lnTo>
                    <a:pt x="2117" y="9607"/>
                  </a:lnTo>
                  <a:lnTo>
                    <a:pt x="2242" y="9665"/>
                  </a:lnTo>
                  <a:lnTo>
                    <a:pt x="2366" y="9703"/>
                  </a:lnTo>
                  <a:lnTo>
                    <a:pt x="2481" y="9732"/>
                  </a:lnTo>
                  <a:lnTo>
                    <a:pt x="2586" y="9741"/>
                  </a:lnTo>
                  <a:lnTo>
                    <a:pt x="2692" y="9741"/>
                  </a:lnTo>
                  <a:lnTo>
                    <a:pt x="2797" y="9722"/>
                  </a:lnTo>
                  <a:lnTo>
                    <a:pt x="2893" y="9684"/>
                  </a:lnTo>
                  <a:lnTo>
                    <a:pt x="2979" y="9626"/>
                  </a:lnTo>
                  <a:lnTo>
                    <a:pt x="3247" y="9416"/>
                  </a:lnTo>
                  <a:lnTo>
                    <a:pt x="3506" y="9186"/>
                  </a:lnTo>
                  <a:lnTo>
                    <a:pt x="3745" y="8946"/>
                  </a:lnTo>
                  <a:lnTo>
                    <a:pt x="3975" y="8688"/>
                  </a:lnTo>
                  <a:lnTo>
                    <a:pt x="4186" y="8420"/>
                  </a:lnTo>
                  <a:lnTo>
                    <a:pt x="4387" y="8132"/>
                  </a:lnTo>
                  <a:lnTo>
                    <a:pt x="4579" y="7845"/>
                  </a:lnTo>
                  <a:lnTo>
                    <a:pt x="4751" y="7548"/>
                  </a:lnTo>
                  <a:lnTo>
                    <a:pt x="4914" y="7251"/>
                  </a:lnTo>
                  <a:lnTo>
                    <a:pt x="5067" y="6945"/>
                  </a:lnTo>
                  <a:lnTo>
                    <a:pt x="5211" y="6638"/>
                  </a:lnTo>
                  <a:lnTo>
                    <a:pt x="5345" y="6332"/>
                  </a:lnTo>
                  <a:lnTo>
                    <a:pt x="5460" y="6015"/>
                  </a:lnTo>
                  <a:lnTo>
                    <a:pt x="5575" y="5709"/>
                  </a:lnTo>
                  <a:lnTo>
                    <a:pt x="5670" y="5412"/>
                  </a:lnTo>
                  <a:lnTo>
                    <a:pt x="5766" y="5115"/>
                  </a:lnTo>
                  <a:lnTo>
                    <a:pt x="5852" y="4818"/>
                  </a:lnTo>
                  <a:lnTo>
                    <a:pt x="5920" y="4531"/>
                  </a:lnTo>
                  <a:lnTo>
                    <a:pt x="6054" y="3994"/>
                  </a:lnTo>
                  <a:lnTo>
                    <a:pt x="6149" y="3506"/>
                  </a:lnTo>
                  <a:lnTo>
                    <a:pt x="6226" y="3075"/>
                  </a:lnTo>
                  <a:lnTo>
                    <a:pt x="6274" y="2730"/>
                  </a:lnTo>
                  <a:lnTo>
                    <a:pt x="6303" y="2462"/>
                  </a:lnTo>
                  <a:lnTo>
                    <a:pt x="6331" y="2232"/>
                  </a:lnTo>
                  <a:lnTo>
                    <a:pt x="6341" y="2146"/>
                  </a:lnTo>
                  <a:lnTo>
                    <a:pt x="6341" y="2069"/>
                  </a:lnTo>
                  <a:lnTo>
                    <a:pt x="6341" y="1993"/>
                  </a:lnTo>
                  <a:lnTo>
                    <a:pt x="6331" y="1916"/>
                  </a:lnTo>
                  <a:lnTo>
                    <a:pt x="6312" y="1849"/>
                  </a:lnTo>
                  <a:lnTo>
                    <a:pt x="6293" y="1772"/>
                  </a:lnTo>
                  <a:lnTo>
                    <a:pt x="6264" y="1705"/>
                  </a:lnTo>
                  <a:lnTo>
                    <a:pt x="6226" y="1638"/>
                  </a:lnTo>
                  <a:lnTo>
                    <a:pt x="6188" y="1571"/>
                  </a:lnTo>
                  <a:lnTo>
                    <a:pt x="6140" y="1514"/>
                  </a:lnTo>
                  <a:lnTo>
                    <a:pt x="6034" y="1389"/>
                  </a:lnTo>
                  <a:lnTo>
                    <a:pt x="5910" y="1284"/>
                  </a:lnTo>
                  <a:lnTo>
                    <a:pt x="5766" y="1178"/>
                  </a:lnTo>
                  <a:lnTo>
                    <a:pt x="5594" y="1083"/>
                  </a:lnTo>
                  <a:lnTo>
                    <a:pt x="5421" y="987"/>
                  </a:lnTo>
                  <a:lnTo>
                    <a:pt x="5220" y="910"/>
                  </a:lnTo>
                  <a:lnTo>
                    <a:pt x="5019" y="824"/>
                  </a:lnTo>
                  <a:lnTo>
                    <a:pt x="4799" y="757"/>
                  </a:lnTo>
                  <a:lnTo>
                    <a:pt x="4569" y="690"/>
                  </a:lnTo>
                  <a:lnTo>
                    <a:pt x="4339" y="623"/>
                  </a:lnTo>
                  <a:lnTo>
                    <a:pt x="4090" y="565"/>
                  </a:lnTo>
                  <a:lnTo>
                    <a:pt x="3592" y="470"/>
                  </a:lnTo>
                  <a:lnTo>
                    <a:pt x="3084" y="374"/>
                  </a:lnTo>
                  <a:lnTo>
                    <a:pt x="2586" y="307"/>
                  </a:lnTo>
                  <a:lnTo>
                    <a:pt x="2098" y="240"/>
                  </a:lnTo>
                  <a:lnTo>
                    <a:pt x="1217" y="134"/>
                  </a:lnTo>
                  <a:lnTo>
                    <a:pt x="853" y="87"/>
                  </a:lnTo>
                  <a:lnTo>
                    <a:pt x="546" y="39"/>
                  </a:lnTo>
                  <a:lnTo>
                    <a:pt x="316"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6"/>
            <p:cNvSpPr/>
            <p:nvPr/>
          </p:nvSpPr>
          <p:spPr>
            <a:xfrm>
              <a:off x="4182618" y="1985800"/>
              <a:ext cx="505378" cy="302694"/>
            </a:xfrm>
            <a:custGeom>
              <a:avLst/>
              <a:gdLst/>
              <a:ahLst/>
              <a:cxnLst/>
              <a:rect l="l" t="t" r="r" b="b"/>
              <a:pathLst>
                <a:path w="14235" h="8526" extrusionOk="0">
                  <a:moveTo>
                    <a:pt x="4800" y="1"/>
                  </a:moveTo>
                  <a:lnTo>
                    <a:pt x="4646" y="10"/>
                  </a:lnTo>
                  <a:lnTo>
                    <a:pt x="4484" y="20"/>
                  </a:lnTo>
                  <a:lnTo>
                    <a:pt x="4302" y="49"/>
                  </a:lnTo>
                  <a:lnTo>
                    <a:pt x="4129" y="87"/>
                  </a:lnTo>
                  <a:lnTo>
                    <a:pt x="3957" y="125"/>
                  </a:lnTo>
                  <a:lnTo>
                    <a:pt x="3784" y="164"/>
                  </a:lnTo>
                  <a:lnTo>
                    <a:pt x="3621" y="221"/>
                  </a:lnTo>
                  <a:lnTo>
                    <a:pt x="3459" y="279"/>
                  </a:lnTo>
                  <a:lnTo>
                    <a:pt x="3305" y="336"/>
                  </a:lnTo>
                  <a:lnTo>
                    <a:pt x="3152" y="403"/>
                  </a:lnTo>
                  <a:lnTo>
                    <a:pt x="2999" y="480"/>
                  </a:lnTo>
                  <a:lnTo>
                    <a:pt x="2855" y="556"/>
                  </a:lnTo>
                  <a:lnTo>
                    <a:pt x="2712" y="643"/>
                  </a:lnTo>
                  <a:lnTo>
                    <a:pt x="2568" y="729"/>
                  </a:lnTo>
                  <a:lnTo>
                    <a:pt x="2434" y="825"/>
                  </a:lnTo>
                  <a:lnTo>
                    <a:pt x="2309" y="920"/>
                  </a:lnTo>
                  <a:lnTo>
                    <a:pt x="2051" y="1131"/>
                  </a:lnTo>
                  <a:lnTo>
                    <a:pt x="1811" y="1361"/>
                  </a:lnTo>
                  <a:lnTo>
                    <a:pt x="1591" y="1600"/>
                  </a:lnTo>
                  <a:lnTo>
                    <a:pt x="1380" y="1849"/>
                  </a:lnTo>
                  <a:lnTo>
                    <a:pt x="1189" y="2118"/>
                  </a:lnTo>
                  <a:lnTo>
                    <a:pt x="1007" y="2395"/>
                  </a:lnTo>
                  <a:lnTo>
                    <a:pt x="844" y="2683"/>
                  </a:lnTo>
                  <a:lnTo>
                    <a:pt x="691" y="2980"/>
                  </a:lnTo>
                  <a:lnTo>
                    <a:pt x="557" y="3286"/>
                  </a:lnTo>
                  <a:lnTo>
                    <a:pt x="442" y="3593"/>
                  </a:lnTo>
                  <a:lnTo>
                    <a:pt x="336" y="3909"/>
                  </a:lnTo>
                  <a:lnTo>
                    <a:pt x="240" y="4225"/>
                  </a:lnTo>
                  <a:lnTo>
                    <a:pt x="164" y="4551"/>
                  </a:lnTo>
                  <a:lnTo>
                    <a:pt x="106" y="4876"/>
                  </a:lnTo>
                  <a:lnTo>
                    <a:pt x="58" y="5192"/>
                  </a:lnTo>
                  <a:lnTo>
                    <a:pt x="20" y="5518"/>
                  </a:lnTo>
                  <a:lnTo>
                    <a:pt x="1" y="5834"/>
                  </a:lnTo>
                  <a:lnTo>
                    <a:pt x="1" y="6150"/>
                  </a:lnTo>
                  <a:lnTo>
                    <a:pt x="11" y="6457"/>
                  </a:lnTo>
                  <a:lnTo>
                    <a:pt x="39" y="6763"/>
                  </a:lnTo>
                  <a:lnTo>
                    <a:pt x="78" y="7050"/>
                  </a:lnTo>
                  <a:lnTo>
                    <a:pt x="135" y="7338"/>
                  </a:lnTo>
                  <a:lnTo>
                    <a:pt x="202" y="7616"/>
                  </a:lnTo>
                  <a:lnTo>
                    <a:pt x="288" y="7884"/>
                  </a:lnTo>
                  <a:lnTo>
                    <a:pt x="394" y="8133"/>
                  </a:lnTo>
                  <a:lnTo>
                    <a:pt x="432" y="8229"/>
                  </a:lnTo>
                  <a:lnTo>
                    <a:pt x="489" y="8305"/>
                  </a:lnTo>
                  <a:lnTo>
                    <a:pt x="547" y="8372"/>
                  </a:lnTo>
                  <a:lnTo>
                    <a:pt x="604" y="8430"/>
                  </a:lnTo>
                  <a:lnTo>
                    <a:pt x="662" y="8468"/>
                  </a:lnTo>
                  <a:lnTo>
                    <a:pt x="729" y="8497"/>
                  </a:lnTo>
                  <a:lnTo>
                    <a:pt x="806" y="8516"/>
                  </a:lnTo>
                  <a:lnTo>
                    <a:pt x="882" y="8525"/>
                  </a:lnTo>
                  <a:lnTo>
                    <a:pt x="959" y="8525"/>
                  </a:lnTo>
                  <a:lnTo>
                    <a:pt x="1045" y="8516"/>
                  </a:lnTo>
                  <a:lnTo>
                    <a:pt x="1131" y="8487"/>
                  </a:lnTo>
                  <a:lnTo>
                    <a:pt x="1217" y="8458"/>
                  </a:lnTo>
                  <a:lnTo>
                    <a:pt x="1313" y="8420"/>
                  </a:lnTo>
                  <a:lnTo>
                    <a:pt x="1409" y="8372"/>
                  </a:lnTo>
                  <a:lnTo>
                    <a:pt x="1610" y="8257"/>
                  </a:lnTo>
                  <a:lnTo>
                    <a:pt x="1830" y="8114"/>
                  </a:lnTo>
                  <a:lnTo>
                    <a:pt x="2051" y="7951"/>
                  </a:lnTo>
                  <a:lnTo>
                    <a:pt x="2290" y="7759"/>
                  </a:lnTo>
                  <a:lnTo>
                    <a:pt x="2539" y="7558"/>
                  </a:lnTo>
                  <a:lnTo>
                    <a:pt x="3066" y="7127"/>
                  </a:lnTo>
                  <a:lnTo>
                    <a:pt x="3621" y="6667"/>
                  </a:lnTo>
                  <a:lnTo>
                    <a:pt x="3909" y="6447"/>
                  </a:lnTo>
                  <a:lnTo>
                    <a:pt x="4196" y="6227"/>
                  </a:lnTo>
                  <a:lnTo>
                    <a:pt x="4493" y="6016"/>
                  </a:lnTo>
                  <a:lnTo>
                    <a:pt x="4800" y="5824"/>
                  </a:lnTo>
                  <a:lnTo>
                    <a:pt x="5106" y="5642"/>
                  </a:lnTo>
                  <a:lnTo>
                    <a:pt x="5413" y="5489"/>
                  </a:lnTo>
                  <a:lnTo>
                    <a:pt x="5566" y="5422"/>
                  </a:lnTo>
                  <a:lnTo>
                    <a:pt x="5729" y="5355"/>
                  </a:lnTo>
                  <a:lnTo>
                    <a:pt x="5882" y="5298"/>
                  </a:lnTo>
                  <a:lnTo>
                    <a:pt x="6035" y="5250"/>
                  </a:lnTo>
                  <a:lnTo>
                    <a:pt x="6198" y="5211"/>
                  </a:lnTo>
                  <a:lnTo>
                    <a:pt x="6351" y="5183"/>
                  </a:lnTo>
                  <a:lnTo>
                    <a:pt x="6514" y="5154"/>
                  </a:lnTo>
                  <a:lnTo>
                    <a:pt x="6667" y="5144"/>
                  </a:lnTo>
                  <a:lnTo>
                    <a:pt x="6983" y="5144"/>
                  </a:lnTo>
                  <a:lnTo>
                    <a:pt x="7137" y="5164"/>
                  </a:lnTo>
                  <a:lnTo>
                    <a:pt x="7290" y="5192"/>
                  </a:lnTo>
                  <a:lnTo>
                    <a:pt x="7443" y="5231"/>
                  </a:lnTo>
                  <a:lnTo>
                    <a:pt x="7596" y="5288"/>
                  </a:lnTo>
                  <a:lnTo>
                    <a:pt x="7750" y="5355"/>
                  </a:lnTo>
                  <a:lnTo>
                    <a:pt x="7903" y="5432"/>
                  </a:lnTo>
                  <a:lnTo>
                    <a:pt x="8056" y="5527"/>
                  </a:lnTo>
                  <a:lnTo>
                    <a:pt x="8209" y="5633"/>
                  </a:lnTo>
                  <a:lnTo>
                    <a:pt x="8363" y="5748"/>
                  </a:lnTo>
                  <a:lnTo>
                    <a:pt x="8506" y="5882"/>
                  </a:lnTo>
                  <a:lnTo>
                    <a:pt x="8765" y="6121"/>
                  </a:lnTo>
                  <a:lnTo>
                    <a:pt x="9014" y="6322"/>
                  </a:lnTo>
                  <a:lnTo>
                    <a:pt x="9263" y="6504"/>
                  </a:lnTo>
                  <a:lnTo>
                    <a:pt x="9502" y="6667"/>
                  </a:lnTo>
                  <a:lnTo>
                    <a:pt x="9742" y="6801"/>
                  </a:lnTo>
                  <a:lnTo>
                    <a:pt x="9981" y="6916"/>
                  </a:lnTo>
                  <a:lnTo>
                    <a:pt x="10211" y="7003"/>
                  </a:lnTo>
                  <a:lnTo>
                    <a:pt x="10441" y="7079"/>
                  </a:lnTo>
                  <a:lnTo>
                    <a:pt x="10661" y="7127"/>
                  </a:lnTo>
                  <a:lnTo>
                    <a:pt x="10882" y="7165"/>
                  </a:lnTo>
                  <a:lnTo>
                    <a:pt x="11102" y="7175"/>
                  </a:lnTo>
                  <a:lnTo>
                    <a:pt x="11303" y="7175"/>
                  </a:lnTo>
                  <a:lnTo>
                    <a:pt x="11514" y="7156"/>
                  </a:lnTo>
                  <a:lnTo>
                    <a:pt x="11705" y="7127"/>
                  </a:lnTo>
                  <a:lnTo>
                    <a:pt x="11897" y="7079"/>
                  </a:lnTo>
                  <a:lnTo>
                    <a:pt x="12089" y="7022"/>
                  </a:lnTo>
                  <a:lnTo>
                    <a:pt x="12271" y="6945"/>
                  </a:lnTo>
                  <a:lnTo>
                    <a:pt x="12443" y="6859"/>
                  </a:lnTo>
                  <a:lnTo>
                    <a:pt x="12606" y="6763"/>
                  </a:lnTo>
                  <a:lnTo>
                    <a:pt x="12769" y="6658"/>
                  </a:lnTo>
                  <a:lnTo>
                    <a:pt x="12922" y="6543"/>
                  </a:lnTo>
                  <a:lnTo>
                    <a:pt x="13065" y="6418"/>
                  </a:lnTo>
                  <a:lnTo>
                    <a:pt x="13200" y="6294"/>
                  </a:lnTo>
                  <a:lnTo>
                    <a:pt x="13324" y="6150"/>
                  </a:lnTo>
                  <a:lnTo>
                    <a:pt x="13449" y="6016"/>
                  </a:lnTo>
                  <a:lnTo>
                    <a:pt x="13564" y="5863"/>
                  </a:lnTo>
                  <a:lnTo>
                    <a:pt x="13669" y="5709"/>
                  </a:lnTo>
                  <a:lnTo>
                    <a:pt x="13765" y="5556"/>
                  </a:lnTo>
                  <a:lnTo>
                    <a:pt x="13851" y="5403"/>
                  </a:lnTo>
                  <a:lnTo>
                    <a:pt x="13928" y="5240"/>
                  </a:lnTo>
                  <a:lnTo>
                    <a:pt x="13995" y="5077"/>
                  </a:lnTo>
                  <a:lnTo>
                    <a:pt x="14052" y="4924"/>
                  </a:lnTo>
                  <a:lnTo>
                    <a:pt x="14100" y="4742"/>
                  </a:lnTo>
                  <a:lnTo>
                    <a:pt x="14148" y="4531"/>
                  </a:lnTo>
                  <a:lnTo>
                    <a:pt x="14196" y="4292"/>
                  </a:lnTo>
                  <a:lnTo>
                    <a:pt x="14224" y="4033"/>
                  </a:lnTo>
                  <a:lnTo>
                    <a:pt x="14234" y="3765"/>
                  </a:lnTo>
                  <a:lnTo>
                    <a:pt x="14234" y="3478"/>
                  </a:lnTo>
                  <a:lnTo>
                    <a:pt x="14224" y="3334"/>
                  </a:lnTo>
                  <a:lnTo>
                    <a:pt x="14205" y="3190"/>
                  </a:lnTo>
                  <a:lnTo>
                    <a:pt x="14177" y="3047"/>
                  </a:lnTo>
                  <a:lnTo>
                    <a:pt x="14148" y="2903"/>
                  </a:lnTo>
                  <a:lnTo>
                    <a:pt x="14110" y="2759"/>
                  </a:lnTo>
                  <a:lnTo>
                    <a:pt x="14071" y="2616"/>
                  </a:lnTo>
                  <a:lnTo>
                    <a:pt x="14014" y="2472"/>
                  </a:lnTo>
                  <a:lnTo>
                    <a:pt x="13956" y="2338"/>
                  </a:lnTo>
                  <a:lnTo>
                    <a:pt x="13880" y="2204"/>
                  </a:lnTo>
                  <a:lnTo>
                    <a:pt x="13803" y="2070"/>
                  </a:lnTo>
                  <a:lnTo>
                    <a:pt x="13707" y="1945"/>
                  </a:lnTo>
                  <a:lnTo>
                    <a:pt x="13602" y="1830"/>
                  </a:lnTo>
                  <a:lnTo>
                    <a:pt x="13497" y="1715"/>
                  </a:lnTo>
                  <a:lnTo>
                    <a:pt x="13372" y="1610"/>
                  </a:lnTo>
                  <a:lnTo>
                    <a:pt x="13228" y="1514"/>
                  </a:lnTo>
                  <a:lnTo>
                    <a:pt x="13085" y="1418"/>
                  </a:lnTo>
                  <a:lnTo>
                    <a:pt x="12922" y="1332"/>
                  </a:lnTo>
                  <a:lnTo>
                    <a:pt x="12749" y="1265"/>
                  </a:lnTo>
                  <a:lnTo>
                    <a:pt x="12558" y="1198"/>
                  </a:lnTo>
                  <a:lnTo>
                    <a:pt x="12357" y="1141"/>
                  </a:lnTo>
                  <a:lnTo>
                    <a:pt x="12280" y="1131"/>
                  </a:lnTo>
                  <a:lnTo>
                    <a:pt x="12203" y="1122"/>
                  </a:lnTo>
                  <a:lnTo>
                    <a:pt x="12041" y="1122"/>
                  </a:lnTo>
                  <a:lnTo>
                    <a:pt x="11887" y="1150"/>
                  </a:lnTo>
                  <a:lnTo>
                    <a:pt x="11715" y="1189"/>
                  </a:lnTo>
                  <a:lnTo>
                    <a:pt x="11543" y="1246"/>
                  </a:lnTo>
                  <a:lnTo>
                    <a:pt x="11351" y="1304"/>
                  </a:lnTo>
                  <a:lnTo>
                    <a:pt x="11150" y="1371"/>
                  </a:lnTo>
                  <a:lnTo>
                    <a:pt x="10939" y="1438"/>
                  </a:lnTo>
                  <a:lnTo>
                    <a:pt x="10700" y="1505"/>
                  </a:lnTo>
                  <a:lnTo>
                    <a:pt x="10451" y="1562"/>
                  </a:lnTo>
                  <a:lnTo>
                    <a:pt x="10173" y="1610"/>
                  </a:lnTo>
                  <a:lnTo>
                    <a:pt x="9866" y="1639"/>
                  </a:lnTo>
                  <a:lnTo>
                    <a:pt x="9704" y="1639"/>
                  </a:lnTo>
                  <a:lnTo>
                    <a:pt x="9541" y="1648"/>
                  </a:lnTo>
                  <a:lnTo>
                    <a:pt x="9368" y="1639"/>
                  </a:lnTo>
                  <a:lnTo>
                    <a:pt x="9186" y="1629"/>
                  </a:lnTo>
                  <a:lnTo>
                    <a:pt x="8995" y="1610"/>
                  </a:lnTo>
                  <a:lnTo>
                    <a:pt x="8803" y="1591"/>
                  </a:lnTo>
                  <a:lnTo>
                    <a:pt x="8593" y="1553"/>
                  </a:lnTo>
                  <a:lnTo>
                    <a:pt x="8382" y="1514"/>
                  </a:lnTo>
                  <a:lnTo>
                    <a:pt x="8296" y="1495"/>
                  </a:lnTo>
                  <a:lnTo>
                    <a:pt x="8209" y="1466"/>
                  </a:lnTo>
                  <a:lnTo>
                    <a:pt x="8037" y="1390"/>
                  </a:lnTo>
                  <a:lnTo>
                    <a:pt x="7845" y="1284"/>
                  </a:lnTo>
                  <a:lnTo>
                    <a:pt x="7644" y="1169"/>
                  </a:lnTo>
                  <a:lnTo>
                    <a:pt x="7223" y="901"/>
                  </a:lnTo>
                  <a:lnTo>
                    <a:pt x="6993" y="758"/>
                  </a:lnTo>
                  <a:lnTo>
                    <a:pt x="6754" y="614"/>
                  </a:lnTo>
                  <a:lnTo>
                    <a:pt x="6504" y="480"/>
                  </a:lnTo>
                  <a:lnTo>
                    <a:pt x="6246" y="346"/>
                  </a:lnTo>
                  <a:lnTo>
                    <a:pt x="5978" y="231"/>
                  </a:lnTo>
                  <a:lnTo>
                    <a:pt x="5844" y="183"/>
                  </a:lnTo>
                  <a:lnTo>
                    <a:pt x="5700" y="135"/>
                  </a:lnTo>
                  <a:lnTo>
                    <a:pt x="5556" y="97"/>
                  </a:lnTo>
                  <a:lnTo>
                    <a:pt x="5413" y="58"/>
                  </a:lnTo>
                  <a:lnTo>
                    <a:pt x="5259" y="30"/>
                  </a:lnTo>
                  <a:lnTo>
                    <a:pt x="5116" y="10"/>
                  </a:lnTo>
                  <a:lnTo>
                    <a:pt x="495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269;p16"/>
            <p:cNvSpPr/>
            <p:nvPr/>
          </p:nvSpPr>
          <p:spPr>
            <a:xfrm>
              <a:off x="4517219" y="2289124"/>
              <a:ext cx="35751" cy="87088"/>
            </a:xfrm>
            <a:custGeom>
              <a:avLst/>
              <a:gdLst/>
              <a:ahLst/>
              <a:cxnLst/>
              <a:rect l="l" t="t" r="r" b="b"/>
              <a:pathLst>
                <a:path w="1007" h="2453" extrusionOk="0">
                  <a:moveTo>
                    <a:pt x="1007" y="1"/>
                  </a:moveTo>
                  <a:lnTo>
                    <a:pt x="30" y="1907"/>
                  </a:lnTo>
                  <a:lnTo>
                    <a:pt x="10" y="1974"/>
                  </a:lnTo>
                  <a:lnTo>
                    <a:pt x="1" y="2041"/>
                  </a:lnTo>
                  <a:lnTo>
                    <a:pt x="1" y="2108"/>
                  </a:lnTo>
                  <a:lnTo>
                    <a:pt x="20" y="2175"/>
                  </a:lnTo>
                  <a:lnTo>
                    <a:pt x="49" y="2232"/>
                  </a:lnTo>
                  <a:lnTo>
                    <a:pt x="97" y="2290"/>
                  </a:lnTo>
                  <a:lnTo>
                    <a:pt x="144" y="2338"/>
                  </a:lnTo>
                  <a:lnTo>
                    <a:pt x="202" y="2366"/>
                  </a:lnTo>
                  <a:lnTo>
                    <a:pt x="326" y="2414"/>
                  </a:lnTo>
                  <a:lnTo>
                    <a:pt x="451" y="2443"/>
                  </a:lnTo>
                  <a:lnTo>
                    <a:pt x="499" y="2453"/>
                  </a:lnTo>
                  <a:lnTo>
                    <a:pt x="547" y="2453"/>
                  </a:lnTo>
                  <a:lnTo>
                    <a:pt x="643" y="2443"/>
                  </a:lnTo>
                  <a:lnTo>
                    <a:pt x="729" y="2405"/>
                  </a:lnTo>
                  <a:lnTo>
                    <a:pt x="805" y="2357"/>
                  </a:lnTo>
                  <a:lnTo>
                    <a:pt x="882" y="2290"/>
                  </a:lnTo>
                  <a:lnTo>
                    <a:pt x="930" y="2213"/>
                  </a:lnTo>
                  <a:lnTo>
                    <a:pt x="968" y="2127"/>
                  </a:lnTo>
                  <a:lnTo>
                    <a:pt x="987" y="2031"/>
                  </a:lnTo>
                  <a:lnTo>
                    <a:pt x="1007"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270;p16"/>
            <p:cNvSpPr/>
            <p:nvPr/>
          </p:nvSpPr>
          <p:spPr>
            <a:xfrm>
              <a:off x="4495457" y="2269066"/>
              <a:ext cx="20804" cy="32343"/>
            </a:xfrm>
            <a:custGeom>
              <a:avLst/>
              <a:gdLst/>
              <a:ahLst/>
              <a:cxnLst/>
              <a:rect l="l" t="t" r="r" b="b"/>
              <a:pathLst>
                <a:path w="586" h="911" extrusionOk="0">
                  <a:moveTo>
                    <a:pt x="441" y="0"/>
                  </a:moveTo>
                  <a:lnTo>
                    <a:pt x="384" y="10"/>
                  </a:lnTo>
                  <a:lnTo>
                    <a:pt x="326" y="29"/>
                  </a:lnTo>
                  <a:lnTo>
                    <a:pt x="279" y="77"/>
                  </a:lnTo>
                  <a:lnTo>
                    <a:pt x="221" y="125"/>
                  </a:lnTo>
                  <a:lnTo>
                    <a:pt x="164" y="192"/>
                  </a:lnTo>
                  <a:lnTo>
                    <a:pt x="116" y="269"/>
                  </a:lnTo>
                  <a:lnTo>
                    <a:pt x="68" y="364"/>
                  </a:lnTo>
                  <a:lnTo>
                    <a:pt x="39" y="451"/>
                  </a:lnTo>
                  <a:lnTo>
                    <a:pt x="10" y="537"/>
                  </a:lnTo>
                  <a:lnTo>
                    <a:pt x="1" y="623"/>
                  </a:lnTo>
                  <a:lnTo>
                    <a:pt x="1" y="700"/>
                  </a:lnTo>
                  <a:lnTo>
                    <a:pt x="1" y="767"/>
                  </a:lnTo>
                  <a:lnTo>
                    <a:pt x="20" y="824"/>
                  </a:lnTo>
                  <a:lnTo>
                    <a:pt x="49" y="872"/>
                  </a:lnTo>
                  <a:lnTo>
                    <a:pt x="97" y="901"/>
                  </a:lnTo>
                  <a:lnTo>
                    <a:pt x="144" y="910"/>
                  </a:lnTo>
                  <a:lnTo>
                    <a:pt x="192" y="901"/>
                  </a:lnTo>
                  <a:lnTo>
                    <a:pt x="250" y="882"/>
                  </a:lnTo>
                  <a:lnTo>
                    <a:pt x="307" y="843"/>
                  </a:lnTo>
                  <a:lnTo>
                    <a:pt x="355" y="786"/>
                  </a:lnTo>
                  <a:lnTo>
                    <a:pt x="413" y="719"/>
                  </a:lnTo>
                  <a:lnTo>
                    <a:pt x="461" y="642"/>
                  </a:lnTo>
                  <a:lnTo>
                    <a:pt x="508" y="556"/>
                  </a:lnTo>
                  <a:lnTo>
                    <a:pt x="537" y="460"/>
                  </a:lnTo>
                  <a:lnTo>
                    <a:pt x="566" y="374"/>
                  </a:lnTo>
                  <a:lnTo>
                    <a:pt x="576" y="288"/>
                  </a:lnTo>
                  <a:lnTo>
                    <a:pt x="585" y="211"/>
                  </a:lnTo>
                  <a:lnTo>
                    <a:pt x="576" y="144"/>
                  </a:lnTo>
                  <a:lnTo>
                    <a:pt x="556" y="87"/>
                  </a:lnTo>
                  <a:lnTo>
                    <a:pt x="528" y="39"/>
                  </a:lnTo>
                  <a:lnTo>
                    <a:pt x="489" y="10"/>
                  </a:lnTo>
                  <a:lnTo>
                    <a:pt x="44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16"/>
            <p:cNvSpPr/>
            <p:nvPr/>
          </p:nvSpPr>
          <p:spPr>
            <a:xfrm>
              <a:off x="4493433" y="2231647"/>
              <a:ext cx="39798" cy="18745"/>
            </a:xfrm>
            <a:custGeom>
              <a:avLst/>
              <a:gdLst/>
              <a:ahLst/>
              <a:cxnLst/>
              <a:rect l="l" t="t" r="r" b="b"/>
              <a:pathLst>
                <a:path w="1121" h="528" extrusionOk="0">
                  <a:moveTo>
                    <a:pt x="403" y="1"/>
                  </a:moveTo>
                  <a:lnTo>
                    <a:pt x="307" y="10"/>
                  </a:lnTo>
                  <a:lnTo>
                    <a:pt x="221" y="30"/>
                  </a:lnTo>
                  <a:lnTo>
                    <a:pt x="134" y="68"/>
                  </a:lnTo>
                  <a:lnTo>
                    <a:pt x="96" y="97"/>
                  </a:lnTo>
                  <a:lnTo>
                    <a:pt x="67" y="125"/>
                  </a:lnTo>
                  <a:lnTo>
                    <a:pt x="0" y="192"/>
                  </a:lnTo>
                  <a:lnTo>
                    <a:pt x="163" y="250"/>
                  </a:lnTo>
                  <a:lnTo>
                    <a:pt x="297" y="307"/>
                  </a:lnTo>
                  <a:lnTo>
                    <a:pt x="537" y="394"/>
                  </a:lnTo>
                  <a:lnTo>
                    <a:pt x="671" y="432"/>
                  </a:lnTo>
                  <a:lnTo>
                    <a:pt x="805" y="470"/>
                  </a:lnTo>
                  <a:lnTo>
                    <a:pt x="949" y="509"/>
                  </a:lnTo>
                  <a:lnTo>
                    <a:pt x="1121" y="528"/>
                  </a:lnTo>
                  <a:lnTo>
                    <a:pt x="1102" y="441"/>
                  </a:lnTo>
                  <a:lnTo>
                    <a:pt x="1064" y="355"/>
                  </a:lnTo>
                  <a:lnTo>
                    <a:pt x="1016" y="288"/>
                  </a:lnTo>
                  <a:lnTo>
                    <a:pt x="958" y="221"/>
                  </a:lnTo>
                  <a:lnTo>
                    <a:pt x="891" y="164"/>
                  </a:lnTo>
                  <a:lnTo>
                    <a:pt x="824" y="116"/>
                  </a:lnTo>
                  <a:lnTo>
                    <a:pt x="747" y="68"/>
                  </a:lnTo>
                  <a:lnTo>
                    <a:pt x="661" y="39"/>
                  </a:lnTo>
                  <a:lnTo>
                    <a:pt x="575" y="10"/>
                  </a:lnTo>
                  <a:lnTo>
                    <a:pt x="48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16"/>
            <p:cNvSpPr/>
            <p:nvPr/>
          </p:nvSpPr>
          <p:spPr>
            <a:xfrm>
              <a:off x="4192168" y="2071500"/>
              <a:ext cx="302339" cy="282280"/>
            </a:xfrm>
            <a:custGeom>
              <a:avLst/>
              <a:gdLst/>
              <a:ahLst/>
              <a:cxnLst/>
              <a:rect l="l" t="t" r="r" b="b"/>
              <a:pathLst>
                <a:path w="8516" h="7951" extrusionOk="0">
                  <a:moveTo>
                    <a:pt x="4828" y="1"/>
                  </a:moveTo>
                  <a:lnTo>
                    <a:pt x="4569" y="10"/>
                  </a:lnTo>
                  <a:lnTo>
                    <a:pt x="4320" y="20"/>
                  </a:lnTo>
                  <a:lnTo>
                    <a:pt x="4080" y="29"/>
                  </a:lnTo>
                  <a:lnTo>
                    <a:pt x="3630" y="77"/>
                  </a:lnTo>
                  <a:lnTo>
                    <a:pt x="3218" y="135"/>
                  </a:lnTo>
                  <a:lnTo>
                    <a:pt x="2854" y="192"/>
                  </a:lnTo>
                  <a:lnTo>
                    <a:pt x="2567" y="259"/>
                  </a:lnTo>
                  <a:lnTo>
                    <a:pt x="2337" y="307"/>
                  </a:lnTo>
                  <a:lnTo>
                    <a:pt x="2146" y="355"/>
                  </a:lnTo>
                  <a:lnTo>
                    <a:pt x="1964" y="566"/>
                  </a:lnTo>
                  <a:lnTo>
                    <a:pt x="1763" y="815"/>
                  </a:lnTo>
                  <a:lnTo>
                    <a:pt x="1504" y="1150"/>
                  </a:lnTo>
                  <a:lnTo>
                    <a:pt x="1226" y="1543"/>
                  </a:lnTo>
                  <a:lnTo>
                    <a:pt x="1082" y="1763"/>
                  </a:lnTo>
                  <a:lnTo>
                    <a:pt x="939" y="2002"/>
                  </a:lnTo>
                  <a:lnTo>
                    <a:pt x="795" y="2251"/>
                  </a:lnTo>
                  <a:lnTo>
                    <a:pt x="651" y="2510"/>
                  </a:lnTo>
                  <a:lnTo>
                    <a:pt x="517" y="2778"/>
                  </a:lnTo>
                  <a:lnTo>
                    <a:pt x="402" y="3056"/>
                  </a:lnTo>
                  <a:lnTo>
                    <a:pt x="288" y="3343"/>
                  </a:lnTo>
                  <a:lnTo>
                    <a:pt x="192" y="3631"/>
                  </a:lnTo>
                  <a:lnTo>
                    <a:pt x="115" y="3928"/>
                  </a:lnTo>
                  <a:lnTo>
                    <a:pt x="48" y="4225"/>
                  </a:lnTo>
                  <a:lnTo>
                    <a:pt x="10" y="4521"/>
                  </a:lnTo>
                  <a:lnTo>
                    <a:pt x="0" y="4665"/>
                  </a:lnTo>
                  <a:lnTo>
                    <a:pt x="0" y="4818"/>
                  </a:lnTo>
                  <a:lnTo>
                    <a:pt x="0" y="4972"/>
                  </a:lnTo>
                  <a:lnTo>
                    <a:pt x="10" y="5115"/>
                  </a:lnTo>
                  <a:lnTo>
                    <a:pt x="29" y="5269"/>
                  </a:lnTo>
                  <a:lnTo>
                    <a:pt x="48" y="5412"/>
                  </a:lnTo>
                  <a:lnTo>
                    <a:pt x="77" y="5556"/>
                  </a:lnTo>
                  <a:lnTo>
                    <a:pt x="115" y="5709"/>
                  </a:lnTo>
                  <a:lnTo>
                    <a:pt x="163" y="5853"/>
                  </a:lnTo>
                  <a:lnTo>
                    <a:pt x="220" y="5996"/>
                  </a:lnTo>
                  <a:lnTo>
                    <a:pt x="288" y="6131"/>
                  </a:lnTo>
                  <a:lnTo>
                    <a:pt x="364" y="6274"/>
                  </a:lnTo>
                  <a:lnTo>
                    <a:pt x="441" y="6408"/>
                  </a:lnTo>
                  <a:lnTo>
                    <a:pt x="537" y="6542"/>
                  </a:lnTo>
                  <a:lnTo>
                    <a:pt x="642" y="6677"/>
                  </a:lnTo>
                  <a:lnTo>
                    <a:pt x="757" y="6811"/>
                  </a:lnTo>
                  <a:lnTo>
                    <a:pt x="881" y="6945"/>
                  </a:lnTo>
                  <a:lnTo>
                    <a:pt x="1015" y="7069"/>
                  </a:lnTo>
                  <a:lnTo>
                    <a:pt x="1159" y="7184"/>
                  </a:lnTo>
                  <a:lnTo>
                    <a:pt x="1322" y="7309"/>
                  </a:lnTo>
                  <a:lnTo>
                    <a:pt x="1494" y="7424"/>
                  </a:lnTo>
                  <a:lnTo>
                    <a:pt x="1676" y="7539"/>
                  </a:lnTo>
                  <a:lnTo>
                    <a:pt x="1916" y="7673"/>
                  </a:lnTo>
                  <a:lnTo>
                    <a:pt x="2146" y="7768"/>
                  </a:lnTo>
                  <a:lnTo>
                    <a:pt x="2366" y="7855"/>
                  </a:lnTo>
                  <a:lnTo>
                    <a:pt x="2577" y="7903"/>
                  </a:lnTo>
                  <a:lnTo>
                    <a:pt x="2778" y="7941"/>
                  </a:lnTo>
                  <a:lnTo>
                    <a:pt x="2979" y="7950"/>
                  </a:lnTo>
                  <a:lnTo>
                    <a:pt x="3161" y="7941"/>
                  </a:lnTo>
                  <a:lnTo>
                    <a:pt x="3343" y="7922"/>
                  </a:lnTo>
                  <a:lnTo>
                    <a:pt x="3515" y="7874"/>
                  </a:lnTo>
                  <a:lnTo>
                    <a:pt x="3678" y="7816"/>
                  </a:lnTo>
                  <a:lnTo>
                    <a:pt x="3831" y="7740"/>
                  </a:lnTo>
                  <a:lnTo>
                    <a:pt x="3985" y="7644"/>
                  </a:lnTo>
                  <a:lnTo>
                    <a:pt x="4119" y="7548"/>
                  </a:lnTo>
                  <a:lnTo>
                    <a:pt x="4253" y="7433"/>
                  </a:lnTo>
                  <a:lnTo>
                    <a:pt x="4377" y="7309"/>
                  </a:lnTo>
                  <a:lnTo>
                    <a:pt x="4502" y="7175"/>
                  </a:lnTo>
                  <a:lnTo>
                    <a:pt x="4607" y="7031"/>
                  </a:lnTo>
                  <a:lnTo>
                    <a:pt x="4713" y="6887"/>
                  </a:lnTo>
                  <a:lnTo>
                    <a:pt x="4808" y="6734"/>
                  </a:lnTo>
                  <a:lnTo>
                    <a:pt x="4895" y="6581"/>
                  </a:lnTo>
                  <a:lnTo>
                    <a:pt x="4971" y="6418"/>
                  </a:lnTo>
                  <a:lnTo>
                    <a:pt x="5048" y="6255"/>
                  </a:lnTo>
                  <a:lnTo>
                    <a:pt x="5115" y="6092"/>
                  </a:lnTo>
                  <a:lnTo>
                    <a:pt x="5172" y="5929"/>
                  </a:lnTo>
                  <a:lnTo>
                    <a:pt x="5230" y="5767"/>
                  </a:lnTo>
                  <a:lnTo>
                    <a:pt x="5278" y="5604"/>
                  </a:lnTo>
                  <a:lnTo>
                    <a:pt x="5345" y="5307"/>
                  </a:lnTo>
                  <a:lnTo>
                    <a:pt x="5393" y="5029"/>
                  </a:lnTo>
                  <a:lnTo>
                    <a:pt x="5412" y="4780"/>
                  </a:lnTo>
                  <a:lnTo>
                    <a:pt x="5431" y="4579"/>
                  </a:lnTo>
                  <a:lnTo>
                    <a:pt x="5460" y="4387"/>
                  </a:lnTo>
                  <a:lnTo>
                    <a:pt x="5508" y="4196"/>
                  </a:lnTo>
                  <a:lnTo>
                    <a:pt x="5565" y="4014"/>
                  </a:lnTo>
                  <a:lnTo>
                    <a:pt x="5642" y="3841"/>
                  </a:lnTo>
                  <a:lnTo>
                    <a:pt x="5728" y="3679"/>
                  </a:lnTo>
                  <a:lnTo>
                    <a:pt x="5814" y="3516"/>
                  </a:lnTo>
                  <a:lnTo>
                    <a:pt x="5919" y="3363"/>
                  </a:lnTo>
                  <a:lnTo>
                    <a:pt x="6034" y="3219"/>
                  </a:lnTo>
                  <a:lnTo>
                    <a:pt x="6149" y="3085"/>
                  </a:lnTo>
                  <a:lnTo>
                    <a:pt x="6274" y="2951"/>
                  </a:lnTo>
                  <a:lnTo>
                    <a:pt x="6408" y="2826"/>
                  </a:lnTo>
                  <a:lnTo>
                    <a:pt x="6542" y="2711"/>
                  </a:lnTo>
                  <a:lnTo>
                    <a:pt x="6676" y="2596"/>
                  </a:lnTo>
                  <a:lnTo>
                    <a:pt x="6820" y="2500"/>
                  </a:lnTo>
                  <a:lnTo>
                    <a:pt x="6954" y="2395"/>
                  </a:lnTo>
                  <a:lnTo>
                    <a:pt x="7241" y="2223"/>
                  </a:lnTo>
                  <a:lnTo>
                    <a:pt x="7509" y="2069"/>
                  </a:lnTo>
                  <a:lnTo>
                    <a:pt x="7758" y="1945"/>
                  </a:lnTo>
                  <a:lnTo>
                    <a:pt x="7979" y="1840"/>
                  </a:lnTo>
                  <a:lnTo>
                    <a:pt x="8170" y="1763"/>
                  </a:lnTo>
                  <a:lnTo>
                    <a:pt x="8314" y="1715"/>
                  </a:lnTo>
                  <a:lnTo>
                    <a:pt x="8448" y="1667"/>
                  </a:lnTo>
                  <a:lnTo>
                    <a:pt x="8515" y="1370"/>
                  </a:lnTo>
                  <a:lnTo>
                    <a:pt x="8410" y="1265"/>
                  </a:lnTo>
                  <a:lnTo>
                    <a:pt x="8314" y="1169"/>
                  </a:lnTo>
                  <a:lnTo>
                    <a:pt x="8103" y="987"/>
                  </a:lnTo>
                  <a:lnTo>
                    <a:pt x="7883" y="815"/>
                  </a:lnTo>
                  <a:lnTo>
                    <a:pt x="7653" y="671"/>
                  </a:lnTo>
                  <a:lnTo>
                    <a:pt x="7414" y="537"/>
                  </a:lnTo>
                  <a:lnTo>
                    <a:pt x="7174" y="432"/>
                  </a:lnTo>
                  <a:lnTo>
                    <a:pt x="6916" y="326"/>
                  </a:lnTo>
                  <a:lnTo>
                    <a:pt x="6657" y="250"/>
                  </a:lnTo>
                  <a:lnTo>
                    <a:pt x="6398" y="173"/>
                  </a:lnTo>
                  <a:lnTo>
                    <a:pt x="6140" y="125"/>
                  </a:lnTo>
                  <a:lnTo>
                    <a:pt x="5872" y="77"/>
                  </a:lnTo>
                  <a:lnTo>
                    <a:pt x="5603" y="48"/>
                  </a:lnTo>
                  <a:lnTo>
                    <a:pt x="5345" y="20"/>
                  </a:lnTo>
                  <a:lnTo>
                    <a:pt x="5077" y="10"/>
                  </a:lnTo>
                  <a:lnTo>
                    <a:pt x="4828"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16"/>
            <p:cNvSpPr/>
            <p:nvPr/>
          </p:nvSpPr>
          <p:spPr>
            <a:xfrm>
              <a:off x="4192168" y="2071500"/>
              <a:ext cx="302339" cy="282280"/>
            </a:xfrm>
            <a:custGeom>
              <a:avLst/>
              <a:gdLst/>
              <a:ahLst/>
              <a:cxnLst/>
              <a:rect l="l" t="t" r="r" b="b"/>
              <a:pathLst>
                <a:path w="8516" h="7951" fill="none" extrusionOk="0">
                  <a:moveTo>
                    <a:pt x="8448" y="1667"/>
                  </a:moveTo>
                  <a:lnTo>
                    <a:pt x="8448" y="1667"/>
                  </a:lnTo>
                  <a:lnTo>
                    <a:pt x="8314" y="1715"/>
                  </a:lnTo>
                  <a:lnTo>
                    <a:pt x="8170" y="1763"/>
                  </a:lnTo>
                  <a:lnTo>
                    <a:pt x="7979" y="1840"/>
                  </a:lnTo>
                  <a:lnTo>
                    <a:pt x="7758" y="1945"/>
                  </a:lnTo>
                  <a:lnTo>
                    <a:pt x="7509" y="2069"/>
                  </a:lnTo>
                  <a:lnTo>
                    <a:pt x="7241" y="2223"/>
                  </a:lnTo>
                  <a:lnTo>
                    <a:pt x="6954" y="2395"/>
                  </a:lnTo>
                  <a:lnTo>
                    <a:pt x="6820" y="2500"/>
                  </a:lnTo>
                  <a:lnTo>
                    <a:pt x="6676" y="2596"/>
                  </a:lnTo>
                  <a:lnTo>
                    <a:pt x="6542" y="2711"/>
                  </a:lnTo>
                  <a:lnTo>
                    <a:pt x="6408" y="2826"/>
                  </a:lnTo>
                  <a:lnTo>
                    <a:pt x="6274" y="2951"/>
                  </a:lnTo>
                  <a:lnTo>
                    <a:pt x="6149" y="3085"/>
                  </a:lnTo>
                  <a:lnTo>
                    <a:pt x="6034" y="3219"/>
                  </a:lnTo>
                  <a:lnTo>
                    <a:pt x="5919" y="3363"/>
                  </a:lnTo>
                  <a:lnTo>
                    <a:pt x="5814" y="3516"/>
                  </a:lnTo>
                  <a:lnTo>
                    <a:pt x="5728" y="3679"/>
                  </a:lnTo>
                  <a:lnTo>
                    <a:pt x="5642" y="3841"/>
                  </a:lnTo>
                  <a:lnTo>
                    <a:pt x="5565" y="4014"/>
                  </a:lnTo>
                  <a:lnTo>
                    <a:pt x="5508" y="4196"/>
                  </a:lnTo>
                  <a:lnTo>
                    <a:pt x="5460" y="4387"/>
                  </a:lnTo>
                  <a:lnTo>
                    <a:pt x="5431" y="4579"/>
                  </a:lnTo>
                  <a:lnTo>
                    <a:pt x="5412" y="4780"/>
                  </a:lnTo>
                  <a:lnTo>
                    <a:pt x="5412" y="4780"/>
                  </a:lnTo>
                  <a:lnTo>
                    <a:pt x="5393" y="5029"/>
                  </a:lnTo>
                  <a:lnTo>
                    <a:pt x="5345" y="5307"/>
                  </a:lnTo>
                  <a:lnTo>
                    <a:pt x="5278" y="5604"/>
                  </a:lnTo>
                  <a:lnTo>
                    <a:pt x="5230" y="5767"/>
                  </a:lnTo>
                  <a:lnTo>
                    <a:pt x="5172" y="5929"/>
                  </a:lnTo>
                  <a:lnTo>
                    <a:pt x="5115" y="6092"/>
                  </a:lnTo>
                  <a:lnTo>
                    <a:pt x="5048" y="6255"/>
                  </a:lnTo>
                  <a:lnTo>
                    <a:pt x="4971" y="6418"/>
                  </a:lnTo>
                  <a:lnTo>
                    <a:pt x="4895" y="6581"/>
                  </a:lnTo>
                  <a:lnTo>
                    <a:pt x="4808" y="6734"/>
                  </a:lnTo>
                  <a:lnTo>
                    <a:pt x="4713" y="6887"/>
                  </a:lnTo>
                  <a:lnTo>
                    <a:pt x="4607" y="7031"/>
                  </a:lnTo>
                  <a:lnTo>
                    <a:pt x="4502" y="7175"/>
                  </a:lnTo>
                  <a:lnTo>
                    <a:pt x="4377" y="7309"/>
                  </a:lnTo>
                  <a:lnTo>
                    <a:pt x="4253" y="7433"/>
                  </a:lnTo>
                  <a:lnTo>
                    <a:pt x="4119" y="7548"/>
                  </a:lnTo>
                  <a:lnTo>
                    <a:pt x="3985" y="7644"/>
                  </a:lnTo>
                  <a:lnTo>
                    <a:pt x="3831" y="7740"/>
                  </a:lnTo>
                  <a:lnTo>
                    <a:pt x="3678" y="7816"/>
                  </a:lnTo>
                  <a:lnTo>
                    <a:pt x="3515" y="7874"/>
                  </a:lnTo>
                  <a:lnTo>
                    <a:pt x="3343" y="7922"/>
                  </a:lnTo>
                  <a:lnTo>
                    <a:pt x="3161" y="7941"/>
                  </a:lnTo>
                  <a:lnTo>
                    <a:pt x="2979" y="7950"/>
                  </a:lnTo>
                  <a:lnTo>
                    <a:pt x="2778" y="7941"/>
                  </a:lnTo>
                  <a:lnTo>
                    <a:pt x="2577" y="7903"/>
                  </a:lnTo>
                  <a:lnTo>
                    <a:pt x="2366" y="7855"/>
                  </a:lnTo>
                  <a:lnTo>
                    <a:pt x="2146" y="7768"/>
                  </a:lnTo>
                  <a:lnTo>
                    <a:pt x="1916" y="7673"/>
                  </a:lnTo>
                  <a:lnTo>
                    <a:pt x="1676" y="7539"/>
                  </a:lnTo>
                  <a:lnTo>
                    <a:pt x="1676" y="7539"/>
                  </a:lnTo>
                  <a:lnTo>
                    <a:pt x="1494" y="7424"/>
                  </a:lnTo>
                  <a:lnTo>
                    <a:pt x="1322" y="7309"/>
                  </a:lnTo>
                  <a:lnTo>
                    <a:pt x="1159" y="7184"/>
                  </a:lnTo>
                  <a:lnTo>
                    <a:pt x="1015" y="7069"/>
                  </a:lnTo>
                  <a:lnTo>
                    <a:pt x="881" y="6945"/>
                  </a:lnTo>
                  <a:lnTo>
                    <a:pt x="757" y="6811"/>
                  </a:lnTo>
                  <a:lnTo>
                    <a:pt x="642" y="6677"/>
                  </a:lnTo>
                  <a:lnTo>
                    <a:pt x="537" y="6542"/>
                  </a:lnTo>
                  <a:lnTo>
                    <a:pt x="441" y="6408"/>
                  </a:lnTo>
                  <a:lnTo>
                    <a:pt x="364" y="6274"/>
                  </a:lnTo>
                  <a:lnTo>
                    <a:pt x="288" y="6131"/>
                  </a:lnTo>
                  <a:lnTo>
                    <a:pt x="220" y="5996"/>
                  </a:lnTo>
                  <a:lnTo>
                    <a:pt x="163" y="5853"/>
                  </a:lnTo>
                  <a:lnTo>
                    <a:pt x="115" y="5709"/>
                  </a:lnTo>
                  <a:lnTo>
                    <a:pt x="77" y="5556"/>
                  </a:lnTo>
                  <a:lnTo>
                    <a:pt x="48" y="5412"/>
                  </a:lnTo>
                  <a:lnTo>
                    <a:pt x="29" y="5269"/>
                  </a:lnTo>
                  <a:lnTo>
                    <a:pt x="10" y="5115"/>
                  </a:lnTo>
                  <a:lnTo>
                    <a:pt x="0" y="4972"/>
                  </a:lnTo>
                  <a:lnTo>
                    <a:pt x="0" y="4818"/>
                  </a:lnTo>
                  <a:lnTo>
                    <a:pt x="0" y="4665"/>
                  </a:lnTo>
                  <a:lnTo>
                    <a:pt x="10" y="4521"/>
                  </a:lnTo>
                  <a:lnTo>
                    <a:pt x="48" y="4225"/>
                  </a:lnTo>
                  <a:lnTo>
                    <a:pt x="115" y="3928"/>
                  </a:lnTo>
                  <a:lnTo>
                    <a:pt x="192" y="3631"/>
                  </a:lnTo>
                  <a:lnTo>
                    <a:pt x="288" y="3343"/>
                  </a:lnTo>
                  <a:lnTo>
                    <a:pt x="402" y="3056"/>
                  </a:lnTo>
                  <a:lnTo>
                    <a:pt x="517" y="2778"/>
                  </a:lnTo>
                  <a:lnTo>
                    <a:pt x="651" y="2510"/>
                  </a:lnTo>
                  <a:lnTo>
                    <a:pt x="795" y="2251"/>
                  </a:lnTo>
                  <a:lnTo>
                    <a:pt x="939" y="2002"/>
                  </a:lnTo>
                  <a:lnTo>
                    <a:pt x="1082" y="1763"/>
                  </a:lnTo>
                  <a:lnTo>
                    <a:pt x="1226" y="1543"/>
                  </a:lnTo>
                  <a:lnTo>
                    <a:pt x="1504" y="1150"/>
                  </a:lnTo>
                  <a:lnTo>
                    <a:pt x="1763" y="815"/>
                  </a:lnTo>
                  <a:lnTo>
                    <a:pt x="1964" y="566"/>
                  </a:lnTo>
                  <a:lnTo>
                    <a:pt x="2146" y="355"/>
                  </a:lnTo>
                  <a:lnTo>
                    <a:pt x="2146" y="355"/>
                  </a:lnTo>
                  <a:lnTo>
                    <a:pt x="2337" y="307"/>
                  </a:lnTo>
                  <a:lnTo>
                    <a:pt x="2567" y="259"/>
                  </a:lnTo>
                  <a:lnTo>
                    <a:pt x="2854" y="192"/>
                  </a:lnTo>
                  <a:lnTo>
                    <a:pt x="3218" y="135"/>
                  </a:lnTo>
                  <a:lnTo>
                    <a:pt x="3630" y="77"/>
                  </a:lnTo>
                  <a:lnTo>
                    <a:pt x="4080" y="29"/>
                  </a:lnTo>
                  <a:lnTo>
                    <a:pt x="4320" y="20"/>
                  </a:lnTo>
                  <a:lnTo>
                    <a:pt x="4569" y="10"/>
                  </a:lnTo>
                  <a:lnTo>
                    <a:pt x="4828" y="1"/>
                  </a:lnTo>
                  <a:lnTo>
                    <a:pt x="5077" y="10"/>
                  </a:lnTo>
                  <a:lnTo>
                    <a:pt x="5345" y="20"/>
                  </a:lnTo>
                  <a:lnTo>
                    <a:pt x="5603" y="48"/>
                  </a:lnTo>
                  <a:lnTo>
                    <a:pt x="5872" y="77"/>
                  </a:lnTo>
                  <a:lnTo>
                    <a:pt x="6140" y="125"/>
                  </a:lnTo>
                  <a:lnTo>
                    <a:pt x="6398" y="173"/>
                  </a:lnTo>
                  <a:lnTo>
                    <a:pt x="6657" y="250"/>
                  </a:lnTo>
                  <a:lnTo>
                    <a:pt x="6916" y="326"/>
                  </a:lnTo>
                  <a:lnTo>
                    <a:pt x="7174" y="432"/>
                  </a:lnTo>
                  <a:lnTo>
                    <a:pt x="7414" y="537"/>
                  </a:lnTo>
                  <a:lnTo>
                    <a:pt x="7653" y="671"/>
                  </a:lnTo>
                  <a:lnTo>
                    <a:pt x="7883" y="815"/>
                  </a:lnTo>
                  <a:lnTo>
                    <a:pt x="8103" y="987"/>
                  </a:lnTo>
                  <a:lnTo>
                    <a:pt x="8314" y="1169"/>
                  </a:lnTo>
                  <a:lnTo>
                    <a:pt x="8410" y="1265"/>
                  </a:lnTo>
                  <a:lnTo>
                    <a:pt x="8515" y="137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16"/>
            <p:cNvSpPr/>
            <p:nvPr/>
          </p:nvSpPr>
          <p:spPr>
            <a:xfrm>
              <a:off x="4351286" y="2191211"/>
              <a:ext cx="65999" cy="113253"/>
            </a:xfrm>
            <a:custGeom>
              <a:avLst/>
              <a:gdLst/>
              <a:ahLst/>
              <a:cxnLst/>
              <a:rect l="l" t="t" r="r" b="b"/>
              <a:pathLst>
                <a:path w="1859" h="3190" extrusionOk="0">
                  <a:moveTo>
                    <a:pt x="1188" y="0"/>
                  </a:moveTo>
                  <a:lnTo>
                    <a:pt x="1093" y="19"/>
                  </a:lnTo>
                  <a:lnTo>
                    <a:pt x="987" y="48"/>
                  </a:lnTo>
                  <a:lnTo>
                    <a:pt x="891" y="86"/>
                  </a:lnTo>
                  <a:lnTo>
                    <a:pt x="796" y="134"/>
                  </a:lnTo>
                  <a:lnTo>
                    <a:pt x="690" y="211"/>
                  </a:lnTo>
                  <a:lnTo>
                    <a:pt x="595" y="287"/>
                  </a:lnTo>
                  <a:lnTo>
                    <a:pt x="499" y="393"/>
                  </a:lnTo>
                  <a:lnTo>
                    <a:pt x="403" y="508"/>
                  </a:lnTo>
                  <a:lnTo>
                    <a:pt x="317" y="642"/>
                  </a:lnTo>
                  <a:lnTo>
                    <a:pt x="240" y="795"/>
                  </a:lnTo>
                  <a:lnTo>
                    <a:pt x="164" y="967"/>
                  </a:lnTo>
                  <a:lnTo>
                    <a:pt x="96" y="1159"/>
                  </a:lnTo>
                  <a:lnTo>
                    <a:pt x="39" y="1370"/>
                  </a:lnTo>
                  <a:lnTo>
                    <a:pt x="10" y="1523"/>
                  </a:lnTo>
                  <a:lnTo>
                    <a:pt x="1" y="1676"/>
                  </a:lnTo>
                  <a:lnTo>
                    <a:pt x="1" y="1830"/>
                  </a:lnTo>
                  <a:lnTo>
                    <a:pt x="20" y="1983"/>
                  </a:lnTo>
                  <a:lnTo>
                    <a:pt x="49" y="2126"/>
                  </a:lnTo>
                  <a:lnTo>
                    <a:pt x="87" y="2270"/>
                  </a:lnTo>
                  <a:lnTo>
                    <a:pt x="135" y="2404"/>
                  </a:lnTo>
                  <a:lnTo>
                    <a:pt x="183" y="2538"/>
                  </a:lnTo>
                  <a:lnTo>
                    <a:pt x="250" y="2653"/>
                  </a:lnTo>
                  <a:lnTo>
                    <a:pt x="317" y="2768"/>
                  </a:lnTo>
                  <a:lnTo>
                    <a:pt x="393" y="2874"/>
                  </a:lnTo>
                  <a:lnTo>
                    <a:pt x="460" y="2960"/>
                  </a:lnTo>
                  <a:lnTo>
                    <a:pt x="547" y="3036"/>
                  </a:lnTo>
                  <a:lnTo>
                    <a:pt x="623" y="3103"/>
                  </a:lnTo>
                  <a:lnTo>
                    <a:pt x="700" y="3151"/>
                  </a:lnTo>
                  <a:lnTo>
                    <a:pt x="777" y="3180"/>
                  </a:lnTo>
                  <a:lnTo>
                    <a:pt x="853" y="3190"/>
                  </a:lnTo>
                  <a:lnTo>
                    <a:pt x="930" y="3190"/>
                  </a:lnTo>
                  <a:lnTo>
                    <a:pt x="997" y="3161"/>
                  </a:lnTo>
                  <a:lnTo>
                    <a:pt x="1064" y="3123"/>
                  </a:lnTo>
                  <a:lnTo>
                    <a:pt x="1131" y="3075"/>
                  </a:lnTo>
                  <a:lnTo>
                    <a:pt x="1198" y="3008"/>
                  </a:lnTo>
                  <a:lnTo>
                    <a:pt x="1255" y="2921"/>
                  </a:lnTo>
                  <a:lnTo>
                    <a:pt x="1313" y="2826"/>
                  </a:lnTo>
                  <a:lnTo>
                    <a:pt x="1370" y="2720"/>
                  </a:lnTo>
                  <a:lnTo>
                    <a:pt x="1428" y="2605"/>
                  </a:lnTo>
                  <a:lnTo>
                    <a:pt x="1533" y="2347"/>
                  </a:lnTo>
                  <a:lnTo>
                    <a:pt x="1639" y="2069"/>
                  </a:lnTo>
                  <a:lnTo>
                    <a:pt x="1734" y="1762"/>
                  </a:lnTo>
                  <a:lnTo>
                    <a:pt x="1773" y="1600"/>
                  </a:lnTo>
                  <a:lnTo>
                    <a:pt x="1811" y="1446"/>
                  </a:lnTo>
                  <a:lnTo>
                    <a:pt x="1830" y="1303"/>
                  </a:lnTo>
                  <a:lnTo>
                    <a:pt x="1849" y="1149"/>
                  </a:lnTo>
                  <a:lnTo>
                    <a:pt x="1859" y="1015"/>
                  </a:lnTo>
                  <a:lnTo>
                    <a:pt x="1859" y="881"/>
                  </a:lnTo>
                  <a:lnTo>
                    <a:pt x="1849" y="747"/>
                  </a:lnTo>
                  <a:lnTo>
                    <a:pt x="1840" y="623"/>
                  </a:lnTo>
                  <a:lnTo>
                    <a:pt x="1811" y="517"/>
                  </a:lnTo>
                  <a:lnTo>
                    <a:pt x="1782" y="412"/>
                  </a:lnTo>
                  <a:lnTo>
                    <a:pt x="1744" y="316"/>
                  </a:lnTo>
                  <a:lnTo>
                    <a:pt x="1696" y="230"/>
                  </a:lnTo>
                  <a:lnTo>
                    <a:pt x="1648" y="163"/>
                  </a:lnTo>
                  <a:lnTo>
                    <a:pt x="1581" y="105"/>
                  </a:lnTo>
                  <a:lnTo>
                    <a:pt x="1514" y="58"/>
                  </a:lnTo>
                  <a:lnTo>
                    <a:pt x="1447" y="29"/>
                  </a:lnTo>
                  <a:lnTo>
                    <a:pt x="1361" y="10"/>
                  </a:lnTo>
                  <a:lnTo>
                    <a:pt x="1275"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16"/>
            <p:cNvSpPr/>
            <p:nvPr/>
          </p:nvSpPr>
          <p:spPr>
            <a:xfrm>
              <a:off x="4401272" y="2145308"/>
              <a:ext cx="55455" cy="109170"/>
            </a:xfrm>
            <a:custGeom>
              <a:avLst/>
              <a:gdLst/>
              <a:ahLst/>
              <a:cxnLst/>
              <a:rect l="l" t="t" r="r" b="b"/>
              <a:pathLst>
                <a:path w="1562" h="3075" extrusionOk="0">
                  <a:moveTo>
                    <a:pt x="1514" y="0"/>
                  </a:moveTo>
                  <a:lnTo>
                    <a:pt x="1390" y="10"/>
                  </a:lnTo>
                  <a:lnTo>
                    <a:pt x="1294" y="19"/>
                  </a:lnTo>
                  <a:lnTo>
                    <a:pt x="1188" y="48"/>
                  </a:lnTo>
                  <a:lnTo>
                    <a:pt x="1083" y="77"/>
                  </a:lnTo>
                  <a:lnTo>
                    <a:pt x="958" y="115"/>
                  </a:lnTo>
                  <a:lnTo>
                    <a:pt x="834" y="172"/>
                  </a:lnTo>
                  <a:lnTo>
                    <a:pt x="700" y="239"/>
                  </a:lnTo>
                  <a:lnTo>
                    <a:pt x="575" y="326"/>
                  </a:lnTo>
                  <a:lnTo>
                    <a:pt x="441" y="441"/>
                  </a:lnTo>
                  <a:lnTo>
                    <a:pt x="326" y="565"/>
                  </a:lnTo>
                  <a:lnTo>
                    <a:pt x="211" y="718"/>
                  </a:lnTo>
                  <a:lnTo>
                    <a:pt x="154" y="795"/>
                  </a:lnTo>
                  <a:lnTo>
                    <a:pt x="106" y="891"/>
                  </a:lnTo>
                  <a:lnTo>
                    <a:pt x="58" y="987"/>
                  </a:lnTo>
                  <a:lnTo>
                    <a:pt x="10" y="1092"/>
                  </a:lnTo>
                  <a:lnTo>
                    <a:pt x="1" y="1379"/>
                  </a:lnTo>
                  <a:lnTo>
                    <a:pt x="1" y="1676"/>
                  </a:lnTo>
                  <a:lnTo>
                    <a:pt x="10" y="2021"/>
                  </a:lnTo>
                  <a:lnTo>
                    <a:pt x="29" y="2375"/>
                  </a:lnTo>
                  <a:lnTo>
                    <a:pt x="49" y="2538"/>
                  </a:lnTo>
                  <a:lnTo>
                    <a:pt x="68" y="2691"/>
                  </a:lnTo>
                  <a:lnTo>
                    <a:pt x="96" y="2826"/>
                  </a:lnTo>
                  <a:lnTo>
                    <a:pt x="135" y="2941"/>
                  </a:lnTo>
                  <a:lnTo>
                    <a:pt x="173" y="3017"/>
                  </a:lnTo>
                  <a:lnTo>
                    <a:pt x="202" y="3046"/>
                  </a:lnTo>
                  <a:lnTo>
                    <a:pt x="231" y="3075"/>
                  </a:lnTo>
                  <a:lnTo>
                    <a:pt x="259" y="3075"/>
                  </a:lnTo>
                  <a:lnTo>
                    <a:pt x="288" y="3065"/>
                  </a:lnTo>
                  <a:lnTo>
                    <a:pt x="326" y="3036"/>
                  </a:lnTo>
                  <a:lnTo>
                    <a:pt x="374" y="2988"/>
                  </a:lnTo>
                  <a:lnTo>
                    <a:pt x="460" y="2845"/>
                  </a:lnTo>
                  <a:lnTo>
                    <a:pt x="566" y="2663"/>
                  </a:lnTo>
                  <a:lnTo>
                    <a:pt x="671" y="2433"/>
                  </a:lnTo>
                  <a:lnTo>
                    <a:pt x="786" y="2174"/>
                  </a:lnTo>
                  <a:lnTo>
                    <a:pt x="1006" y="1600"/>
                  </a:lnTo>
                  <a:lnTo>
                    <a:pt x="1217" y="1015"/>
                  </a:lnTo>
                  <a:lnTo>
                    <a:pt x="1399" y="508"/>
                  </a:lnTo>
                  <a:lnTo>
                    <a:pt x="1562"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16"/>
            <p:cNvSpPr/>
            <p:nvPr/>
          </p:nvSpPr>
          <p:spPr>
            <a:xfrm>
              <a:off x="4969826" y="2855300"/>
              <a:ext cx="235666" cy="113928"/>
            </a:xfrm>
            <a:custGeom>
              <a:avLst/>
              <a:gdLst/>
              <a:ahLst/>
              <a:cxnLst/>
              <a:rect l="l" t="t" r="r" b="b"/>
              <a:pathLst>
                <a:path w="6638" h="3209" extrusionOk="0">
                  <a:moveTo>
                    <a:pt x="3190" y="0"/>
                  </a:moveTo>
                  <a:lnTo>
                    <a:pt x="3113" y="10"/>
                  </a:lnTo>
                  <a:lnTo>
                    <a:pt x="3037" y="48"/>
                  </a:lnTo>
                  <a:lnTo>
                    <a:pt x="2912" y="115"/>
                  </a:lnTo>
                  <a:lnTo>
                    <a:pt x="2519" y="335"/>
                  </a:lnTo>
                  <a:lnTo>
                    <a:pt x="1466" y="968"/>
                  </a:lnTo>
                  <a:lnTo>
                    <a:pt x="0" y="1849"/>
                  </a:lnTo>
                  <a:lnTo>
                    <a:pt x="326" y="3046"/>
                  </a:lnTo>
                  <a:lnTo>
                    <a:pt x="680" y="3094"/>
                  </a:lnTo>
                  <a:lnTo>
                    <a:pt x="1073" y="3132"/>
                  </a:lnTo>
                  <a:lnTo>
                    <a:pt x="1542" y="3170"/>
                  </a:lnTo>
                  <a:lnTo>
                    <a:pt x="2040" y="3199"/>
                  </a:lnTo>
                  <a:lnTo>
                    <a:pt x="2289" y="3199"/>
                  </a:lnTo>
                  <a:lnTo>
                    <a:pt x="2538" y="3209"/>
                  </a:lnTo>
                  <a:lnTo>
                    <a:pt x="2768" y="3199"/>
                  </a:lnTo>
                  <a:lnTo>
                    <a:pt x="2979" y="3180"/>
                  </a:lnTo>
                  <a:lnTo>
                    <a:pt x="3161" y="3161"/>
                  </a:lnTo>
                  <a:lnTo>
                    <a:pt x="3324" y="3123"/>
                  </a:lnTo>
                  <a:lnTo>
                    <a:pt x="3650" y="3046"/>
                  </a:lnTo>
                  <a:lnTo>
                    <a:pt x="4052" y="2950"/>
                  </a:lnTo>
                  <a:lnTo>
                    <a:pt x="4981" y="2759"/>
                  </a:lnTo>
                  <a:lnTo>
                    <a:pt x="5450" y="2653"/>
                  </a:lnTo>
                  <a:lnTo>
                    <a:pt x="5881" y="2538"/>
                  </a:lnTo>
                  <a:lnTo>
                    <a:pt x="6082" y="2481"/>
                  </a:lnTo>
                  <a:lnTo>
                    <a:pt x="6255" y="2414"/>
                  </a:lnTo>
                  <a:lnTo>
                    <a:pt x="6408" y="2356"/>
                  </a:lnTo>
                  <a:lnTo>
                    <a:pt x="6533" y="2289"/>
                  </a:lnTo>
                  <a:lnTo>
                    <a:pt x="6561" y="2270"/>
                  </a:lnTo>
                  <a:lnTo>
                    <a:pt x="6590" y="2241"/>
                  </a:lnTo>
                  <a:lnTo>
                    <a:pt x="6619" y="2194"/>
                  </a:lnTo>
                  <a:lnTo>
                    <a:pt x="6638" y="2126"/>
                  </a:lnTo>
                  <a:lnTo>
                    <a:pt x="6638" y="2069"/>
                  </a:lnTo>
                  <a:lnTo>
                    <a:pt x="6619" y="2012"/>
                  </a:lnTo>
                  <a:lnTo>
                    <a:pt x="6580" y="1964"/>
                  </a:lnTo>
                  <a:lnTo>
                    <a:pt x="6533" y="1925"/>
                  </a:lnTo>
                  <a:lnTo>
                    <a:pt x="6494" y="1906"/>
                  </a:lnTo>
                  <a:lnTo>
                    <a:pt x="6465" y="1906"/>
                  </a:lnTo>
                  <a:lnTo>
                    <a:pt x="6092" y="1858"/>
                  </a:lnTo>
                  <a:lnTo>
                    <a:pt x="5603" y="1810"/>
                  </a:lnTo>
                  <a:lnTo>
                    <a:pt x="4473" y="1705"/>
                  </a:lnTo>
                  <a:lnTo>
                    <a:pt x="3927" y="1638"/>
                  </a:lnTo>
                  <a:lnTo>
                    <a:pt x="3678" y="1600"/>
                  </a:lnTo>
                  <a:lnTo>
                    <a:pt x="3458" y="1561"/>
                  </a:lnTo>
                  <a:lnTo>
                    <a:pt x="3276" y="1523"/>
                  </a:lnTo>
                  <a:lnTo>
                    <a:pt x="3132" y="1485"/>
                  </a:lnTo>
                  <a:lnTo>
                    <a:pt x="3075" y="1456"/>
                  </a:lnTo>
                  <a:lnTo>
                    <a:pt x="3027" y="1437"/>
                  </a:lnTo>
                  <a:lnTo>
                    <a:pt x="2998" y="1408"/>
                  </a:lnTo>
                  <a:lnTo>
                    <a:pt x="2989" y="1389"/>
                  </a:lnTo>
                  <a:lnTo>
                    <a:pt x="2979" y="1341"/>
                  </a:lnTo>
                  <a:lnTo>
                    <a:pt x="2989" y="1284"/>
                  </a:lnTo>
                  <a:lnTo>
                    <a:pt x="3017" y="1236"/>
                  </a:lnTo>
                  <a:lnTo>
                    <a:pt x="3056" y="1178"/>
                  </a:lnTo>
                  <a:lnTo>
                    <a:pt x="3113" y="1121"/>
                  </a:lnTo>
                  <a:lnTo>
                    <a:pt x="3180" y="1073"/>
                  </a:lnTo>
                  <a:lnTo>
                    <a:pt x="3343" y="958"/>
                  </a:lnTo>
                  <a:lnTo>
                    <a:pt x="3544" y="853"/>
                  </a:lnTo>
                  <a:lnTo>
                    <a:pt x="3755" y="747"/>
                  </a:lnTo>
                  <a:lnTo>
                    <a:pt x="3975" y="651"/>
                  </a:lnTo>
                  <a:lnTo>
                    <a:pt x="4176" y="565"/>
                  </a:lnTo>
                  <a:lnTo>
                    <a:pt x="4234" y="537"/>
                  </a:lnTo>
                  <a:lnTo>
                    <a:pt x="4272" y="489"/>
                  </a:lnTo>
                  <a:lnTo>
                    <a:pt x="4291" y="441"/>
                  </a:lnTo>
                  <a:lnTo>
                    <a:pt x="4301" y="383"/>
                  </a:lnTo>
                  <a:lnTo>
                    <a:pt x="4291" y="326"/>
                  </a:lnTo>
                  <a:lnTo>
                    <a:pt x="4263" y="278"/>
                  </a:lnTo>
                  <a:lnTo>
                    <a:pt x="4224" y="240"/>
                  </a:lnTo>
                  <a:lnTo>
                    <a:pt x="4167" y="211"/>
                  </a:lnTo>
                  <a:lnTo>
                    <a:pt x="3860" y="125"/>
                  </a:lnTo>
                  <a:lnTo>
                    <a:pt x="3554" y="48"/>
                  </a:lnTo>
                  <a:lnTo>
                    <a:pt x="3410" y="19"/>
                  </a:lnTo>
                  <a:lnTo>
                    <a:pt x="3286"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16"/>
            <p:cNvSpPr/>
            <p:nvPr/>
          </p:nvSpPr>
          <p:spPr>
            <a:xfrm>
              <a:off x="4092516" y="2444194"/>
              <a:ext cx="542407" cy="686583"/>
            </a:xfrm>
            <a:custGeom>
              <a:avLst/>
              <a:gdLst/>
              <a:ahLst/>
              <a:cxnLst/>
              <a:rect l="l" t="t" r="r" b="b"/>
              <a:pathLst>
                <a:path w="15278" h="19339" extrusionOk="0">
                  <a:moveTo>
                    <a:pt x="4455" y="0"/>
                  </a:moveTo>
                  <a:lnTo>
                    <a:pt x="4301" y="10"/>
                  </a:lnTo>
                  <a:lnTo>
                    <a:pt x="4148" y="19"/>
                  </a:lnTo>
                  <a:lnTo>
                    <a:pt x="3995" y="29"/>
                  </a:lnTo>
                  <a:lnTo>
                    <a:pt x="3842" y="48"/>
                  </a:lnTo>
                  <a:lnTo>
                    <a:pt x="3688" y="77"/>
                  </a:lnTo>
                  <a:lnTo>
                    <a:pt x="3535" y="115"/>
                  </a:lnTo>
                  <a:lnTo>
                    <a:pt x="3382" y="153"/>
                  </a:lnTo>
                  <a:lnTo>
                    <a:pt x="3219" y="201"/>
                  </a:lnTo>
                  <a:lnTo>
                    <a:pt x="3066" y="259"/>
                  </a:lnTo>
                  <a:lnTo>
                    <a:pt x="2913" y="316"/>
                  </a:lnTo>
                  <a:lnTo>
                    <a:pt x="2750" y="383"/>
                  </a:lnTo>
                  <a:lnTo>
                    <a:pt x="2577" y="460"/>
                  </a:lnTo>
                  <a:lnTo>
                    <a:pt x="2443" y="527"/>
                  </a:lnTo>
                  <a:lnTo>
                    <a:pt x="2319" y="594"/>
                  </a:lnTo>
                  <a:lnTo>
                    <a:pt x="2194" y="671"/>
                  </a:lnTo>
                  <a:lnTo>
                    <a:pt x="2070" y="747"/>
                  </a:lnTo>
                  <a:lnTo>
                    <a:pt x="1849" y="910"/>
                  </a:lnTo>
                  <a:lnTo>
                    <a:pt x="1629" y="1102"/>
                  </a:lnTo>
                  <a:lnTo>
                    <a:pt x="1428" y="1303"/>
                  </a:lnTo>
                  <a:lnTo>
                    <a:pt x="1246" y="1523"/>
                  </a:lnTo>
                  <a:lnTo>
                    <a:pt x="1074" y="1753"/>
                  </a:lnTo>
                  <a:lnTo>
                    <a:pt x="920" y="2002"/>
                  </a:lnTo>
                  <a:lnTo>
                    <a:pt x="777" y="2261"/>
                  </a:lnTo>
                  <a:lnTo>
                    <a:pt x="652" y="2529"/>
                  </a:lnTo>
                  <a:lnTo>
                    <a:pt x="528" y="2816"/>
                  </a:lnTo>
                  <a:lnTo>
                    <a:pt x="432" y="3113"/>
                  </a:lnTo>
                  <a:lnTo>
                    <a:pt x="336" y="3420"/>
                  </a:lnTo>
                  <a:lnTo>
                    <a:pt x="259" y="3745"/>
                  </a:lnTo>
                  <a:lnTo>
                    <a:pt x="192" y="4071"/>
                  </a:lnTo>
                  <a:lnTo>
                    <a:pt x="135" y="4406"/>
                  </a:lnTo>
                  <a:lnTo>
                    <a:pt x="87" y="4761"/>
                  </a:lnTo>
                  <a:lnTo>
                    <a:pt x="49" y="5115"/>
                  </a:lnTo>
                  <a:lnTo>
                    <a:pt x="20" y="5469"/>
                  </a:lnTo>
                  <a:lnTo>
                    <a:pt x="10" y="5843"/>
                  </a:lnTo>
                  <a:lnTo>
                    <a:pt x="1" y="6216"/>
                  </a:lnTo>
                  <a:lnTo>
                    <a:pt x="1" y="6600"/>
                  </a:lnTo>
                  <a:lnTo>
                    <a:pt x="10" y="6983"/>
                  </a:lnTo>
                  <a:lnTo>
                    <a:pt x="39" y="7366"/>
                  </a:lnTo>
                  <a:lnTo>
                    <a:pt x="58" y="7758"/>
                  </a:lnTo>
                  <a:lnTo>
                    <a:pt x="97" y="8161"/>
                  </a:lnTo>
                  <a:lnTo>
                    <a:pt x="144" y="8553"/>
                  </a:lnTo>
                  <a:lnTo>
                    <a:pt x="192" y="8956"/>
                  </a:lnTo>
                  <a:lnTo>
                    <a:pt x="250" y="9358"/>
                  </a:lnTo>
                  <a:lnTo>
                    <a:pt x="307" y="9760"/>
                  </a:lnTo>
                  <a:lnTo>
                    <a:pt x="384" y="10163"/>
                  </a:lnTo>
                  <a:lnTo>
                    <a:pt x="451" y="10565"/>
                  </a:lnTo>
                  <a:lnTo>
                    <a:pt x="623" y="11360"/>
                  </a:lnTo>
                  <a:lnTo>
                    <a:pt x="805" y="12145"/>
                  </a:lnTo>
                  <a:lnTo>
                    <a:pt x="1006" y="12911"/>
                  </a:lnTo>
                  <a:lnTo>
                    <a:pt x="1217" y="13668"/>
                  </a:lnTo>
                  <a:lnTo>
                    <a:pt x="1437" y="14396"/>
                  </a:lnTo>
                  <a:lnTo>
                    <a:pt x="1667" y="15086"/>
                  </a:lnTo>
                  <a:lnTo>
                    <a:pt x="1897" y="15747"/>
                  </a:lnTo>
                  <a:lnTo>
                    <a:pt x="2137" y="16369"/>
                  </a:lnTo>
                  <a:lnTo>
                    <a:pt x="2376" y="16944"/>
                  </a:lnTo>
                  <a:lnTo>
                    <a:pt x="2606" y="17471"/>
                  </a:lnTo>
                  <a:lnTo>
                    <a:pt x="2826" y="17940"/>
                  </a:lnTo>
                  <a:lnTo>
                    <a:pt x="3047" y="18342"/>
                  </a:lnTo>
                  <a:lnTo>
                    <a:pt x="3248" y="18687"/>
                  </a:lnTo>
                  <a:lnTo>
                    <a:pt x="3344" y="18840"/>
                  </a:lnTo>
                  <a:lnTo>
                    <a:pt x="3439" y="18965"/>
                  </a:lnTo>
                  <a:lnTo>
                    <a:pt x="3526" y="19070"/>
                  </a:lnTo>
                  <a:lnTo>
                    <a:pt x="3612" y="19166"/>
                  </a:lnTo>
                  <a:lnTo>
                    <a:pt x="3688" y="19233"/>
                  </a:lnTo>
                  <a:lnTo>
                    <a:pt x="3765" y="19281"/>
                  </a:lnTo>
                  <a:lnTo>
                    <a:pt x="3851" y="19319"/>
                  </a:lnTo>
                  <a:lnTo>
                    <a:pt x="3947" y="19338"/>
                  </a:lnTo>
                  <a:lnTo>
                    <a:pt x="4052" y="19338"/>
                  </a:lnTo>
                  <a:lnTo>
                    <a:pt x="4167" y="19329"/>
                  </a:lnTo>
                  <a:lnTo>
                    <a:pt x="4301" y="19300"/>
                  </a:lnTo>
                  <a:lnTo>
                    <a:pt x="4435" y="19252"/>
                  </a:lnTo>
                  <a:lnTo>
                    <a:pt x="4589" y="19195"/>
                  </a:lnTo>
                  <a:lnTo>
                    <a:pt x="4742" y="19118"/>
                  </a:lnTo>
                  <a:lnTo>
                    <a:pt x="4914" y="19032"/>
                  </a:lnTo>
                  <a:lnTo>
                    <a:pt x="5087" y="18936"/>
                  </a:lnTo>
                  <a:lnTo>
                    <a:pt x="5269" y="18821"/>
                  </a:lnTo>
                  <a:lnTo>
                    <a:pt x="5460" y="18697"/>
                  </a:lnTo>
                  <a:lnTo>
                    <a:pt x="5853" y="18419"/>
                  </a:lnTo>
                  <a:lnTo>
                    <a:pt x="6274" y="18093"/>
                  </a:lnTo>
                  <a:lnTo>
                    <a:pt x="6725" y="17739"/>
                  </a:lnTo>
                  <a:lnTo>
                    <a:pt x="7184" y="17346"/>
                  </a:lnTo>
                  <a:lnTo>
                    <a:pt x="7663" y="16925"/>
                  </a:lnTo>
                  <a:lnTo>
                    <a:pt x="8152" y="16484"/>
                  </a:lnTo>
                  <a:lnTo>
                    <a:pt x="8650" y="16015"/>
                  </a:lnTo>
                  <a:lnTo>
                    <a:pt x="9148" y="15545"/>
                  </a:lnTo>
                  <a:lnTo>
                    <a:pt x="9655" y="15047"/>
                  </a:lnTo>
                  <a:lnTo>
                    <a:pt x="10154" y="14559"/>
                  </a:lnTo>
                  <a:lnTo>
                    <a:pt x="11140" y="13553"/>
                  </a:lnTo>
                  <a:lnTo>
                    <a:pt x="12079" y="12586"/>
                  </a:lnTo>
                  <a:lnTo>
                    <a:pt x="12950" y="11666"/>
                  </a:lnTo>
                  <a:lnTo>
                    <a:pt x="13717" y="10833"/>
                  </a:lnTo>
                  <a:lnTo>
                    <a:pt x="14358" y="10134"/>
                  </a:lnTo>
                  <a:lnTo>
                    <a:pt x="14847" y="9588"/>
                  </a:lnTo>
                  <a:lnTo>
                    <a:pt x="15278" y="9119"/>
                  </a:lnTo>
                  <a:lnTo>
                    <a:pt x="15249" y="8917"/>
                  </a:lnTo>
                  <a:lnTo>
                    <a:pt x="15211" y="8726"/>
                  </a:lnTo>
                  <a:lnTo>
                    <a:pt x="15153" y="8544"/>
                  </a:lnTo>
                  <a:lnTo>
                    <a:pt x="15077" y="8371"/>
                  </a:lnTo>
                  <a:lnTo>
                    <a:pt x="15000" y="8209"/>
                  </a:lnTo>
                  <a:lnTo>
                    <a:pt x="14904" y="8046"/>
                  </a:lnTo>
                  <a:lnTo>
                    <a:pt x="14799" y="7902"/>
                  </a:lnTo>
                  <a:lnTo>
                    <a:pt x="14694" y="7768"/>
                  </a:lnTo>
                  <a:lnTo>
                    <a:pt x="14579" y="7644"/>
                  </a:lnTo>
                  <a:lnTo>
                    <a:pt x="14473" y="7519"/>
                  </a:lnTo>
                  <a:lnTo>
                    <a:pt x="14358" y="7414"/>
                  </a:lnTo>
                  <a:lnTo>
                    <a:pt x="14253" y="7327"/>
                  </a:lnTo>
                  <a:lnTo>
                    <a:pt x="14052" y="7174"/>
                  </a:lnTo>
                  <a:lnTo>
                    <a:pt x="13889" y="7069"/>
                  </a:lnTo>
                  <a:lnTo>
                    <a:pt x="7280" y="11724"/>
                  </a:lnTo>
                  <a:lnTo>
                    <a:pt x="7318" y="11293"/>
                  </a:lnTo>
                  <a:lnTo>
                    <a:pt x="7376" y="10891"/>
                  </a:lnTo>
                  <a:lnTo>
                    <a:pt x="7443" y="10507"/>
                  </a:lnTo>
                  <a:lnTo>
                    <a:pt x="7520" y="10153"/>
                  </a:lnTo>
                  <a:lnTo>
                    <a:pt x="7606" y="9799"/>
                  </a:lnTo>
                  <a:lnTo>
                    <a:pt x="7692" y="9454"/>
                  </a:lnTo>
                  <a:lnTo>
                    <a:pt x="7893" y="8783"/>
                  </a:lnTo>
                  <a:lnTo>
                    <a:pt x="8113" y="8084"/>
                  </a:lnTo>
                  <a:lnTo>
                    <a:pt x="8219" y="7720"/>
                  </a:lnTo>
                  <a:lnTo>
                    <a:pt x="8334" y="7337"/>
                  </a:lnTo>
                  <a:lnTo>
                    <a:pt x="8439" y="6925"/>
                  </a:lnTo>
                  <a:lnTo>
                    <a:pt x="8544" y="6485"/>
                  </a:lnTo>
                  <a:lnTo>
                    <a:pt x="8650" y="6015"/>
                  </a:lnTo>
                  <a:lnTo>
                    <a:pt x="8746" y="5508"/>
                  </a:lnTo>
                  <a:lnTo>
                    <a:pt x="8793" y="5182"/>
                  </a:lnTo>
                  <a:lnTo>
                    <a:pt x="8813" y="4866"/>
                  </a:lnTo>
                  <a:lnTo>
                    <a:pt x="8813" y="4540"/>
                  </a:lnTo>
                  <a:lnTo>
                    <a:pt x="8803" y="4234"/>
                  </a:lnTo>
                  <a:lnTo>
                    <a:pt x="8765" y="3927"/>
                  </a:lnTo>
                  <a:lnTo>
                    <a:pt x="8707" y="3621"/>
                  </a:lnTo>
                  <a:lnTo>
                    <a:pt x="8631" y="3324"/>
                  </a:lnTo>
                  <a:lnTo>
                    <a:pt x="8535" y="3036"/>
                  </a:lnTo>
                  <a:lnTo>
                    <a:pt x="8420" y="2759"/>
                  </a:lnTo>
                  <a:lnTo>
                    <a:pt x="8295" y="2491"/>
                  </a:lnTo>
                  <a:lnTo>
                    <a:pt x="8152" y="2222"/>
                  </a:lnTo>
                  <a:lnTo>
                    <a:pt x="7998" y="1973"/>
                  </a:lnTo>
                  <a:lnTo>
                    <a:pt x="7826" y="1734"/>
                  </a:lnTo>
                  <a:lnTo>
                    <a:pt x="7644" y="1504"/>
                  </a:lnTo>
                  <a:lnTo>
                    <a:pt x="7443" y="1293"/>
                  </a:lnTo>
                  <a:lnTo>
                    <a:pt x="7232" y="1092"/>
                  </a:lnTo>
                  <a:lnTo>
                    <a:pt x="7012" y="901"/>
                  </a:lnTo>
                  <a:lnTo>
                    <a:pt x="6772" y="728"/>
                  </a:lnTo>
                  <a:lnTo>
                    <a:pt x="6533" y="575"/>
                  </a:lnTo>
                  <a:lnTo>
                    <a:pt x="6274" y="441"/>
                  </a:lnTo>
                  <a:lnTo>
                    <a:pt x="6016" y="316"/>
                  </a:lnTo>
                  <a:lnTo>
                    <a:pt x="5748" y="211"/>
                  </a:lnTo>
                  <a:lnTo>
                    <a:pt x="5470" y="134"/>
                  </a:lnTo>
                  <a:lnTo>
                    <a:pt x="5183" y="67"/>
                  </a:lnTo>
                  <a:lnTo>
                    <a:pt x="4895" y="29"/>
                  </a:lnTo>
                  <a:lnTo>
                    <a:pt x="459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16"/>
            <p:cNvSpPr/>
            <p:nvPr/>
          </p:nvSpPr>
          <p:spPr>
            <a:xfrm>
              <a:off x="3891223" y="3263673"/>
              <a:ext cx="1204138" cy="596833"/>
            </a:xfrm>
            <a:custGeom>
              <a:avLst/>
              <a:gdLst/>
              <a:ahLst/>
              <a:cxnLst/>
              <a:rect l="l" t="t" r="r" b="b"/>
              <a:pathLst>
                <a:path w="33917" h="16811" extrusionOk="0">
                  <a:moveTo>
                    <a:pt x="13314" y="0"/>
                  </a:moveTo>
                  <a:lnTo>
                    <a:pt x="12644" y="125"/>
                  </a:lnTo>
                  <a:lnTo>
                    <a:pt x="11887" y="278"/>
                  </a:lnTo>
                  <a:lnTo>
                    <a:pt x="10910" y="489"/>
                  </a:lnTo>
                  <a:lnTo>
                    <a:pt x="9761" y="748"/>
                  </a:lnTo>
                  <a:lnTo>
                    <a:pt x="9138" y="901"/>
                  </a:lnTo>
                  <a:lnTo>
                    <a:pt x="8496" y="1064"/>
                  </a:lnTo>
                  <a:lnTo>
                    <a:pt x="7835" y="1236"/>
                  </a:lnTo>
                  <a:lnTo>
                    <a:pt x="7165" y="1428"/>
                  </a:lnTo>
                  <a:lnTo>
                    <a:pt x="6485" y="1629"/>
                  </a:lnTo>
                  <a:lnTo>
                    <a:pt x="5814" y="1839"/>
                  </a:lnTo>
                  <a:lnTo>
                    <a:pt x="5144" y="2060"/>
                  </a:lnTo>
                  <a:lnTo>
                    <a:pt x="4493" y="2290"/>
                  </a:lnTo>
                  <a:lnTo>
                    <a:pt x="3861" y="2529"/>
                  </a:lnTo>
                  <a:lnTo>
                    <a:pt x="3248" y="2778"/>
                  </a:lnTo>
                  <a:lnTo>
                    <a:pt x="2960" y="2912"/>
                  </a:lnTo>
                  <a:lnTo>
                    <a:pt x="2673" y="3046"/>
                  </a:lnTo>
                  <a:lnTo>
                    <a:pt x="2405" y="3180"/>
                  </a:lnTo>
                  <a:lnTo>
                    <a:pt x="2146" y="3314"/>
                  </a:lnTo>
                  <a:lnTo>
                    <a:pt x="1887" y="3449"/>
                  </a:lnTo>
                  <a:lnTo>
                    <a:pt x="1658" y="3592"/>
                  </a:lnTo>
                  <a:lnTo>
                    <a:pt x="1428" y="3736"/>
                  </a:lnTo>
                  <a:lnTo>
                    <a:pt x="1217" y="3880"/>
                  </a:lnTo>
                  <a:lnTo>
                    <a:pt x="1016" y="4023"/>
                  </a:lnTo>
                  <a:lnTo>
                    <a:pt x="834" y="4177"/>
                  </a:lnTo>
                  <a:lnTo>
                    <a:pt x="671" y="4330"/>
                  </a:lnTo>
                  <a:lnTo>
                    <a:pt x="518" y="4483"/>
                  </a:lnTo>
                  <a:lnTo>
                    <a:pt x="384" y="4636"/>
                  </a:lnTo>
                  <a:lnTo>
                    <a:pt x="269" y="4790"/>
                  </a:lnTo>
                  <a:lnTo>
                    <a:pt x="173" y="4952"/>
                  </a:lnTo>
                  <a:lnTo>
                    <a:pt x="106" y="5115"/>
                  </a:lnTo>
                  <a:lnTo>
                    <a:pt x="48" y="5278"/>
                  </a:lnTo>
                  <a:lnTo>
                    <a:pt x="10" y="5441"/>
                  </a:lnTo>
                  <a:lnTo>
                    <a:pt x="1" y="5604"/>
                  </a:lnTo>
                  <a:lnTo>
                    <a:pt x="10" y="5690"/>
                  </a:lnTo>
                  <a:lnTo>
                    <a:pt x="20" y="5776"/>
                  </a:lnTo>
                  <a:lnTo>
                    <a:pt x="29" y="5853"/>
                  </a:lnTo>
                  <a:lnTo>
                    <a:pt x="48" y="5939"/>
                  </a:lnTo>
                  <a:lnTo>
                    <a:pt x="77" y="6025"/>
                  </a:lnTo>
                  <a:lnTo>
                    <a:pt x="115" y="6111"/>
                  </a:lnTo>
                  <a:lnTo>
                    <a:pt x="202" y="6284"/>
                  </a:lnTo>
                  <a:lnTo>
                    <a:pt x="307" y="6456"/>
                  </a:lnTo>
                  <a:lnTo>
                    <a:pt x="259" y="6743"/>
                  </a:lnTo>
                  <a:lnTo>
                    <a:pt x="230" y="7012"/>
                  </a:lnTo>
                  <a:lnTo>
                    <a:pt x="221" y="7280"/>
                  </a:lnTo>
                  <a:lnTo>
                    <a:pt x="221" y="7529"/>
                  </a:lnTo>
                  <a:lnTo>
                    <a:pt x="240" y="7778"/>
                  </a:lnTo>
                  <a:lnTo>
                    <a:pt x="269" y="8008"/>
                  </a:lnTo>
                  <a:lnTo>
                    <a:pt x="317" y="8238"/>
                  </a:lnTo>
                  <a:lnTo>
                    <a:pt x="374" y="8458"/>
                  </a:lnTo>
                  <a:lnTo>
                    <a:pt x="451" y="8669"/>
                  </a:lnTo>
                  <a:lnTo>
                    <a:pt x="547" y="8870"/>
                  </a:lnTo>
                  <a:lnTo>
                    <a:pt x="642" y="9061"/>
                  </a:lnTo>
                  <a:lnTo>
                    <a:pt x="757" y="9253"/>
                  </a:lnTo>
                  <a:lnTo>
                    <a:pt x="882" y="9425"/>
                  </a:lnTo>
                  <a:lnTo>
                    <a:pt x="1025" y="9598"/>
                  </a:lnTo>
                  <a:lnTo>
                    <a:pt x="1169" y="9761"/>
                  </a:lnTo>
                  <a:lnTo>
                    <a:pt x="1332" y="9914"/>
                  </a:lnTo>
                  <a:lnTo>
                    <a:pt x="1504" y="10067"/>
                  </a:lnTo>
                  <a:lnTo>
                    <a:pt x="1677" y="10211"/>
                  </a:lnTo>
                  <a:lnTo>
                    <a:pt x="1868" y="10345"/>
                  </a:lnTo>
                  <a:lnTo>
                    <a:pt x="2069" y="10469"/>
                  </a:lnTo>
                  <a:lnTo>
                    <a:pt x="2271" y="10594"/>
                  </a:lnTo>
                  <a:lnTo>
                    <a:pt x="2491" y="10709"/>
                  </a:lnTo>
                  <a:lnTo>
                    <a:pt x="2711" y="10824"/>
                  </a:lnTo>
                  <a:lnTo>
                    <a:pt x="2941" y="10929"/>
                  </a:lnTo>
                  <a:lnTo>
                    <a:pt x="3180" y="11025"/>
                  </a:lnTo>
                  <a:lnTo>
                    <a:pt x="3420" y="11121"/>
                  </a:lnTo>
                  <a:lnTo>
                    <a:pt x="3669" y="11207"/>
                  </a:lnTo>
                  <a:lnTo>
                    <a:pt x="3918" y="11293"/>
                  </a:lnTo>
                  <a:lnTo>
                    <a:pt x="4177" y="11370"/>
                  </a:lnTo>
                  <a:lnTo>
                    <a:pt x="4435" y="11446"/>
                  </a:lnTo>
                  <a:lnTo>
                    <a:pt x="4972" y="11580"/>
                  </a:lnTo>
                  <a:lnTo>
                    <a:pt x="5527" y="11705"/>
                  </a:lnTo>
                  <a:lnTo>
                    <a:pt x="6083" y="11810"/>
                  </a:lnTo>
                  <a:lnTo>
                    <a:pt x="6638" y="11896"/>
                  </a:lnTo>
                  <a:lnTo>
                    <a:pt x="7203" y="11983"/>
                  </a:lnTo>
                  <a:lnTo>
                    <a:pt x="7768" y="12050"/>
                  </a:lnTo>
                  <a:lnTo>
                    <a:pt x="8324" y="12107"/>
                  </a:lnTo>
                  <a:lnTo>
                    <a:pt x="9397" y="12213"/>
                  </a:lnTo>
                  <a:lnTo>
                    <a:pt x="10412" y="12299"/>
                  </a:lnTo>
                  <a:lnTo>
                    <a:pt x="11331" y="12375"/>
                  </a:lnTo>
                  <a:lnTo>
                    <a:pt x="11743" y="12423"/>
                  </a:lnTo>
                  <a:lnTo>
                    <a:pt x="12126" y="12462"/>
                  </a:lnTo>
                  <a:lnTo>
                    <a:pt x="12471" y="12519"/>
                  </a:lnTo>
                  <a:lnTo>
                    <a:pt x="12768" y="12567"/>
                  </a:lnTo>
                  <a:lnTo>
                    <a:pt x="13898" y="12806"/>
                  </a:lnTo>
                  <a:lnTo>
                    <a:pt x="15393" y="13132"/>
                  </a:lnTo>
                  <a:lnTo>
                    <a:pt x="16235" y="13324"/>
                  </a:lnTo>
                  <a:lnTo>
                    <a:pt x="17117" y="13525"/>
                  </a:lnTo>
                  <a:lnTo>
                    <a:pt x="18007" y="13755"/>
                  </a:lnTo>
                  <a:lnTo>
                    <a:pt x="18889" y="13985"/>
                  </a:lnTo>
                  <a:lnTo>
                    <a:pt x="19760" y="14234"/>
                  </a:lnTo>
                  <a:lnTo>
                    <a:pt x="20182" y="14358"/>
                  </a:lnTo>
                  <a:lnTo>
                    <a:pt x="20584" y="14492"/>
                  </a:lnTo>
                  <a:lnTo>
                    <a:pt x="20977" y="14626"/>
                  </a:lnTo>
                  <a:lnTo>
                    <a:pt x="21350" y="14760"/>
                  </a:lnTo>
                  <a:lnTo>
                    <a:pt x="21695" y="14894"/>
                  </a:lnTo>
                  <a:lnTo>
                    <a:pt x="22030" y="15029"/>
                  </a:lnTo>
                  <a:lnTo>
                    <a:pt x="22337" y="15172"/>
                  </a:lnTo>
                  <a:lnTo>
                    <a:pt x="22614" y="15306"/>
                  </a:lnTo>
                  <a:lnTo>
                    <a:pt x="22854" y="15450"/>
                  </a:lnTo>
                  <a:lnTo>
                    <a:pt x="23074" y="15594"/>
                  </a:lnTo>
                  <a:lnTo>
                    <a:pt x="23256" y="15737"/>
                  </a:lnTo>
                  <a:lnTo>
                    <a:pt x="23333" y="15804"/>
                  </a:lnTo>
                  <a:lnTo>
                    <a:pt x="23400" y="15871"/>
                  </a:lnTo>
                  <a:lnTo>
                    <a:pt x="23457" y="15948"/>
                  </a:lnTo>
                  <a:lnTo>
                    <a:pt x="23505" y="16015"/>
                  </a:lnTo>
                  <a:lnTo>
                    <a:pt x="23534" y="16092"/>
                  </a:lnTo>
                  <a:lnTo>
                    <a:pt x="23563" y="16159"/>
                  </a:lnTo>
                  <a:lnTo>
                    <a:pt x="23601" y="16245"/>
                  </a:lnTo>
                  <a:lnTo>
                    <a:pt x="23649" y="16331"/>
                  </a:lnTo>
                  <a:lnTo>
                    <a:pt x="23706" y="16398"/>
                  </a:lnTo>
                  <a:lnTo>
                    <a:pt x="23783" y="16465"/>
                  </a:lnTo>
                  <a:lnTo>
                    <a:pt x="23869" y="16532"/>
                  </a:lnTo>
                  <a:lnTo>
                    <a:pt x="23965" y="16590"/>
                  </a:lnTo>
                  <a:lnTo>
                    <a:pt x="24080" y="16638"/>
                  </a:lnTo>
                  <a:lnTo>
                    <a:pt x="24204" y="16676"/>
                  </a:lnTo>
                  <a:lnTo>
                    <a:pt x="24338" y="16714"/>
                  </a:lnTo>
                  <a:lnTo>
                    <a:pt x="24482" y="16743"/>
                  </a:lnTo>
                  <a:lnTo>
                    <a:pt x="24635" y="16772"/>
                  </a:lnTo>
                  <a:lnTo>
                    <a:pt x="24798" y="16791"/>
                  </a:lnTo>
                  <a:lnTo>
                    <a:pt x="24971" y="16800"/>
                  </a:lnTo>
                  <a:lnTo>
                    <a:pt x="25153" y="16810"/>
                  </a:lnTo>
                  <a:lnTo>
                    <a:pt x="25536" y="16810"/>
                  </a:lnTo>
                  <a:lnTo>
                    <a:pt x="25948" y="16781"/>
                  </a:lnTo>
                  <a:lnTo>
                    <a:pt x="26388" y="16733"/>
                  </a:lnTo>
                  <a:lnTo>
                    <a:pt x="26838" y="16666"/>
                  </a:lnTo>
                  <a:lnTo>
                    <a:pt x="27317" y="16580"/>
                  </a:lnTo>
                  <a:lnTo>
                    <a:pt x="27796" y="16475"/>
                  </a:lnTo>
                  <a:lnTo>
                    <a:pt x="28285" y="16350"/>
                  </a:lnTo>
                  <a:lnTo>
                    <a:pt x="28783" y="16207"/>
                  </a:lnTo>
                  <a:lnTo>
                    <a:pt x="29271" y="16044"/>
                  </a:lnTo>
                  <a:lnTo>
                    <a:pt x="29760" y="15862"/>
                  </a:lnTo>
                  <a:lnTo>
                    <a:pt x="30239" y="15661"/>
                  </a:lnTo>
                  <a:lnTo>
                    <a:pt x="30708" y="15440"/>
                  </a:lnTo>
                  <a:lnTo>
                    <a:pt x="31158" y="15211"/>
                  </a:lnTo>
                  <a:lnTo>
                    <a:pt x="31378" y="15096"/>
                  </a:lnTo>
                  <a:lnTo>
                    <a:pt x="31589" y="14961"/>
                  </a:lnTo>
                  <a:lnTo>
                    <a:pt x="31800" y="14837"/>
                  </a:lnTo>
                  <a:lnTo>
                    <a:pt x="32001" y="14703"/>
                  </a:lnTo>
                  <a:lnTo>
                    <a:pt x="32193" y="14569"/>
                  </a:lnTo>
                  <a:lnTo>
                    <a:pt x="32375" y="14425"/>
                  </a:lnTo>
                  <a:lnTo>
                    <a:pt x="32556" y="14281"/>
                  </a:lnTo>
                  <a:lnTo>
                    <a:pt x="32729" y="14138"/>
                  </a:lnTo>
                  <a:lnTo>
                    <a:pt x="32882" y="13985"/>
                  </a:lnTo>
                  <a:lnTo>
                    <a:pt x="33035" y="13831"/>
                  </a:lnTo>
                  <a:lnTo>
                    <a:pt x="33179" y="13678"/>
                  </a:lnTo>
                  <a:lnTo>
                    <a:pt x="33304" y="13515"/>
                  </a:lnTo>
                  <a:lnTo>
                    <a:pt x="33428" y="13362"/>
                  </a:lnTo>
                  <a:lnTo>
                    <a:pt x="33533" y="13190"/>
                  </a:lnTo>
                  <a:lnTo>
                    <a:pt x="33629" y="13027"/>
                  </a:lnTo>
                  <a:lnTo>
                    <a:pt x="33706" y="12854"/>
                  </a:lnTo>
                  <a:lnTo>
                    <a:pt x="33782" y="12682"/>
                  </a:lnTo>
                  <a:lnTo>
                    <a:pt x="33830" y="12500"/>
                  </a:lnTo>
                  <a:lnTo>
                    <a:pt x="33878" y="12318"/>
                  </a:lnTo>
                  <a:lnTo>
                    <a:pt x="33907" y="12136"/>
                  </a:lnTo>
                  <a:lnTo>
                    <a:pt x="33917" y="11954"/>
                  </a:lnTo>
                  <a:lnTo>
                    <a:pt x="33917" y="11772"/>
                  </a:lnTo>
                  <a:lnTo>
                    <a:pt x="33897" y="11580"/>
                  </a:lnTo>
                  <a:lnTo>
                    <a:pt x="33859" y="11389"/>
                  </a:lnTo>
                  <a:lnTo>
                    <a:pt x="33821" y="11245"/>
                  </a:lnTo>
                  <a:lnTo>
                    <a:pt x="33782" y="11101"/>
                  </a:lnTo>
                  <a:lnTo>
                    <a:pt x="33735" y="10958"/>
                  </a:lnTo>
                  <a:lnTo>
                    <a:pt x="33677" y="10805"/>
                  </a:lnTo>
                  <a:lnTo>
                    <a:pt x="33543" y="10517"/>
                  </a:lnTo>
                  <a:lnTo>
                    <a:pt x="33390" y="10239"/>
                  </a:lnTo>
                  <a:lnTo>
                    <a:pt x="33217" y="9952"/>
                  </a:lnTo>
                  <a:lnTo>
                    <a:pt x="33026" y="9665"/>
                  </a:lnTo>
                  <a:lnTo>
                    <a:pt x="32806" y="9387"/>
                  </a:lnTo>
                  <a:lnTo>
                    <a:pt x="32566" y="9109"/>
                  </a:lnTo>
                  <a:lnTo>
                    <a:pt x="32307" y="8841"/>
                  </a:lnTo>
                  <a:lnTo>
                    <a:pt x="32039" y="8563"/>
                  </a:lnTo>
                  <a:lnTo>
                    <a:pt x="31742" y="8295"/>
                  </a:lnTo>
                  <a:lnTo>
                    <a:pt x="31436" y="8027"/>
                  </a:lnTo>
                  <a:lnTo>
                    <a:pt x="31110" y="7759"/>
                  </a:lnTo>
                  <a:lnTo>
                    <a:pt x="30765" y="7500"/>
                  </a:lnTo>
                  <a:lnTo>
                    <a:pt x="30411" y="7242"/>
                  </a:lnTo>
                  <a:lnTo>
                    <a:pt x="30047" y="6983"/>
                  </a:lnTo>
                  <a:lnTo>
                    <a:pt x="29664" y="6734"/>
                  </a:lnTo>
                  <a:lnTo>
                    <a:pt x="29281" y="6475"/>
                  </a:lnTo>
                  <a:lnTo>
                    <a:pt x="28878" y="6236"/>
                  </a:lnTo>
                  <a:lnTo>
                    <a:pt x="28467" y="5987"/>
                  </a:lnTo>
                  <a:lnTo>
                    <a:pt x="28045" y="5747"/>
                  </a:lnTo>
                  <a:lnTo>
                    <a:pt x="27614" y="5508"/>
                  </a:lnTo>
                  <a:lnTo>
                    <a:pt x="27174" y="5278"/>
                  </a:lnTo>
                  <a:lnTo>
                    <a:pt x="26733" y="5048"/>
                  </a:lnTo>
                  <a:lnTo>
                    <a:pt x="26283" y="4828"/>
                  </a:lnTo>
                  <a:lnTo>
                    <a:pt x="25833" y="4608"/>
                  </a:lnTo>
                  <a:lnTo>
                    <a:pt x="24913" y="4167"/>
                  </a:lnTo>
                  <a:lnTo>
                    <a:pt x="23984" y="3755"/>
                  </a:lnTo>
                  <a:lnTo>
                    <a:pt x="23055" y="3362"/>
                  </a:lnTo>
                  <a:lnTo>
                    <a:pt x="22126" y="2979"/>
                  </a:lnTo>
                  <a:lnTo>
                    <a:pt x="21206" y="2625"/>
                  </a:lnTo>
                  <a:lnTo>
                    <a:pt x="20316" y="2280"/>
                  </a:lnTo>
                  <a:lnTo>
                    <a:pt x="19434" y="1964"/>
                  </a:lnTo>
                  <a:lnTo>
                    <a:pt x="18592" y="1667"/>
                  </a:lnTo>
                  <a:lnTo>
                    <a:pt x="17787" y="1389"/>
                  </a:lnTo>
                  <a:lnTo>
                    <a:pt x="17030" y="1131"/>
                  </a:lnTo>
                  <a:lnTo>
                    <a:pt x="16322" y="901"/>
                  </a:lnTo>
                  <a:lnTo>
                    <a:pt x="15086" y="518"/>
                  </a:lnTo>
                  <a:lnTo>
                    <a:pt x="14138" y="230"/>
                  </a:lnTo>
                  <a:lnTo>
                    <a:pt x="13525" y="58"/>
                  </a:lnTo>
                  <a:lnTo>
                    <a:pt x="133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16"/>
            <p:cNvSpPr/>
            <p:nvPr/>
          </p:nvSpPr>
          <p:spPr>
            <a:xfrm>
              <a:off x="3800446" y="2426514"/>
              <a:ext cx="754570" cy="1205842"/>
            </a:xfrm>
            <a:custGeom>
              <a:avLst/>
              <a:gdLst/>
              <a:ahLst/>
              <a:cxnLst/>
              <a:rect l="l" t="t" r="r" b="b"/>
              <a:pathLst>
                <a:path w="21254" h="33965" extrusionOk="0">
                  <a:moveTo>
                    <a:pt x="10709" y="0"/>
                  </a:moveTo>
                  <a:lnTo>
                    <a:pt x="10431" y="10"/>
                  </a:lnTo>
                  <a:lnTo>
                    <a:pt x="10134" y="10"/>
                  </a:lnTo>
                  <a:lnTo>
                    <a:pt x="9846" y="29"/>
                  </a:lnTo>
                  <a:lnTo>
                    <a:pt x="9550" y="58"/>
                  </a:lnTo>
                  <a:lnTo>
                    <a:pt x="9253" y="96"/>
                  </a:lnTo>
                  <a:lnTo>
                    <a:pt x="8956" y="144"/>
                  </a:lnTo>
                  <a:lnTo>
                    <a:pt x="8649" y="201"/>
                  </a:lnTo>
                  <a:lnTo>
                    <a:pt x="8352" y="268"/>
                  </a:lnTo>
                  <a:lnTo>
                    <a:pt x="8046" y="345"/>
                  </a:lnTo>
                  <a:lnTo>
                    <a:pt x="7749" y="441"/>
                  </a:lnTo>
                  <a:lnTo>
                    <a:pt x="7442" y="556"/>
                  </a:lnTo>
                  <a:lnTo>
                    <a:pt x="7136" y="671"/>
                  </a:lnTo>
                  <a:lnTo>
                    <a:pt x="6839" y="814"/>
                  </a:lnTo>
                  <a:lnTo>
                    <a:pt x="6542" y="958"/>
                  </a:lnTo>
                  <a:lnTo>
                    <a:pt x="6236" y="1130"/>
                  </a:lnTo>
                  <a:lnTo>
                    <a:pt x="5939" y="1312"/>
                  </a:lnTo>
                  <a:lnTo>
                    <a:pt x="5651" y="1513"/>
                  </a:lnTo>
                  <a:lnTo>
                    <a:pt x="5354" y="1734"/>
                  </a:lnTo>
                  <a:lnTo>
                    <a:pt x="5067" y="1973"/>
                  </a:lnTo>
                  <a:lnTo>
                    <a:pt x="4789" y="2232"/>
                  </a:lnTo>
                  <a:lnTo>
                    <a:pt x="4502" y="2510"/>
                  </a:lnTo>
                  <a:lnTo>
                    <a:pt x="4234" y="2807"/>
                  </a:lnTo>
                  <a:lnTo>
                    <a:pt x="3956" y="3123"/>
                  </a:lnTo>
                  <a:lnTo>
                    <a:pt x="3697" y="3467"/>
                  </a:lnTo>
                  <a:lnTo>
                    <a:pt x="3439" y="3831"/>
                  </a:lnTo>
                  <a:lnTo>
                    <a:pt x="3180" y="4215"/>
                  </a:lnTo>
                  <a:lnTo>
                    <a:pt x="2931" y="4626"/>
                  </a:lnTo>
                  <a:lnTo>
                    <a:pt x="2692" y="5057"/>
                  </a:lnTo>
                  <a:lnTo>
                    <a:pt x="2462" y="5517"/>
                  </a:lnTo>
                  <a:lnTo>
                    <a:pt x="2241" y="5996"/>
                  </a:lnTo>
                  <a:lnTo>
                    <a:pt x="2021" y="6513"/>
                  </a:lnTo>
                  <a:lnTo>
                    <a:pt x="1810" y="7050"/>
                  </a:lnTo>
                  <a:lnTo>
                    <a:pt x="1619" y="7605"/>
                  </a:lnTo>
                  <a:lnTo>
                    <a:pt x="1427" y="8199"/>
                  </a:lnTo>
                  <a:lnTo>
                    <a:pt x="1245" y="8822"/>
                  </a:lnTo>
                  <a:lnTo>
                    <a:pt x="1083" y="9473"/>
                  </a:lnTo>
                  <a:lnTo>
                    <a:pt x="920" y="10153"/>
                  </a:lnTo>
                  <a:lnTo>
                    <a:pt x="776" y="10862"/>
                  </a:lnTo>
                  <a:lnTo>
                    <a:pt x="642" y="11609"/>
                  </a:lnTo>
                  <a:lnTo>
                    <a:pt x="517" y="12375"/>
                  </a:lnTo>
                  <a:lnTo>
                    <a:pt x="402" y="13180"/>
                  </a:lnTo>
                  <a:lnTo>
                    <a:pt x="307" y="14022"/>
                  </a:lnTo>
                  <a:lnTo>
                    <a:pt x="220" y="14894"/>
                  </a:lnTo>
                  <a:lnTo>
                    <a:pt x="144" y="15804"/>
                  </a:lnTo>
                  <a:lnTo>
                    <a:pt x="86" y="16743"/>
                  </a:lnTo>
                  <a:lnTo>
                    <a:pt x="48" y="17720"/>
                  </a:lnTo>
                  <a:lnTo>
                    <a:pt x="19" y="18735"/>
                  </a:lnTo>
                  <a:lnTo>
                    <a:pt x="0" y="19645"/>
                  </a:lnTo>
                  <a:lnTo>
                    <a:pt x="0" y="20516"/>
                  </a:lnTo>
                  <a:lnTo>
                    <a:pt x="19" y="21350"/>
                  </a:lnTo>
                  <a:lnTo>
                    <a:pt x="39" y="22135"/>
                  </a:lnTo>
                  <a:lnTo>
                    <a:pt x="77" y="22892"/>
                  </a:lnTo>
                  <a:lnTo>
                    <a:pt x="115" y="23601"/>
                  </a:lnTo>
                  <a:lnTo>
                    <a:pt x="173" y="24271"/>
                  </a:lnTo>
                  <a:lnTo>
                    <a:pt x="230" y="24913"/>
                  </a:lnTo>
                  <a:lnTo>
                    <a:pt x="297" y="25507"/>
                  </a:lnTo>
                  <a:lnTo>
                    <a:pt x="374" y="26072"/>
                  </a:lnTo>
                  <a:lnTo>
                    <a:pt x="460" y="26608"/>
                  </a:lnTo>
                  <a:lnTo>
                    <a:pt x="546" y="27106"/>
                  </a:lnTo>
                  <a:lnTo>
                    <a:pt x="632" y="27566"/>
                  </a:lnTo>
                  <a:lnTo>
                    <a:pt x="728" y="28007"/>
                  </a:lnTo>
                  <a:lnTo>
                    <a:pt x="824" y="28409"/>
                  </a:lnTo>
                  <a:lnTo>
                    <a:pt x="920" y="28773"/>
                  </a:lnTo>
                  <a:lnTo>
                    <a:pt x="1006" y="29079"/>
                  </a:lnTo>
                  <a:lnTo>
                    <a:pt x="1121" y="29376"/>
                  </a:lnTo>
                  <a:lnTo>
                    <a:pt x="1236" y="29664"/>
                  </a:lnTo>
                  <a:lnTo>
                    <a:pt x="1379" y="29941"/>
                  </a:lnTo>
                  <a:lnTo>
                    <a:pt x="1533" y="30210"/>
                  </a:lnTo>
                  <a:lnTo>
                    <a:pt x="1705" y="30468"/>
                  </a:lnTo>
                  <a:lnTo>
                    <a:pt x="1887" y="30717"/>
                  </a:lnTo>
                  <a:lnTo>
                    <a:pt x="2079" y="30957"/>
                  </a:lnTo>
                  <a:lnTo>
                    <a:pt x="2289" y="31186"/>
                  </a:lnTo>
                  <a:lnTo>
                    <a:pt x="2510" y="31407"/>
                  </a:lnTo>
                  <a:lnTo>
                    <a:pt x="2740" y="31608"/>
                  </a:lnTo>
                  <a:lnTo>
                    <a:pt x="2989" y="31799"/>
                  </a:lnTo>
                  <a:lnTo>
                    <a:pt x="3238" y="31981"/>
                  </a:lnTo>
                  <a:lnTo>
                    <a:pt x="3506" y="32144"/>
                  </a:lnTo>
                  <a:lnTo>
                    <a:pt x="3784" y="32298"/>
                  </a:lnTo>
                  <a:lnTo>
                    <a:pt x="4061" y="32432"/>
                  </a:lnTo>
                  <a:lnTo>
                    <a:pt x="4626" y="32671"/>
                  </a:lnTo>
                  <a:lnTo>
                    <a:pt x="5172" y="32882"/>
                  </a:lnTo>
                  <a:lnTo>
                    <a:pt x="5718" y="33073"/>
                  </a:lnTo>
                  <a:lnTo>
                    <a:pt x="6264" y="33246"/>
                  </a:lnTo>
                  <a:lnTo>
                    <a:pt x="6791" y="33399"/>
                  </a:lnTo>
                  <a:lnTo>
                    <a:pt x="7318" y="33533"/>
                  </a:lnTo>
                  <a:lnTo>
                    <a:pt x="7835" y="33648"/>
                  </a:lnTo>
                  <a:lnTo>
                    <a:pt x="8343" y="33744"/>
                  </a:lnTo>
                  <a:lnTo>
                    <a:pt x="8841" y="33820"/>
                  </a:lnTo>
                  <a:lnTo>
                    <a:pt x="9339" y="33878"/>
                  </a:lnTo>
                  <a:lnTo>
                    <a:pt x="9818" y="33916"/>
                  </a:lnTo>
                  <a:lnTo>
                    <a:pt x="10297" y="33945"/>
                  </a:lnTo>
                  <a:lnTo>
                    <a:pt x="10766" y="33964"/>
                  </a:lnTo>
                  <a:lnTo>
                    <a:pt x="11235" y="33955"/>
                  </a:lnTo>
                  <a:lnTo>
                    <a:pt x="11685" y="33945"/>
                  </a:lnTo>
                  <a:lnTo>
                    <a:pt x="12126" y="33916"/>
                  </a:lnTo>
                  <a:lnTo>
                    <a:pt x="12567" y="33868"/>
                  </a:lnTo>
                  <a:lnTo>
                    <a:pt x="12988" y="33820"/>
                  </a:lnTo>
                  <a:lnTo>
                    <a:pt x="13410" y="33753"/>
                  </a:lnTo>
                  <a:lnTo>
                    <a:pt x="13821" y="33686"/>
                  </a:lnTo>
                  <a:lnTo>
                    <a:pt x="14214" y="33600"/>
                  </a:lnTo>
                  <a:lnTo>
                    <a:pt x="14607" y="33504"/>
                  </a:lnTo>
                  <a:lnTo>
                    <a:pt x="14990" y="33409"/>
                  </a:lnTo>
                  <a:lnTo>
                    <a:pt x="15363" y="33294"/>
                  </a:lnTo>
                  <a:lnTo>
                    <a:pt x="15718" y="33179"/>
                  </a:lnTo>
                  <a:lnTo>
                    <a:pt x="16072" y="33064"/>
                  </a:lnTo>
                  <a:lnTo>
                    <a:pt x="16417" y="32930"/>
                  </a:lnTo>
                  <a:lnTo>
                    <a:pt x="16752" y="32805"/>
                  </a:lnTo>
                  <a:lnTo>
                    <a:pt x="17068" y="32662"/>
                  </a:lnTo>
                  <a:lnTo>
                    <a:pt x="17384" y="32527"/>
                  </a:lnTo>
                  <a:lnTo>
                    <a:pt x="17681" y="32384"/>
                  </a:lnTo>
                  <a:lnTo>
                    <a:pt x="17969" y="32240"/>
                  </a:lnTo>
                  <a:lnTo>
                    <a:pt x="18199" y="32116"/>
                  </a:lnTo>
                  <a:lnTo>
                    <a:pt x="18409" y="31981"/>
                  </a:lnTo>
                  <a:lnTo>
                    <a:pt x="18610" y="31847"/>
                  </a:lnTo>
                  <a:lnTo>
                    <a:pt x="18802" y="31704"/>
                  </a:lnTo>
                  <a:lnTo>
                    <a:pt x="18984" y="31550"/>
                  </a:lnTo>
                  <a:lnTo>
                    <a:pt x="19156" y="31388"/>
                  </a:lnTo>
                  <a:lnTo>
                    <a:pt x="19319" y="31215"/>
                  </a:lnTo>
                  <a:lnTo>
                    <a:pt x="19472" y="31043"/>
                  </a:lnTo>
                  <a:lnTo>
                    <a:pt x="19616" y="30861"/>
                  </a:lnTo>
                  <a:lnTo>
                    <a:pt x="19750" y="30679"/>
                  </a:lnTo>
                  <a:lnTo>
                    <a:pt x="19884" y="30478"/>
                  </a:lnTo>
                  <a:lnTo>
                    <a:pt x="19999" y="30286"/>
                  </a:lnTo>
                  <a:lnTo>
                    <a:pt x="20114" y="30075"/>
                  </a:lnTo>
                  <a:lnTo>
                    <a:pt x="20220" y="29865"/>
                  </a:lnTo>
                  <a:lnTo>
                    <a:pt x="20315" y="29654"/>
                  </a:lnTo>
                  <a:lnTo>
                    <a:pt x="20411" y="29434"/>
                  </a:lnTo>
                  <a:lnTo>
                    <a:pt x="20488" y="29213"/>
                  </a:lnTo>
                  <a:lnTo>
                    <a:pt x="20564" y="28984"/>
                  </a:lnTo>
                  <a:lnTo>
                    <a:pt x="20641" y="28754"/>
                  </a:lnTo>
                  <a:lnTo>
                    <a:pt x="20708" y="28514"/>
                  </a:lnTo>
                  <a:lnTo>
                    <a:pt x="20766" y="28284"/>
                  </a:lnTo>
                  <a:lnTo>
                    <a:pt x="20823" y="28035"/>
                  </a:lnTo>
                  <a:lnTo>
                    <a:pt x="20919" y="27547"/>
                  </a:lnTo>
                  <a:lnTo>
                    <a:pt x="20995" y="27049"/>
                  </a:lnTo>
                  <a:lnTo>
                    <a:pt x="21053" y="26541"/>
                  </a:lnTo>
                  <a:lnTo>
                    <a:pt x="21101" y="26033"/>
                  </a:lnTo>
                  <a:lnTo>
                    <a:pt x="21139" y="25526"/>
                  </a:lnTo>
                  <a:lnTo>
                    <a:pt x="21187" y="24434"/>
                  </a:lnTo>
                  <a:lnTo>
                    <a:pt x="21216" y="23811"/>
                  </a:lnTo>
                  <a:lnTo>
                    <a:pt x="21235" y="23150"/>
                  </a:lnTo>
                  <a:lnTo>
                    <a:pt x="21244" y="22432"/>
                  </a:lnTo>
                  <a:lnTo>
                    <a:pt x="21254" y="21675"/>
                  </a:lnTo>
                  <a:lnTo>
                    <a:pt x="21254" y="20880"/>
                  </a:lnTo>
                  <a:lnTo>
                    <a:pt x="21254" y="20047"/>
                  </a:lnTo>
                  <a:lnTo>
                    <a:pt x="21235" y="19185"/>
                  </a:lnTo>
                  <a:lnTo>
                    <a:pt x="21206" y="18285"/>
                  </a:lnTo>
                  <a:lnTo>
                    <a:pt x="21168" y="17356"/>
                  </a:lnTo>
                  <a:lnTo>
                    <a:pt x="21110" y="16398"/>
                  </a:lnTo>
                  <a:lnTo>
                    <a:pt x="21043" y="15421"/>
                  </a:lnTo>
                  <a:lnTo>
                    <a:pt x="20967" y="14415"/>
                  </a:lnTo>
                  <a:lnTo>
                    <a:pt x="20871" y="13390"/>
                  </a:lnTo>
                  <a:lnTo>
                    <a:pt x="20756" y="12356"/>
                  </a:lnTo>
                  <a:lnTo>
                    <a:pt x="20631" y="11398"/>
                  </a:lnTo>
                  <a:lnTo>
                    <a:pt x="20497" y="10488"/>
                  </a:lnTo>
                  <a:lnTo>
                    <a:pt x="20344" y="9636"/>
                  </a:lnTo>
                  <a:lnTo>
                    <a:pt x="20191" y="8841"/>
                  </a:lnTo>
                  <a:lnTo>
                    <a:pt x="20018" y="8084"/>
                  </a:lnTo>
                  <a:lnTo>
                    <a:pt x="19836" y="7385"/>
                  </a:lnTo>
                  <a:lnTo>
                    <a:pt x="19645" y="6724"/>
                  </a:lnTo>
                  <a:lnTo>
                    <a:pt x="19453" y="6111"/>
                  </a:lnTo>
                  <a:lnTo>
                    <a:pt x="19243" y="5536"/>
                  </a:lnTo>
                  <a:lnTo>
                    <a:pt x="19032" y="5009"/>
                  </a:lnTo>
                  <a:lnTo>
                    <a:pt x="18821" y="4521"/>
                  </a:lnTo>
                  <a:lnTo>
                    <a:pt x="18601" y="4071"/>
                  </a:lnTo>
                  <a:lnTo>
                    <a:pt x="18371" y="3649"/>
                  </a:lnTo>
                  <a:lnTo>
                    <a:pt x="18151" y="3276"/>
                  </a:lnTo>
                  <a:lnTo>
                    <a:pt x="17921" y="2921"/>
                  </a:lnTo>
                  <a:lnTo>
                    <a:pt x="17691" y="2605"/>
                  </a:lnTo>
                  <a:lnTo>
                    <a:pt x="17461" y="2328"/>
                  </a:lnTo>
                  <a:lnTo>
                    <a:pt x="17231" y="2069"/>
                  </a:lnTo>
                  <a:lnTo>
                    <a:pt x="17001" y="1839"/>
                  </a:lnTo>
                  <a:lnTo>
                    <a:pt x="16781" y="1628"/>
                  </a:lnTo>
                  <a:lnTo>
                    <a:pt x="16561" y="1456"/>
                  </a:lnTo>
                  <a:lnTo>
                    <a:pt x="16340" y="1293"/>
                  </a:lnTo>
                  <a:lnTo>
                    <a:pt x="16130" y="1159"/>
                  </a:lnTo>
                  <a:lnTo>
                    <a:pt x="15929" y="1035"/>
                  </a:lnTo>
                  <a:lnTo>
                    <a:pt x="15727" y="929"/>
                  </a:lnTo>
                  <a:lnTo>
                    <a:pt x="15536" y="843"/>
                  </a:lnTo>
                  <a:lnTo>
                    <a:pt x="15354" y="776"/>
                  </a:lnTo>
                  <a:lnTo>
                    <a:pt x="15181" y="709"/>
                  </a:lnTo>
                  <a:lnTo>
                    <a:pt x="15019" y="661"/>
                  </a:lnTo>
                  <a:lnTo>
                    <a:pt x="14875" y="623"/>
                  </a:lnTo>
                  <a:lnTo>
                    <a:pt x="14607" y="565"/>
                  </a:lnTo>
                  <a:lnTo>
                    <a:pt x="13908" y="412"/>
                  </a:lnTo>
                  <a:lnTo>
                    <a:pt x="13496" y="326"/>
                  </a:lnTo>
                  <a:lnTo>
                    <a:pt x="13046" y="240"/>
                  </a:lnTo>
                  <a:lnTo>
                    <a:pt x="12576" y="163"/>
                  </a:lnTo>
                  <a:lnTo>
                    <a:pt x="12069" y="96"/>
                  </a:lnTo>
                  <a:lnTo>
                    <a:pt x="11542" y="38"/>
                  </a:lnTo>
                  <a:lnTo>
                    <a:pt x="11274" y="19"/>
                  </a:lnTo>
                  <a:lnTo>
                    <a:pt x="10996" y="10"/>
                  </a:lnTo>
                  <a:lnTo>
                    <a:pt x="107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280;p16"/>
            <p:cNvSpPr/>
            <p:nvPr/>
          </p:nvSpPr>
          <p:spPr>
            <a:xfrm>
              <a:off x="4210168" y="2562520"/>
              <a:ext cx="792345" cy="706642"/>
            </a:xfrm>
            <a:custGeom>
              <a:avLst/>
              <a:gdLst/>
              <a:ahLst/>
              <a:cxnLst/>
              <a:rect l="l" t="t" r="r" b="b"/>
              <a:pathLst>
                <a:path w="22318" h="19904" extrusionOk="0">
                  <a:moveTo>
                    <a:pt x="3602" y="0"/>
                  </a:moveTo>
                  <a:lnTo>
                    <a:pt x="3353" y="10"/>
                  </a:lnTo>
                  <a:lnTo>
                    <a:pt x="3095" y="29"/>
                  </a:lnTo>
                  <a:lnTo>
                    <a:pt x="2845" y="77"/>
                  </a:lnTo>
                  <a:lnTo>
                    <a:pt x="2596" y="154"/>
                  </a:lnTo>
                  <a:lnTo>
                    <a:pt x="2357" y="240"/>
                  </a:lnTo>
                  <a:lnTo>
                    <a:pt x="2118" y="355"/>
                  </a:lnTo>
                  <a:lnTo>
                    <a:pt x="1888" y="498"/>
                  </a:lnTo>
                  <a:lnTo>
                    <a:pt x="1658" y="652"/>
                  </a:lnTo>
                  <a:lnTo>
                    <a:pt x="1447" y="834"/>
                  </a:lnTo>
                  <a:lnTo>
                    <a:pt x="1236" y="1035"/>
                  </a:lnTo>
                  <a:lnTo>
                    <a:pt x="1045" y="1255"/>
                  </a:lnTo>
                  <a:lnTo>
                    <a:pt x="853" y="1495"/>
                  </a:lnTo>
                  <a:lnTo>
                    <a:pt x="767" y="1629"/>
                  </a:lnTo>
                  <a:lnTo>
                    <a:pt x="690" y="1763"/>
                  </a:lnTo>
                  <a:lnTo>
                    <a:pt x="604" y="1897"/>
                  </a:lnTo>
                  <a:lnTo>
                    <a:pt x="528" y="2050"/>
                  </a:lnTo>
                  <a:lnTo>
                    <a:pt x="461" y="2194"/>
                  </a:lnTo>
                  <a:lnTo>
                    <a:pt x="394" y="2347"/>
                  </a:lnTo>
                  <a:lnTo>
                    <a:pt x="326" y="2510"/>
                  </a:lnTo>
                  <a:lnTo>
                    <a:pt x="269" y="2673"/>
                  </a:lnTo>
                  <a:lnTo>
                    <a:pt x="212" y="2845"/>
                  </a:lnTo>
                  <a:lnTo>
                    <a:pt x="164" y="3017"/>
                  </a:lnTo>
                  <a:lnTo>
                    <a:pt x="116" y="3199"/>
                  </a:lnTo>
                  <a:lnTo>
                    <a:pt x="77" y="3391"/>
                  </a:lnTo>
                  <a:lnTo>
                    <a:pt x="39" y="3583"/>
                  </a:lnTo>
                  <a:lnTo>
                    <a:pt x="10" y="3774"/>
                  </a:lnTo>
                  <a:lnTo>
                    <a:pt x="1" y="3908"/>
                  </a:lnTo>
                  <a:lnTo>
                    <a:pt x="1" y="4062"/>
                  </a:lnTo>
                  <a:lnTo>
                    <a:pt x="20" y="4224"/>
                  </a:lnTo>
                  <a:lnTo>
                    <a:pt x="49" y="4406"/>
                  </a:lnTo>
                  <a:lnTo>
                    <a:pt x="87" y="4598"/>
                  </a:lnTo>
                  <a:lnTo>
                    <a:pt x="144" y="4799"/>
                  </a:lnTo>
                  <a:lnTo>
                    <a:pt x="202" y="5019"/>
                  </a:lnTo>
                  <a:lnTo>
                    <a:pt x="279" y="5249"/>
                  </a:lnTo>
                  <a:lnTo>
                    <a:pt x="365" y="5498"/>
                  </a:lnTo>
                  <a:lnTo>
                    <a:pt x="470" y="5747"/>
                  </a:lnTo>
                  <a:lnTo>
                    <a:pt x="690" y="6284"/>
                  </a:lnTo>
                  <a:lnTo>
                    <a:pt x="949" y="6868"/>
                  </a:lnTo>
                  <a:lnTo>
                    <a:pt x="1246" y="7471"/>
                  </a:lnTo>
                  <a:lnTo>
                    <a:pt x="1581" y="8103"/>
                  </a:lnTo>
                  <a:lnTo>
                    <a:pt x="1936" y="8764"/>
                  </a:lnTo>
                  <a:lnTo>
                    <a:pt x="2309" y="9444"/>
                  </a:lnTo>
                  <a:lnTo>
                    <a:pt x="2711" y="10134"/>
                  </a:lnTo>
                  <a:lnTo>
                    <a:pt x="3133" y="10843"/>
                  </a:lnTo>
                  <a:lnTo>
                    <a:pt x="3573" y="11542"/>
                  </a:lnTo>
                  <a:lnTo>
                    <a:pt x="4014" y="12251"/>
                  </a:lnTo>
                  <a:lnTo>
                    <a:pt x="4474" y="12960"/>
                  </a:lnTo>
                  <a:lnTo>
                    <a:pt x="4934" y="13649"/>
                  </a:lnTo>
                  <a:lnTo>
                    <a:pt x="5403" y="14329"/>
                  </a:lnTo>
                  <a:lnTo>
                    <a:pt x="5872" y="14990"/>
                  </a:lnTo>
                  <a:lnTo>
                    <a:pt x="6332" y="15632"/>
                  </a:lnTo>
                  <a:lnTo>
                    <a:pt x="6792" y="16245"/>
                  </a:lnTo>
                  <a:lnTo>
                    <a:pt x="7232" y="16829"/>
                  </a:lnTo>
                  <a:lnTo>
                    <a:pt x="7663" y="17375"/>
                  </a:lnTo>
                  <a:lnTo>
                    <a:pt x="8085" y="17883"/>
                  </a:lnTo>
                  <a:lnTo>
                    <a:pt x="8487" y="18342"/>
                  </a:lnTo>
                  <a:lnTo>
                    <a:pt x="8861" y="18754"/>
                  </a:lnTo>
                  <a:lnTo>
                    <a:pt x="9215" y="19109"/>
                  </a:lnTo>
                  <a:lnTo>
                    <a:pt x="9378" y="19262"/>
                  </a:lnTo>
                  <a:lnTo>
                    <a:pt x="9541" y="19396"/>
                  </a:lnTo>
                  <a:lnTo>
                    <a:pt x="9684" y="19521"/>
                  </a:lnTo>
                  <a:lnTo>
                    <a:pt x="9828" y="19636"/>
                  </a:lnTo>
                  <a:lnTo>
                    <a:pt x="9962" y="19722"/>
                  </a:lnTo>
                  <a:lnTo>
                    <a:pt x="10087" y="19798"/>
                  </a:lnTo>
                  <a:lnTo>
                    <a:pt x="10201" y="19856"/>
                  </a:lnTo>
                  <a:lnTo>
                    <a:pt x="10307" y="19885"/>
                  </a:lnTo>
                  <a:lnTo>
                    <a:pt x="10403" y="19904"/>
                  </a:lnTo>
                  <a:lnTo>
                    <a:pt x="10489" y="19904"/>
                  </a:lnTo>
                  <a:lnTo>
                    <a:pt x="10585" y="19885"/>
                  </a:lnTo>
                  <a:lnTo>
                    <a:pt x="10690" y="19846"/>
                  </a:lnTo>
                  <a:lnTo>
                    <a:pt x="10939" y="19760"/>
                  </a:lnTo>
                  <a:lnTo>
                    <a:pt x="11226" y="19626"/>
                  </a:lnTo>
                  <a:lnTo>
                    <a:pt x="11542" y="19463"/>
                  </a:lnTo>
                  <a:lnTo>
                    <a:pt x="11906" y="19262"/>
                  </a:lnTo>
                  <a:lnTo>
                    <a:pt x="12289" y="19042"/>
                  </a:lnTo>
                  <a:lnTo>
                    <a:pt x="12711" y="18793"/>
                  </a:lnTo>
                  <a:lnTo>
                    <a:pt x="13142" y="18515"/>
                  </a:lnTo>
                  <a:lnTo>
                    <a:pt x="13602" y="18218"/>
                  </a:lnTo>
                  <a:lnTo>
                    <a:pt x="14081" y="17902"/>
                  </a:lnTo>
                  <a:lnTo>
                    <a:pt x="15077" y="17222"/>
                  </a:lnTo>
                  <a:lnTo>
                    <a:pt x="16092" y="16503"/>
                  </a:lnTo>
                  <a:lnTo>
                    <a:pt x="17117" y="15776"/>
                  </a:lnTo>
                  <a:lnTo>
                    <a:pt x="18123" y="15048"/>
                  </a:lnTo>
                  <a:lnTo>
                    <a:pt x="19080" y="14339"/>
                  </a:lnTo>
                  <a:lnTo>
                    <a:pt x="20737" y="13094"/>
                  </a:lnTo>
                  <a:lnTo>
                    <a:pt x="21887" y="12222"/>
                  </a:lnTo>
                  <a:lnTo>
                    <a:pt x="22318" y="11896"/>
                  </a:lnTo>
                  <a:lnTo>
                    <a:pt x="22318" y="11762"/>
                  </a:lnTo>
                  <a:lnTo>
                    <a:pt x="22308" y="11609"/>
                  </a:lnTo>
                  <a:lnTo>
                    <a:pt x="22279" y="11456"/>
                  </a:lnTo>
                  <a:lnTo>
                    <a:pt x="22241" y="11283"/>
                  </a:lnTo>
                  <a:lnTo>
                    <a:pt x="22184" y="11111"/>
                  </a:lnTo>
                  <a:lnTo>
                    <a:pt x="22126" y="10939"/>
                  </a:lnTo>
                  <a:lnTo>
                    <a:pt x="22050" y="10776"/>
                  </a:lnTo>
                  <a:lnTo>
                    <a:pt x="21973" y="10603"/>
                  </a:lnTo>
                  <a:lnTo>
                    <a:pt x="21887" y="10450"/>
                  </a:lnTo>
                  <a:lnTo>
                    <a:pt x="21791" y="10306"/>
                  </a:lnTo>
                  <a:lnTo>
                    <a:pt x="21695" y="10172"/>
                  </a:lnTo>
                  <a:lnTo>
                    <a:pt x="21599" y="10067"/>
                  </a:lnTo>
                  <a:lnTo>
                    <a:pt x="21513" y="9981"/>
                  </a:lnTo>
                  <a:lnTo>
                    <a:pt x="21417" y="9914"/>
                  </a:lnTo>
                  <a:lnTo>
                    <a:pt x="21379" y="9885"/>
                  </a:lnTo>
                  <a:lnTo>
                    <a:pt x="21331" y="9875"/>
                  </a:lnTo>
                  <a:lnTo>
                    <a:pt x="21293" y="9866"/>
                  </a:lnTo>
                  <a:lnTo>
                    <a:pt x="21255" y="9866"/>
                  </a:lnTo>
                  <a:lnTo>
                    <a:pt x="20967" y="10038"/>
                  </a:lnTo>
                  <a:lnTo>
                    <a:pt x="20201" y="10498"/>
                  </a:lnTo>
                  <a:lnTo>
                    <a:pt x="19684" y="10795"/>
                  </a:lnTo>
                  <a:lnTo>
                    <a:pt x="19090" y="11140"/>
                  </a:lnTo>
                  <a:lnTo>
                    <a:pt x="18439" y="11494"/>
                  </a:lnTo>
                  <a:lnTo>
                    <a:pt x="17749" y="11868"/>
                  </a:lnTo>
                  <a:lnTo>
                    <a:pt x="17040" y="12241"/>
                  </a:lnTo>
                  <a:lnTo>
                    <a:pt x="16322" y="12605"/>
                  </a:lnTo>
                  <a:lnTo>
                    <a:pt x="15604" y="12950"/>
                  </a:lnTo>
                  <a:lnTo>
                    <a:pt x="15259" y="13103"/>
                  </a:lnTo>
                  <a:lnTo>
                    <a:pt x="14923" y="13247"/>
                  </a:lnTo>
                  <a:lnTo>
                    <a:pt x="14598" y="13391"/>
                  </a:lnTo>
                  <a:lnTo>
                    <a:pt x="14282" y="13506"/>
                  </a:lnTo>
                  <a:lnTo>
                    <a:pt x="13975" y="13620"/>
                  </a:lnTo>
                  <a:lnTo>
                    <a:pt x="13688" y="13707"/>
                  </a:lnTo>
                  <a:lnTo>
                    <a:pt x="13420" y="13783"/>
                  </a:lnTo>
                  <a:lnTo>
                    <a:pt x="13171" y="13841"/>
                  </a:lnTo>
                  <a:lnTo>
                    <a:pt x="12950" y="13879"/>
                  </a:lnTo>
                  <a:lnTo>
                    <a:pt x="12749" y="13889"/>
                  </a:lnTo>
                  <a:lnTo>
                    <a:pt x="12730" y="13879"/>
                  </a:lnTo>
                  <a:lnTo>
                    <a:pt x="12701" y="13860"/>
                  </a:lnTo>
                  <a:lnTo>
                    <a:pt x="12615" y="13764"/>
                  </a:lnTo>
                  <a:lnTo>
                    <a:pt x="12510" y="13611"/>
                  </a:lnTo>
                  <a:lnTo>
                    <a:pt x="12376" y="13400"/>
                  </a:lnTo>
                  <a:lnTo>
                    <a:pt x="12031" y="12835"/>
                  </a:lnTo>
                  <a:lnTo>
                    <a:pt x="11619" y="12098"/>
                  </a:lnTo>
                  <a:lnTo>
                    <a:pt x="11131" y="11226"/>
                  </a:lnTo>
                  <a:lnTo>
                    <a:pt x="10604" y="10249"/>
                  </a:lnTo>
                  <a:lnTo>
                    <a:pt x="9474" y="8113"/>
                  </a:lnTo>
                  <a:lnTo>
                    <a:pt x="8353" y="5968"/>
                  </a:lnTo>
                  <a:lnTo>
                    <a:pt x="7376" y="4071"/>
                  </a:lnTo>
                  <a:lnTo>
                    <a:pt x="6667" y="2682"/>
                  </a:lnTo>
                  <a:lnTo>
                    <a:pt x="6361" y="2069"/>
                  </a:lnTo>
                  <a:lnTo>
                    <a:pt x="6284" y="1916"/>
                  </a:lnTo>
                  <a:lnTo>
                    <a:pt x="6217" y="1763"/>
                  </a:lnTo>
                  <a:lnTo>
                    <a:pt x="6131" y="1619"/>
                  </a:lnTo>
                  <a:lnTo>
                    <a:pt x="6054" y="1485"/>
                  </a:lnTo>
                  <a:lnTo>
                    <a:pt x="5968" y="1360"/>
                  </a:lnTo>
                  <a:lnTo>
                    <a:pt x="5872" y="1236"/>
                  </a:lnTo>
                  <a:lnTo>
                    <a:pt x="5776" y="1121"/>
                  </a:lnTo>
                  <a:lnTo>
                    <a:pt x="5681" y="1006"/>
                  </a:lnTo>
                  <a:lnTo>
                    <a:pt x="5585" y="901"/>
                  </a:lnTo>
                  <a:lnTo>
                    <a:pt x="5479" y="795"/>
                  </a:lnTo>
                  <a:lnTo>
                    <a:pt x="5384" y="709"/>
                  </a:lnTo>
                  <a:lnTo>
                    <a:pt x="5269" y="623"/>
                  </a:lnTo>
                  <a:lnTo>
                    <a:pt x="5163" y="537"/>
                  </a:lnTo>
                  <a:lnTo>
                    <a:pt x="5048" y="460"/>
                  </a:lnTo>
                  <a:lnTo>
                    <a:pt x="4934" y="393"/>
                  </a:lnTo>
                  <a:lnTo>
                    <a:pt x="4819" y="326"/>
                  </a:lnTo>
                  <a:lnTo>
                    <a:pt x="4704" y="269"/>
                  </a:lnTo>
                  <a:lnTo>
                    <a:pt x="4589" y="211"/>
                  </a:lnTo>
                  <a:lnTo>
                    <a:pt x="4464" y="173"/>
                  </a:lnTo>
                  <a:lnTo>
                    <a:pt x="4349" y="125"/>
                  </a:lnTo>
                  <a:lnTo>
                    <a:pt x="4225" y="96"/>
                  </a:lnTo>
                  <a:lnTo>
                    <a:pt x="4100" y="67"/>
                  </a:lnTo>
                  <a:lnTo>
                    <a:pt x="3976" y="39"/>
                  </a:lnTo>
                  <a:lnTo>
                    <a:pt x="3851" y="20"/>
                  </a:lnTo>
                  <a:lnTo>
                    <a:pt x="3602"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16"/>
            <p:cNvSpPr/>
            <p:nvPr/>
          </p:nvSpPr>
          <p:spPr>
            <a:xfrm>
              <a:off x="4068730" y="3625822"/>
              <a:ext cx="995348" cy="923917"/>
            </a:xfrm>
            <a:custGeom>
              <a:avLst/>
              <a:gdLst/>
              <a:ahLst/>
              <a:cxnLst/>
              <a:rect l="l" t="t" r="r" b="b"/>
              <a:pathLst>
                <a:path w="28036" h="26024" extrusionOk="0">
                  <a:moveTo>
                    <a:pt x="16044" y="0"/>
                  </a:moveTo>
                  <a:lnTo>
                    <a:pt x="0" y="24453"/>
                  </a:lnTo>
                  <a:lnTo>
                    <a:pt x="2213" y="26024"/>
                  </a:lnTo>
                  <a:lnTo>
                    <a:pt x="28035" y="3640"/>
                  </a:lnTo>
                  <a:lnTo>
                    <a:pt x="1604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16"/>
            <p:cNvSpPr/>
            <p:nvPr/>
          </p:nvSpPr>
          <p:spPr>
            <a:xfrm>
              <a:off x="3800446" y="2784226"/>
              <a:ext cx="646465" cy="598501"/>
            </a:xfrm>
            <a:custGeom>
              <a:avLst/>
              <a:gdLst/>
              <a:ahLst/>
              <a:cxnLst/>
              <a:rect l="l" t="t" r="r" b="b"/>
              <a:pathLst>
                <a:path w="18209" h="16858" extrusionOk="0">
                  <a:moveTo>
                    <a:pt x="3161" y="0"/>
                  </a:moveTo>
                  <a:lnTo>
                    <a:pt x="2998" y="10"/>
                  </a:lnTo>
                  <a:lnTo>
                    <a:pt x="2835" y="19"/>
                  </a:lnTo>
                  <a:lnTo>
                    <a:pt x="2672" y="39"/>
                  </a:lnTo>
                  <a:lnTo>
                    <a:pt x="2519" y="67"/>
                  </a:lnTo>
                  <a:lnTo>
                    <a:pt x="2366" y="106"/>
                  </a:lnTo>
                  <a:lnTo>
                    <a:pt x="2213" y="144"/>
                  </a:lnTo>
                  <a:lnTo>
                    <a:pt x="2069" y="192"/>
                  </a:lnTo>
                  <a:lnTo>
                    <a:pt x="1925" y="249"/>
                  </a:lnTo>
                  <a:lnTo>
                    <a:pt x="1791" y="316"/>
                  </a:lnTo>
                  <a:lnTo>
                    <a:pt x="1648" y="383"/>
                  </a:lnTo>
                  <a:lnTo>
                    <a:pt x="1514" y="460"/>
                  </a:lnTo>
                  <a:lnTo>
                    <a:pt x="1389" y="546"/>
                  </a:lnTo>
                  <a:lnTo>
                    <a:pt x="1265" y="632"/>
                  </a:lnTo>
                  <a:lnTo>
                    <a:pt x="1150" y="728"/>
                  </a:lnTo>
                  <a:lnTo>
                    <a:pt x="1035" y="824"/>
                  </a:lnTo>
                  <a:lnTo>
                    <a:pt x="920" y="929"/>
                  </a:lnTo>
                  <a:lnTo>
                    <a:pt x="814" y="1044"/>
                  </a:lnTo>
                  <a:lnTo>
                    <a:pt x="719" y="1159"/>
                  </a:lnTo>
                  <a:lnTo>
                    <a:pt x="623" y="1274"/>
                  </a:lnTo>
                  <a:lnTo>
                    <a:pt x="537" y="1399"/>
                  </a:lnTo>
                  <a:lnTo>
                    <a:pt x="450" y="1523"/>
                  </a:lnTo>
                  <a:lnTo>
                    <a:pt x="374" y="1657"/>
                  </a:lnTo>
                  <a:lnTo>
                    <a:pt x="307" y="1791"/>
                  </a:lnTo>
                  <a:lnTo>
                    <a:pt x="249" y="1935"/>
                  </a:lnTo>
                  <a:lnTo>
                    <a:pt x="192" y="2079"/>
                  </a:lnTo>
                  <a:lnTo>
                    <a:pt x="134" y="2222"/>
                  </a:lnTo>
                  <a:lnTo>
                    <a:pt x="96" y="2376"/>
                  </a:lnTo>
                  <a:lnTo>
                    <a:pt x="58" y="2529"/>
                  </a:lnTo>
                  <a:lnTo>
                    <a:pt x="29" y="2682"/>
                  </a:lnTo>
                  <a:lnTo>
                    <a:pt x="10" y="2845"/>
                  </a:lnTo>
                  <a:lnTo>
                    <a:pt x="0" y="3008"/>
                  </a:lnTo>
                  <a:lnTo>
                    <a:pt x="0" y="3161"/>
                  </a:lnTo>
                  <a:lnTo>
                    <a:pt x="0" y="13697"/>
                  </a:lnTo>
                  <a:lnTo>
                    <a:pt x="0" y="13860"/>
                  </a:lnTo>
                  <a:lnTo>
                    <a:pt x="10" y="14023"/>
                  </a:lnTo>
                  <a:lnTo>
                    <a:pt x="29" y="14176"/>
                  </a:lnTo>
                  <a:lnTo>
                    <a:pt x="58" y="14329"/>
                  </a:lnTo>
                  <a:lnTo>
                    <a:pt x="96" y="14482"/>
                  </a:lnTo>
                  <a:lnTo>
                    <a:pt x="134" y="14636"/>
                  </a:lnTo>
                  <a:lnTo>
                    <a:pt x="192" y="14779"/>
                  </a:lnTo>
                  <a:lnTo>
                    <a:pt x="249" y="14923"/>
                  </a:lnTo>
                  <a:lnTo>
                    <a:pt x="307" y="15067"/>
                  </a:lnTo>
                  <a:lnTo>
                    <a:pt x="374" y="15201"/>
                  </a:lnTo>
                  <a:lnTo>
                    <a:pt x="450" y="15335"/>
                  </a:lnTo>
                  <a:lnTo>
                    <a:pt x="537" y="15459"/>
                  </a:lnTo>
                  <a:lnTo>
                    <a:pt x="623" y="15584"/>
                  </a:lnTo>
                  <a:lnTo>
                    <a:pt x="719" y="15708"/>
                  </a:lnTo>
                  <a:lnTo>
                    <a:pt x="814" y="15823"/>
                  </a:lnTo>
                  <a:lnTo>
                    <a:pt x="920" y="15929"/>
                  </a:lnTo>
                  <a:lnTo>
                    <a:pt x="1035" y="16034"/>
                  </a:lnTo>
                  <a:lnTo>
                    <a:pt x="1150" y="16139"/>
                  </a:lnTo>
                  <a:lnTo>
                    <a:pt x="1265" y="16226"/>
                  </a:lnTo>
                  <a:lnTo>
                    <a:pt x="1389" y="16321"/>
                  </a:lnTo>
                  <a:lnTo>
                    <a:pt x="1514" y="16398"/>
                  </a:lnTo>
                  <a:lnTo>
                    <a:pt x="1648" y="16475"/>
                  </a:lnTo>
                  <a:lnTo>
                    <a:pt x="1791" y="16542"/>
                  </a:lnTo>
                  <a:lnTo>
                    <a:pt x="1925" y="16609"/>
                  </a:lnTo>
                  <a:lnTo>
                    <a:pt x="2069" y="16666"/>
                  </a:lnTo>
                  <a:lnTo>
                    <a:pt x="2213" y="16714"/>
                  </a:lnTo>
                  <a:lnTo>
                    <a:pt x="2366" y="16762"/>
                  </a:lnTo>
                  <a:lnTo>
                    <a:pt x="2519" y="16791"/>
                  </a:lnTo>
                  <a:lnTo>
                    <a:pt x="2672" y="16819"/>
                  </a:lnTo>
                  <a:lnTo>
                    <a:pt x="2835" y="16839"/>
                  </a:lnTo>
                  <a:lnTo>
                    <a:pt x="2998" y="16848"/>
                  </a:lnTo>
                  <a:lnTo>
                    <a:pt x="3161" y="16858"/>
                  </a:lnTo>
                  <a:lnTo>
                    <a:pt x="15047" y="16858"/>
                  </a:lnTo>
                  <a:lnTo>
                    <a:pt x="15210" y="16848"/>
                  </a:lnTo>
                  <a:lnTo>
                    <a:pt x="15373" y="16839"/>
                  </a:lnTo>
                  <a:lnTo>
                    <a:pt x="15526" y="16819"/>
                  </a:lnTo>
                  <a:lnTo>
                    <a:pt x="15689" y="16791"/>
                  </a:lnTo>
                  <a:lnTo>
                    <a:pt x="15842" y="16762"/>
                  </a:lnTo>
                  <a:lnTo>
                    <a:pt x="15986" y="16714"/>
                  </a:lnTo>
                  <a:lnTo>
                    <a:pt x="16139" y="16666"/>
                  </a:lnTo>
                  <a:lnTo>
                    <a:pt x="16283" y="16609"/>
                  </a:lnTo>
                  <a:lnTo>
                    <a:pt x="16417" y="16542"/>
                  </a:lnTo>
                  <a:lnTo>
                    <a:pt x="16551" y="16475"/>
                  </a:lnTo>
                  <a:lnTo>
                    <a:pt x="16685" y="16398"/>
                  </a:lnTo>
                  <a:lnTo>
                    <a:pt x="16819" y="16321"/>
                  </a:lnTo>
                  <a:lnTo>
                    <a:pt x="16944" y="16226"/>
                  </a:lnTo>
                  <a:lnTo>
                    <a:pt x="17059" y="16139"/>
                  </a:lnTo>
                  <a:lnTo>
                    <a:pt x="17174" y="16034"/>
                  </a:lnTo>
                  <a:lnTo>
                    <a:pt x="17289" y="15929"/>
                  </a:lnTo>
                  <a:lnTo>
                    <a:pt x="17384" y="15823"/>
                  </a:lnTo>
                  <a:lnTo>
                    <a:pt x="17490" y="15708"/>
                  </a:lnTo>
                  <a:lnTo>
                    <a:pt x="17586" y="15584"/>
                  </a:lnTo>
                  <a:lnTo>
                    <a:pt x="17672" y="15459"/>
                  </a:lnTo>
                  <a:lnTo>
                    <a:pt x="17748" y="15335"/>
                  </a:lnTo>
                  <a:lnTo>
                    <a:pt x="17825" y="15201"/>
                  </a:lnTo>
                  <a:lnTo>
                    <a:pt x="17902" y="15067"/>
                  </a:lnTo>
                  <a:lnTo>
                    <a:pt x="17959" y="14923"/>
                  </a:lnTo>
                  <a:lnTo>
                    <a:pt x="18017" y="14779"/>
                  </a:lnTo>
                  <a:lnTo>
                    <a:pt x="18064" y="14636"/>
                  </a:lnTo>
                  <a:lnTo>
                    <a:pt x="18112" y="14482"/>
                  </a:lnTo>
                  <a:lnTo>
                    <a:pt x="18151" y="14329"/>
                  </a:lnTo>
                  <a:lnTo>
                    <a:pt x="18170" y="14176"/>
                  </a:lnTo>
                  <a:lnTo>
                    <a:pt x="18199" y="14023"/>
                  </a:lnTo>
                  <a:lnTo>
                    <a:pt x="18208" y="13860"/>
                  </a:lnTo>
                  <a:lnTo>
                    <a:pt x="18208" y="13697"/>
                  </a:lnTo>
                  <a:lnTo>
                    <a:pt x="18208" y="3161"/>
                  </a:lnTo>
                  <a:lnTo>
                    <a:pt x="18208" y="3008"/>
                  </a:lnTo>
                  <a:lnTo>
                    <a:pt x="18199" y="2845"/>
                  </a:lnTo>
                  <a:lnTo>
                    <a:pt x="18170" y="2682"/>
                  </a:lnTo>
                  <a:lnTo>
                    <a:pt x="18151" y="2529"/>
                  </a:lnTo>
                  <a:lnTo>
                    <a:pt x="18112" y="2376"/>
                  </a:lnTo>
                  <a:lnTo>
                    <a:pt x="18064" y="2222"/>
                  </a:lnTo>
                  <a:lnTo>
                    <a:pt x="18017" y="2079"/>
                  </a:lnTo>
                  <a:lnTo>
                    <a:pt x="17959" y="1935"/>
                  </a:lnTo>
                  <a:lnTo>
                    <a:pt x="17902" y="1791"/>
                  </a:lnTo>
                  <a:lnTo>
                    <a:pt x="17825" y="1657"/>
                  </a:lnTo>
                  <a:lnTo>
                    <a:pt x="17748" y="1523"/>
                  </a:lnTo>
                  <a:lnTo>
                    <a:pt x="17672" y="1399"/>
                  </a:lnTo>
                  <a:lnTo>
                    <a:pt x="17586" y="1274"/>
                  </a:lnTo>
                  <a:lnTo>
                    <a:pt x="17490" y="1159"/>
                  </a:lnTo>
                  <a:lnTo>
                    <a:pt x="17384" y="1044"/>
                  </a:lnTo>
                  <a:lnTo>
                    <a:pt x="17289" y="929"/>
                  </a:lnTo>
                  <a:lnTo>
                    <a:pt x="17174" y="824"/>
                  </a:lnTo>
                  <a:lnTo>
                    <a:pt x="17059" y="728"/>
                  </a:lnTo>
                  <a:lnTo>
                    <a:pt x="16944" y="632"/>
                  </a:lnTo>
                  <a:lnTo>
                    <a:pt x="16819" y="546"/>
                  </a:lnTo>
                  <a:lnTo>
                    <a:pt x="16685" y="460"/>
                  </a:lnTo>
                  <a:lnTo>
                    <a:pt x="16551" y="383"/>
                  </a:lnTo>
                  <a:lnTo>
                    <a:pt x="16417" y="316"/>
                  </a:lnTo>
                  <a:lnTo>
                    <a:pt x="16283" y="249"/>
                  </a:lnTo>
                  <a:lnTo>
                    <a:pt x="16139" y="192"/>
                  </a:lnTo>
                  <a:lnTo>
                    <a:pt x="15986" y="144"/>
                  </a:lnTo>
                  <a:lnTo>
                    <a:pt x="15842" y="106"/>
                  </a:lnTo>
                  <a:lnTo>
                    <a:pt x="15689" y="67"/>
                  </a:lnTo>
                  <a:lnTo>
                    <a:pt x="15526" y="39"/>
                  </a:lnTo>
                  <a:lnTo>
                    <a:pt x="15373" y="19"/>
                  </a:lnTo>
                  <a:lnTo>
                    <a:pt x="15210" y="10"/>
                  </a:lnTo>
                  <a:lnTo>
                    <a:pt x="15047" y="0"/>
                  </a:lnTo>
                  <a:close/>
                </a:path>
              </a:pathLst>
            </a:custGeom>
            <a:solidFill>
              <a:srgbClr val="FFC0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16"/>
            <p:cNvSpPr/>
            <p:nvPr/>
          </p:nvSpPr>
          <p:spPr>
            <a:xfrm>
              <a:off x="3800446" y="2855300"/>
              <a:ext cx="646465" cy="598182"/>
            </a:xfrm>
            <a:custGeom>
              <a:avLst/>
              <a:gdLst/>
              <a:ahLst/>
              <a:cxnLst/>
              <a:rect l="l" t="t" r="r" b="b"/>
              <a:pathLst>
                <a:path w="18209" h="16849" extrusionOk="0">
                  <a:moveTo>
                    <a:pt x="2998" y="0"/>
                  </a:moveTo>
                  <a:lnTo>
                    <a:pt x="2835" y="10"/>
                  </a:lnTo>
                  <a:lnTo>
                    <a:pt x="2672" y="29"/>
                  </a:lnTo>
                  <a:lnTo>
                    <a:pt x="2519" y="58"/>
                  </a:lnTo>
                  <a:lnTo>
                    <a:pt x="2366" y="96"/>
                  </a:lnTo>
                  <a:lnTo>
                    <a:pt x="2213" y="134"/>
                  </a:lnTo>
                  <a:lnTo>
                    <a:pt x="2069" y="192"/>
                  </a:lnTo>
                  <a:lnTo>
                    <a:pt x="1925" y="249"/>
                  </a:lnTo>
                  <a:lnTo>
                    <a:pt x="1791" y="307"/>
                  </a:lnTo>
                  <a:lnTo>
                    <a:pt x="1648" y="374"/>
                  </a:lnTo>
                  <a:lnTo>
                    <a:pt x="1514" y="450"/>
                  </a:lnTo>
                  <a:lnTo>
                    <a:pt x="1389" y="537"/>
                  </a:lnTo>
                  <a:lnTo>
                    <a:pt x="1265" y="623"/>
                  </a:lnTo>
                  <a:lnTo>
                    <a:pt x="1150" y="719"/>
                  </a:lnTo>
                  <a:lnTo>
                    <a:pt x="1035" y="814"/>
                  </a:lnTo>
                  <a:lnTo>
                    <a:pt x="920" y="920"/>
                  </a:lnTo>
                  <a:lnTo>
                    <a:pt x="814" y="1035"/>
                  </a:lnTo>
                  <a:lnTo>
                    <a:pt x="719" y="1150"/>
                  </a:lnTo>
                  <a:lnTo>
                    <a:pt x="623" y="1264"/>
                  </a:lnTo>
                  <a:lnTo>
                    <a:pt x="537" y="1389"/>
                  </a:lnTo>
                  <a:lnTo>
                    <a:pt x="450" y="1523"/>
                  </a:lnTo>
                  <a:lnTo>
                    <a:pt x="374" y="1648"/>
                  </a:lnTo>
                  <a:lnTo>
                    <a:pt x="307" y="1791"/>
                  </a:lnTo>
                  <a:lnTo>
                    <a:pt x="249" y="1925"/>
                  </a:lnTo>
                  <a:lnTo>
                    <a:pt x="192" y="2069"/>
                  </a:lnTo>
                  <a:lnTo>
                    <a:pt x="134" y="2222"/>
                  </a:lnTo>
                  <a:lnTo>
                    <a:pt x="96" y="2366"/>
                  </a:lnTo>
                  <a:lnTo>
                    <a:pt x="58" y="2519"/>
                  </a:lnTo>
                  <a:lnTo>
                    <a:pt x="29" y="2672"/>
                  </a:lnTo>
                  <a:lnTo>
                    <a:pt x="10" y="2835"/>
                  </a:lnTo>
                  <a:lnTo>
                    <a:pt x="0" y="2998"/>
                  </a:lnTo>
                  <a:lnTo>
                    <a:pt x="0" y="3161"/>
                  </a:lnTo>
                  <a:lnTo>
                    <a:pt x="0" y="13687"/>
                  </a:lnTo>
                  <a:lnTo>
                    <a:pt x="0" y="13850"/>
                  </a:lnTo>
                  <a:lnTo>
                    <a:pt x="10" y="14013"/>
                  </a:lnTo>
                  <a:lnTo>
                    <a:pt x="29" y="14166"/>
                  </a:lnTo>
                  <a:lnTo>
                    <a:pt x="58" y="14329"/>
                  </a:lnTo>
                  <a:lnTo>
                    <a:pt x="96" y="14482"/>
                  </a:lnTo>
                  <a:lnTo>
                    <a:pt x="134" y="14626"/>
                  </a:lnTo>
                  <a:lnTo>
                    <a:pt x="192" y="14779"/>
                  </a:lnTo>
                  <a:lnTo>
                    <a:pt x="249" y="14923"/>
                  </a:lnTo>
                  <a:lnTo>
                    <a:pt x="307" y="15057"/>
                  </a:lnTo>
                  <a:lnTo>
                    <a:pt x="374" y="15191"/>
                  </a:lnTo>
                  <a:lnTo>
                    <a:pt x="450" y="15325"/>
                  </a:lnTo>
                  <a:lnTo>
                    <a:pt x="537" y="15459"/>
                  </a:lnTo>
                  <a:lnTo>
                    <a:pt x="623" y="15584"/>
                  </a:lnTo>
                  <a:lnTo>
                    <a:pt x="719" y="15699"/>
                  </a:lnTo>
                  <a:lnTo>
                    <a:pt x="814" y="15814"/>
                  </a:lnTo>
                  <a:lnTo>
                    <a:pt x="920" y="15919"/>
                  </a:lnTo>
                  <a:lnTo>
                    <a:pt x="1035" y="16024"/>
                  </a:lnTo>
                  <a:lnTo>
                    <a:pt x="1150" y="16130"/>
                  </a:lnTo>
                  <a:lnTo>
                    <a:pt x="1265" y="16225"/>
                  </a:lnTo>
                  <a:lnTo>
                    <a:pt x="1389" y="16312"/>
                  </a:lnTo>
                  <a:lnTo>
                    <a:pt x="1514" y="16388"/>
                  </a:lnTo>
                  <a:lnTo>
                    <a:pt x="1648" y="16465"/>
                  </a:lnTo>
                  <a:lnTo>
                    <a:pt x="1791" y="16542"/>
                  </a:lnTo>
                  <a:lnTo>
                    <a:pt x="1925" y="16599"/>
                  </a:lnTo>
                  <a:lnTo>
                    <a:pt x="2069" y="16656"/>
                  </a:lnTo>
                  <a:lnTo>
                    <a:pt x="2213" y="16704"/>
                  </a:lnTo>
                  <a:lnTo>
                    <a:pt x="2366" y="16752"/>
                  </a:lnTo>
                  <a:lnTo>
                    <a:pt x="2519" y="16781"/>
                  </a:lnTo>
                  <a:lnTo>
                    <a:pt x="2672" y="16810"/>
                  </a:lnTo>
                  <a:lnTo>
                    <a:pt x="2835" y="16829"/>
                  </a:lnTo>
                  <a:lnTo>
                    <a:pt x="2998" y="16848"/>
                  </a:lnTo>
                  <a:lnTo>
                    <a:pt x="15210" y="16848"/>
                  </a:lnTo>
                  <a:lnTo>
                    <a:pt x="15373" y="16829"/>
                  </a:lnTo>
                  <a:lnTo>
                    <a:pt x="15526" y="16810"/>
                  </a:lnTo>
                  <a:lnTo>
                    <a:pt x="15689" y="16781"/>
                  </a:lnTo>
                  <a:lnTo>
                    <a:pt x="15842" y="16752"/>
                  </a:lnTo>
                  <a:lnTo>
                    <a:pt x="15986" y="16704"/>
                  </a:lnTo>
                  <a:lnTo>
                    <a:pt x="16139" y="16656"/>
                  </a:lnTo>
                  <a:lnTo>
                    <a:pt x="16283" y="16599"/>
                  </a:lnTo>
                  <a:lnTo>
                    <a:pt x="16417" y="16542"/>
                  </a:lnTo>
                  <a:lnTo>
                    <a:pt x="16551" y="16465"/>
                  </a:lnTo>
                  <a:lnTo>
                    <a:pt x="16685" y="16388"/>
                  </a:lnTo>
                  <a:lnTo>
                    <a:pt x="16819" y="16312"/>
                  </a:lnTo>
                  <a:lnTo>
                    <a:pt x="16944" y="16225"/>
                  </a:lnTo>
                  <a:lnTo>
                    <a:pt x="17059" y="16130"/>
                  </a:lnTo>
                  <a:lnTo>
                    <a:pt x="17174" y="16024"/>
                  </a:lnTo>
                  <a:lnTo>
                    <a:pt x="17289" y="15919"/>
                  </a:lnTo>
                  <a:lnTo>
                    <a:pt x="17384" y="15814"/>
                  </a:lnTo>
                  <a:lnTo>
                    <a:pt x="17490" y="15699"/>
                  </a:lnTo>
                  <a:lnTo>
                    <a:pt x="17586" y="15584"/>
                  </a:lnTo>
                  <a:lnTo>
                    <a:pt x="17672" y="15459"/>
                  </a:lnTo>
                  <a:lnTo>
                    <a:pt x="17748" y="15325"/>
                  </a:lnTo>
                  <a:lnTo>
                    <a:pt x="17825" y="15191"/>
                  </a:lnTo>
                  <a:lnTo>
                    <a:pt x="17902" y="15057"/>
                  </a:lnTo>
                  <a:lnTo>
                    <a:pt x="17959" y="14923"/>
                  </a:lnTo>
                  <a:lnTo>
                    <a:pt x="18017" y="14779"/>
                  </a:lnTo>
                  <a:lnTo>
                    <a:pt x="18064" y="14626"/>
                  </a:lnTo>
                  <a:lnTo>
                    <a:pt x="18112" y="14482"/>
                  </a:lnTo>
                  <a:lnTo>
                    <a:pt x="18151" y="14329"/>
                  </a:lnTo>
                  <a:lnTo>
                    <a:pt x="18170" y="14166"/>
                  </a:lnTo>
                  <a:lnTo>
                    <a:pt x="18199" y="14013"/>
                  </a:lnTo>
                  <a:lnTo>
                    <a:pt x="18208" y="13850"/>
                  </a:lnTo>
                  <a:lnTo>
                    <a:pt x="18208" y="13687"/>
                  </a:lnTo>
                  <a:lnTo>
                    <a:pt x="18208" y="3161"/>
                  </a:lnTo>
                  <a:lnTo>
                    <a:pt x="18208" y="2998"/>
                  </a:lnTo>
                  <a:lnTo>
                    <a:pt x="18199" y="2835"/>
                  </a:lnTo>
                  <a:lnTo>
                    <a:pt x="18170" y="2672"/>
                  </a:lnTo>
                  <a:lnTo>
                    <a:pt x="18151" y="2519"/>
                  </a:lnTo>
                  <a:lnTo>
                    <a:pt x="18112" y="2366"/>
                  </a:lnTo>
                  <a:lnTo>
                    <a:pt x="18064" y="2222"/>
                  </a:lnTo>
                  <a:lnTo>
                    <a:pt x="18017" y="2069"/>
                  </a:lnTo>
                  <a:lnTo>
                    <a:pt x="17959" y="1925"/>
                  </a:lnTo>
                  <a:lnTo>
                    <a:pt x="17902" y="1791"/>
                  </a:lnTo>
                  <a:lnTo>
                    <a:pt x="17825" y="1648"/>
                  </a:lnTo>
                  <a:lnTo>
                    <a:pt x="17748" y="1523"/>
                  </a:lnTo>
                  <a:lnTo>
                    <a:pt x="17672" y="1389"/>
                  </a:lnTo>
                  <a:lnTo>
                    <a:pt x="17586" y="1264"/>
                  </a:lnTo>
                  <a:lnTo>
                    <a:pt x="17490" y="1150"/>
                  </a:lnTo>
                  <a:lnTo>
                    <a:pt x="17384" y="1035"/>
                  </a:lnTo>
                  <a:lnTo>
                    <a:pt x="17289" y="920"/>
                  </a:lnTo>
                  <a:lnTo>
                    <a:pt x="17174" y="814"/>
                  </a:lnTo>
                  <a:lnTo>
                    <a:pt x="17059" y="719"/>
                  </a:lnTo>
                  <a:lnTo>
                    <a:pt x="16944" y="623"/>
                  </a:lnTo>
                  <a:lnTo>
                    <a:pt x="16819" y="537"/>
                  </a:lnTo>
                  <a:lnTo>
                    <a:pt x="16685" y="450"/>
                  </a:lnTo>
                  <a:lnTo>
                    <a:pt x="16551" y="374"/>
                  </a:lnTo>
                  <a:lnTo>
                    <a:pt x="16417" y="307"/>
                  </a:lnTo>
                  <a:lnTo>
                    <a:pt x="16283" y="249"/>
                  </a:lnTo>
                  <a:lnTo>
                    <a:pt x="16139" y="192"/>
                  </a:lnTo>
                  <a:lnTo>
                    <a:pt x="15986" y="134"/>
                  </a:lnTo>
                  <a:lnTo>
                    <a:pt x="15842" y="96"/>
                  </a:lnTo>
                  <a:lnTo>
                    <a:pt x="15689" y="58"/>
                  </a:lnTo>
                  <a:lnTo>
                    <a:pt x="15526" y="29"/>
                  </a:lnTo>
                  <a:lnTo>
                    <a:pt x="15373" y="10"/>
                  </a:lnTo>
                  <a:lnTo>
                    <a:pt x="1521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16"/>
            <p:cNvSpPr/>
            <p:nvPr/>
          </p:nvSpPr>
          <p:spPr>
            <a:xfrm>
              <a:off x="3719503" y="3788348"/>
              <a:ext cx="801540" cy="53076"/>
            </a:xfrm>
            <a:custGeom>
              <a:avLst/>
              <a:gdLst/>
              <a:ahLst/>
              <a:cxnLst/>
              <a:rect l="l" t="t" r="r" b="b"/>
              <a:pathLst>
                <a:path w="22577" h="1495" extrusionOk="0">
                  <a:moveTo>
                    <a:pt x="1" y="0"/>
                  </a:moveTo>
                  <a:lnTo>
                    <a:pt x="1" y="364"/>
                  </a:lnTo>
                  <a:lnTo>
                    <a:pt x="10" y="479"/>
                  </a:lnTo>
                  <a:lnTo>
                    <a:pt x="29" y="594"/>
                  </a:lnTo>
                  <a:lnTo>
                    <a:pt x="49" y="700"/>
                  </a:lnTo>
                  <a:lnTo>
                    <a:pt x="87" y="805"/>
                  </a:lnTo>
                  <a:lnTo>
                    <a:pt x="135" y="901"/>
                  </a:lnTo>
                  <a:lnTo>
                    <a:pt x="192" y="997"/>
                  </a:lnTo>
                  <a:lnTo>
                    <a:pt x="259" y="1083"/>
                  </a:lnTo>
                  <a:lnTo>
                    <a:pt x="336" y="1159"/>
                  </a:lnTo>
                  <a:lnTo>
                    <a:pt x="412" y="1236"/>
                  </a:lnTo>
                  <a:lnTo>
                    <a:pt x="499" y="1303"/>
                  </a:lnTo>
                  <a:lnTo>
                    <a:pt x="594" y="1361"/>
                  </a:lnTo>
                  <a:lnTo>
                    <a:pt x="690" y="1399"/>
                  </a:lnTo>
                  <a:lnTo>
                    <a:pt x="796" y="1437"/>
                  </a:lnTo>
                  <a:lnTo>
                    <a:pt x="901" y="1466"/>
                  </a:lnTo>
                  <a:lnTo>
                    <a:pt x="1016" y="1485"/>
                  </a:lnTo>
                  <a:lnTo>
                    <a:pt x="1131" y="1495"/>
                  </a:lnTo>
                  <a:lnTo>
                    <a:pt x="21446" y="1495"/>
                  </a:lnTo>
                  <a:lnTo>
                    <a:pt x="21561" y="1485"/>
                  </a:lnTo>
                  <a:lnTo>
                    <a:pt x="21676" y="1466"/>
                  </a:lnTo>
                  <a:lnTo>
                    <a:pt x="21781" y="1437"/>
                  </a:lnTo>
                  <a:lnTo>
                    <a:pt x="21887" y="1399"/>
                  </a:lnTo>
                  <a:lnTo>
                    <a:pt x="21982" y="1361"/>
                  </a:lnTo>
                  <a:lnTo>
                    <a:pt x="22078" y="1303"/>
                  </a:lnTo>
                  <a:lnTo>
                    <a:pt x="22164" y="1236"/>
                  </a:lnTo>
                  <a:lnTo>
                    <a:pt x="22241" y="1159"/>
                  </a:lnTo>
                  <a:lnTo>
                    <a:pt x="22318" y="1083"/>
                  </a:lnTo>
                  <a:lnTo>
                    <a:pt x="22375" y="997"/>
                  </a:lnTo>
                  <a:lnTo>
                    <a:pt x="22433" y="901"/>
                  </a:lnTo>
                  <a:lnTo>
                    <a:pt x="22480" y="805"/>
                  </a:lnTo>
                  <a:lnTo>
                    <a:pt x="22519" y="700"/>
                  </a:lnTo>
                  <a:lnTo>
                    <a:pt x="22547" y="594"/>
                  </a:lnTo>
                  <a:lnTo>
                    <a:pt x="22567" y="479"/>
                  </a:lnTo>
                  <a:lnTo>
                    <a:pt x="22576" y="364"/>
                  </a:lnTo>
                  <a:lnTo>
                    <a:pt x="22576"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5" name="Google Shape;285;p16"/>
            <p:cNvSpPr/>
            <p:nvPr/>
          </p:nvSpPr>
          <p:spPr>
            <a:xfrm>
              <a:off x="4092516" y="3810110"/>
              <a:ext cx="57514" cy="833492"/>
            </a:xfrm>
            <a:custGeom>
              <a:avLst/>
              <a:gdLst/>
              <a:ahLst/>
              <a:cxnLst/>
              <a:rect l="l" t="t" r="r" b="b"/>
              <a:pathLst>
                <a:path w="1620" h="23477" extrusionOk="0">
                  <a:moveTo>
                    <a:pt x="1" y="0"/>
                  </a:moveTo>
                  <a:lnTo>
                    <a:pt x="1" y="23476"/>
                  </a:lnTo>
                  <a:lnTo>
                    <a:pt x="1619" y="23476"/>
                  </a:lnTo>
                  <a:lnTo>
                    <a:pt x="1619" y="0"/>
                  </a:lnTo>
                  <a:close/>
                </a:path>
              </a:pathLst>
            </a:cu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6" name="Google Shape;286;p16"/>
            <p:cNvSpPr/>
            <p:nvPr/>
          </p:nvSpPr>
          <p:spPr>
            <a:xfrm>
              <a:off x="3850077" y="4555143"/>
              <a:ext cx="547520" cy="147264"/>
            </a:xfrm>
            <a:custGeom>
              <a:avLst/>
              <a:gdLst/>
              <a:ahLst/>
              <a:cxnLst/>
              <a:rect l="l" t="t" r="r" b="b"/>
              <a:pathLst>
                <a:path w="15422" h="4148" extrusionOk="0">
                  <a:moveTo>
                    <a:pt x="3937" y="0"/>
                  </a:moveTo>
                  <a:lnTo>
                    <a:pt x="3726" y="19"/>
                  </a:lnTo>
                  <a:lnTo>
                    <a:pt x="3516" y="48"/>
                  </a:lnTo>
                  <a:lnTo>
                    <a:pt x="3315" y="77"/>
                  </a:lnTo>
                  <a:lnTo>
                    <a:pt x="3113" y="125"/>
                  </a:lnTo>
                  <a:lnTo>
                    <a:pt x="2912" y="182"/>
                  </a:lnTo>
                  <a:lnTo>
                    <a:pt x="2721" y="249"/>
                  </a:lnTo>
                  <a:lnTo>
                    <a:pt x="2539" y="326"/>
                  </a:lnTo>
                  <a:lnTo>
                    <a:pt x="2347" y="402"/>
                  </a:lnTo>
                  <a:lnTo>
                    <a:pt x="2175" y="498"/>
                  </a:lnTo>
                  <a:lnTo>
                    <a:pt x="2002" y="594"/>
                  </a:lnTo>
                  <a:lnTo>
                    <a:pt x="1830" y="709"/>
                  </a:lnTo>
                  <a:lnTo>
                    <a:pt x="1667" y="824"/>
                  </a:lnTo>
                  <a:lnTo>
                    <a:pt x="1514" y="948"/>
                  </a:lnTo>
                  <a:lnTo>
                    <a:pt x="1361" y="1073"/>
                  </a:lnTo>
                  <a:lnTo>
                    <a:pt x="1217" y="1217"/>
                  </a:lnTo>
                  <a:lnTo>
                    <a:pt x="1073" y="1360"/>
                  </a:lnTo>
                  <a:lnTo>
                    <a:pt x="949" y="1513"/>
                  </a:lnTo>
                  <a:lnTo>
                    <a:pt x="824" y="1667"/>
                  </a:lnTo>
                  <a:lnTo>
                    <a:pt x="709" y="1830"/>
                  </a:lnTo>
                  <a:lnTo>
                    <a:pt x="594" y="2002"/>
                  </a:lnTo>
                  <a:lnTo>
                    <a:pt x="499" y="2174"/>
                  </a:lnTo>
                  <a:lnTo>
                    <a:pt x="403" y="2347"/>
                  </a:lnTo>
                  <a:lnTo>
                    <a:pt x="326" y="2538"/>
                  </a:lnTo>
                  <a:lnTo>
                    <a:pt x="250" y="2720"/>
                  </a:lnTo>
                  <a:lnTo>
                    <a:pt x="183" y="2912"/>
                  </a:lnTo>
                  <a:lnTo>
                    <a:pt x="125" y="3113"/>
                  </a:lnTo>
                  <a:lnTo>
                    <a:pt x="77" y="3314"/>
                  </a:lnTo>
                  <a:lnTo>
                    <a:pt x="48" y="3515"/>
                  </a:lnTo>
                  <a:lnTo>
                    <a:pt x="20" y="3726"/>
                  </a:lnTo>
                  <a:lnTo>
                    <a:pt x="1" y="3937"/>
                  </a:lnTo>
                  <a:lnTo>
                    <a:pt x="1" y="4147"/>
                  </a:lnTo>
                  <a:lnTo>
                    <a:pt x="1274" y="4147"/>
                  </a:lnTo>
                  <a:lnTo>
                    <a:pt x="1274" y="4004"/>
                  </a:lnTo>
                  <a:lnTo>
                    <a:pt x="1284" y="3860"/>
                  </a:lnTo>
                  <a:lnTo>
                    <a:pt x="1303" y="3707"/>
                  </a:lnTo>
                  <a:lnTo>
                    <a:pt x="1332" y="3573"/>
                  </a:lnTo>
                  <a:lnTo>
                    <a:pt x="1361" y="3429"/>
                  </a:lnTo>
                  <a:lnTo>
                    <a:pt x="1399" y="3295"/>
                  </a:lnTo>
                  <a:lnTo>
                    <a:pt x="1447" y="3161"/>
                  </a:lnTo>
                  <a:lnTo>
                    <a:pt x="1504" y="3027"/>
                  </a:lnTo>
                  <a:lnTo>
                    <a:pt x="1562" y="2902"/>
                  </a:lnTo>
                  <a:lnTo>
                    <a:pt x="1619" y="2778"/>
                  </a:lnTo>
                  <a:lnTo>
                    <a:pt x="1686" y="2663"/>
                  </a:lnTo>
                  <a:lnTo>
                    <a:pt x="1763" y="2538"/>
                  </a:lnTo>
                  <a:lnTo>
                    <a:pt x="1849" y="2433"/>
                  </a:lnTo>
                  <a:lnTo>
                    <a:pt x="1935" y="2318"/>
                  </a:lnTo>
                  <a:lnTo>
                    <a:pt x="2022" y="2213"/>
                  </a:lnTo>
                  <a:lnTo>
                    <a:pt x="2117" y="2117"/>
                  </a:lnTo>
                  <a:lnTo>
                    <a:pt x="2213" y="2021"/>
                  </a:lnTo>
                  <a:lnTo>
                    <a:pt x="2318" y="1935"/>
                  </a:lnTo>
                  <a:lnTo>
                    <a:pt x="2433" y="1849"/>
                  </a:lnTo>
                  <a:lnTo>
                    <a:pt x="2539" y="1763"/>
                  </a:lnTo>
                  <a:lnTo>
                    <a:pt x="2663" y="1686"/>
                  </a:lnTo>
                  <a:lnTo>
                    <a:pt x="2778" y="1619"/>
                  </a:lnTo>
                  <a:lnTo>
                    <a:pt x="2903" y="1561"/>
                  </a:lnTo>
                  <a:lnTo>
                    <a:pt x="3027" y="1504"/>
                  </a:lnTo>
                  <a:lnTo>
                    <a:pt x="3161" y="1446"/>
                  </a:lnTo>
                  <a:lnTo>
                    <a:pt x="3295" y="1399"/>
                  </a:lnTo>
                  <a:lnTo>
                    <a:pt x="3430" y="1360"/>
                  </a:lnTo>
                  <a:lnTo>
                    <a:pt x="3573" y="1331"/>
                  </a:lnTo>
                  <a:lnTo>
                    <a:pt x="3707" y="1303"/>
                  </a:lnTo>
                  <a:lnTo>
                    <a:pt x="3851" y="1284"/>
                  </a:lnTo>
                  <a:lnTo>
                    <a:pt x="4004" y="1274"/>
                  </a:lnTo>
                  <a:lnTo>
                    <a:pt x="11418" y="1274"/>
                  </a:lnTo>
                  <a:lnTo>
                    <a:pt x="11561" y="1284"/>
                  </a:lnTo>
                  <a:lnTo>
                    <a:pt x="11705" y="1303"/>
                  </a:lnTo>
                  <a:lnTo>
                    <a:pt x="11849" y="1331"/>
                  </a:lnTo>
                  <a:lnTo>
                    <a:pt x="11992" y="1360"/>
                  </a:lnTo>
                  <a:lnTo>
                    <a:pt x="12126" y="1399"/>
                  </a:lnTo>
                  <a:lnTo>
                    <a:pt x="12261" y="1446"/>
                  </a:lnTo>
                  <a:lnTo>
                    <a:pt x="12395" y="1504"/>
                  </a:lnTo>
                  <a:lnTo>
                    <a:pt x="12519" y="1561"/>
                  </a:lnTo>
                  <a:lnTo>
                    <a:pt x="12644" y="1619"/>
                  </a:lnTo>
                  <a:lnTo>
                    <a:pt x="12759" y="1686"/>
                  </a:lnTo>
                  <a:lnTo>
                    <a:pt x="12883" y="1763"/>
                  </a:lnTo>
                  <a:lnTo>
                    <a:pt x="12988" y="1849"/>
                  </a:lnTo>
                  <a:lnTo>
                    <a:pt x="13103" y="1935"/>
                  </a:lnTo>
                  <a:lnTo>
                    <a:pt x="13209" y="2021"/>
                  </a:lnTo>
                  <a:lnTo>
                    <a:pt x="13305" y="2117"/>
                  </a:lnTo>
                  <a:lnTo>
                    <a:pt x="13400" y="2213"/>
                  </a:lnTo>
                  <a:lnTo>
                    <a:pt x="13487" y="2318"/>
                  </a:lnTo>
                  <a:lnTo>
                    <a:pt x="13573" y="2433"/>
                  </a:lnTo>
                  <a:lnTo>
                    <a:pt x="13659" y="2538"/>
                  </a:lnTo>
                  <a:lnTo>
                    <a:pt x="13726" y="2663"/>
                  </a:lnTo>
                  <a:lnTo>
                    <a:pt x="13803" y="2778"/>
                  </a:lnTo>
                  <a:lnTo>
                    <a:pt x="13860" y="2902"/>
                  </a:lnTo>
                  <a:lnTo>
                    <a:pt x="13918" y="3027"/>
                  </a:lnTo>
                  <a:lnTo>
                    <a:pt x="13975" y="3161"/>
                  </a:lnTo>
                  <a:lnTo>
                    <a:pt x="14013" y="3295"/>
                  </a:lnTo>
                  <a:lnTo>
                    <a:pt x="14061" y="3429"/>
                  </a:lnTo>
                  <a:lnTo>
                    <a:pt x="14090" y="3573"/>
                  </a:lnTo>
                  <a:lnTo>
                    <a:pt x="14119" y="3707"/>
                  </a:lnTo>
                  <a:lnTo>
                    <a:pt x="14128" y="3860"/>
                  </a:lnTo>
                  <a:lnTo>
                    <a:pt x="14147" y="4004"/>
                  </a:lnTo>
                  <a:lnTo>
                    <a:pt x="14147" y="4147"/>
                  </a:lnTo>
                  <a:lnTo>
                    <a:pt x="15421" y="4147"/>
                  </a:lnTo>
                  <a:lnTo>
                    <a:pt x="15421" y="3937"/>
                  </a:lnTo>
                  <a:lnTo>
                    <a:pt x="15402" y="3726"/>
                  </a:lnTo>
                  <a:lnTo>
                    <a:pt x="15373" y="3515"/>
                  </a:lnTo>
                  <a:lnTo>
                    <a:pt x="15335" y="3314"/>
                  </a:lnTo>
                  <a:lnTo>
                    <a:pt x="15297" y="3113"/>
                  </a:lnTo>
                  <a:lnTo>
                    <a:pt x="15239" y="2912"/>
                  </a:lnTo>
                  <a:lnTo>
                    <a:pt x="15172" y="2720"/>
                  </a:lnTo>
                  <a:lnTo>
                    <a:pt x="15096" y="2538"/>
                  </a:lnTo>
                  <a:lnTo>
                    <a:pt x="15009" y="2347"/>
                  </a:lnTo>
                  <a:lnTo>
                    <a:pt x="14923" y="2174"/>
                  </a:lnTo>
                  <a:lnTo>
                    <a:pt x="14818" y="2002"/>
                  </a:lnTo>
                  <a:lnTo>
                    <a:pt x="14713" y="1830"/>
                  </a:lnTo>
                  <a:lnTo>
                    <a:pt x="14598" y="1667"/>
                  </a:lnTo>
                  <a:lnTo>
                    <a:pt x="14473" y="1513"/>
                  </a:lnTo>
                  <a:lnTo>
                    <a:pt x="14349" y="1360"/>
                  </a:lnTo>
                  <a:lnTo>
                    <a:pt x="14205" y="1217"/>
                  </a:lnTo>
                  <a:lnTo>
                    <a:pt x="14061" y="1073"/>
                  </a:lnTo>
                  <a:lnTo>
                    <a:pt x="13908" y="948"/>
                  </a:lnTo>
                  <a:lnTo>
                    <a:pt x="13755" y="824"/>
                  </a:lnTo>
                  <a:lnTo>
                    <a:pt x="13592" y="709"/>
                  </a:lnTo>
                  <a:lnTo>
                    <a:pt x="13420" y="594"/>
                  </a:lnTo>
                  <a:lnTo>
                    <a:pt x="13247" y="498"/>
                  </a:lnTo>
                  <a:lnTo>
                    <a:pt x="13075" y="402"/>
                  </a:lnTo>
                  <a:lnTo>
                    <a:pt x="12883" y="326"/>
                  </a:lnTo>
                  <a:lnTo>
                    <a:pt x="12701" y="249"/>
                  </a:lnTo>
                  <a:lnTo>
                    <a:pt x="12510" y="182"/>
                  </a:lnTo>
                  <a:lnTo>
                    <a:pt x="12308" y="125"/>
                  </a:lnTo>
                  <a:lnTo>
                    <a:pt x="12107" y="77"/>
                  </a:lnTo>
                  <a:lnTo>
                    <a:pt x="11906" y="48"/>
                  </a:lnTo>
                  <a:lnTo>
                    <a:pt x="11695" y="19"/>
                  </a:lnTo>
                  <a:lnTo>
                    <a:pt x="1148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16"/>
            <p:cNvSpPr/>
            <p:nvPr/>
          </p:nvSpPr>
          <p:spPr>
            <a:xfrm>
              <a:off x="4055133" y="3801270"/>
              <a:ext cx="124827" cy="226151"/>
            </a:xfrm>
            <a:custGeom>
              <a:avLst/>
              <a:gdLst/>
              <a:ahLst/>
              <a:cxnLst/>
              <a:rect l="l" t="t" r="r" b="b"/>
              <a:pathLst>
                <a:path w="3516" h="6370" extrusionOk="0">
                  <a:moveTo>
                    <a:pt x="0" y="0"/>
                  </a:moveTo>
                  <a:lnTo>
                    <a:pt x="671" y="6370"/>
                  </a:lnTo>
                  <a:lnTo>
                    <a:pt x="2854" y="6370"/>
                  </a:lnTo>
                  <a:lnTo>
                    <a:pt x="3515"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16"/>
            <p:cNvSpPr/>
            <p:nvPr/>
          </p:nvSpPr>
          <p:spPr>
            <a:xfrm>
              <a:off x="3691634" y="3674104"/>
              <a:ext cx="859338" cy="127205"/>
            </a:xfrm>
            <a:custGeom>
              <a:avLst/>
              <a:gdLst/>
              <a:ahLst/>
              <a:cxnLst/>
              <a:rect l="l" t="t" r="r" b="b"/>
              <a:pathLst>
                <a:path w="24205" h="3583" extrusionOk="0">
                  <a:moveTo>
                    <a:pt x="3448" y="0"/>
                  </a:moveTo>
                  <a:lnTo>
                    <a:pt x="3266" y="10"/>
                  </a:lnTo>
                  <a:lnTo>
                    <a:pt x="3094" y="19"/>
                  </a:lnTo>
                  <a:lnTo>
                    <a:pt x="2922" y="39"/>
                  </a:lnTo>
                  <a:lnTo>
                    <a:pt x="2749" y="67"/>
                  </a:lnTo>
                  <a:lnTo>
                    <a:pt x="2586" y="106"/>
                  </a:lnTo>
                  <a:lnTo>
                    <a:pt x="2423" y="153"/>
                  </a:lnTo>
                  <a:lnTo>
                    <a:pt x="2261" y="211"/>
                  </a:lnTo>
                  <a:lnTo>
                    <a:pt x="2107" y="268"/>
                  </a:lnTo>
                  <a:lnTo>
                    <a:pt x="1954" y="345"/>
                  </a:lnTo>
                  <a:lnTo>
                    <a:pt x="1801" y="412"/>
                  </a:lnTo>
                  <a:lnTo>
                    <a:pt x="1657" y="498"/>
                  </a:lnTo>
                  <a:lnTo>
                    <a:pt x="1523" y="585"/>
                  </a:lnTo>
                  <a:lnTo>
                    <a:pt x="1389" y="680"/>
                  </a:lnTo>
                  <a:lnTo>
                    <a:pt x="1255" y="786"/>
                  </a:lnTo>
                  <a:lnTo>
                    <a:pt x="1130" y="891"/>
                  </a:lnTo>
                  <a:lnTo>
                    <a:pt x="1015" y="1006"/>
                  </a:lnTo>
                  <a:lnTo>
                    <a:pt x="901" y="1130"/>
                  </a:lnTo>
                  <a:lnTo>
                    <a:pt x="786" y="1255"/>
                  </a:lnTo>
                  <a:lnTo>
                    <a:pt x="690" y="1379"/>
                  </a:lnTo>
                  <a:lnTo>
                    <a:pt x="594" y="1523"/>
                  </a:lnTo>
                  <a:lnTo>
                    <a:pt x="498" y="1657"/>
                  </a:lnTo>
                  <a:lnTo>
                    <a:pt x="422" y="1801"/>
                  </a:lnTo>
                  <a:lnTo>
                    <a:pt x="345" y="1954"/>
                  </a:lnTo>
                  <a:lnTo>
                    <a:pt x="278" y="2107"/>
                  </a:lnTo>
                  <a:lnTo>
                    <a:pt x="211" y="2261"/>
                  </a:lnTo>
                  <a:lnTo>
                    <a:pt x="153" y="2424"/>
                  </a:lnTo>
                  <a:lnTo>
                    <a:pt x="115" y="2586"/>
                  </a:lnTo>
                  <a:lnTo>
                    <a:pt x="77" y="2749"/>
                  </a:lnTo>
                  <a:lnTo>
                    <a:pt x="39" y="2922"/>
                  </a:lnTo>
                  <a:lnTo>
                    <a:pt x="19" y="3094"/>
                  </a:lnTo>
                  <a:lnTo>
                    <a:pt x="10" y="3266"/>
                  </a:lnTo>
                  <a:lnTo>
                    <a:pt x="0" y="3439"/>
                  </a:lnTo>
                  <a:lnTo>
                    <a:pt x="0" y="3582"/>
                  </a:lnTo>
                  <a:lnTo>
                    <a:pt x="24204" y="3582"/>
                  </a:lnTo>
                  <a:lnTo>
                    <a:pt x="24204" y="3439"/>
                  </a:lnTo>
                  <a:lnTo>
                    <a:pt x="24194" y="3266"/>
                  </a:lnTo>
                  <a:lnTo>
                    <a:pt x="24185" y="3094"/>
                  </a:lnTo>
                  <a:lnTo>
                    <a:pt x="24166" y="2922"/>
                  </a:lnTo>
                  <a:lnTo>
                    <a:pt x="24127" y="2749"/>
                  </a:lnTo>
                  <a:lnTo>
                    <a:pt x="24089" y="2586"/>
                  </a:lnTo>
                  <a:lnTo>
                    <a:pt x="24041" y="2424"/>
                  </a:lnTo>
                  <a:lnTo>
                    <a:pt x="23993" y="2261"/>
                  </a:lnTo>
                  <a:lnTo>
                    <a:pt x="23926" y="2107"/>
                  </a:lnTo>
                  <a:lnTo>
                    <a:pt x="23859" y="1954"/>
                  </a:lnTo>
                  <a:lnTo>
                    <a:pt x="23783" y="1801"/>
                  </a:lnTo>
                  <a:lnTo>
                    <a:pt x="23706" y="1657"/>
                  </a:lnTo>
                  <a:lnTo>
                    <a:pt x="23610" y="1523"/>
                  </a:lnTo>
                  <a:lnTo>
                    <a:pt x="23514" y="1379"/>
                  </a:lnTo>
                  <a:lnTo>
                    <a:pt x="23419" y="1255"/>
                  </a:lnTo>
                  <a:lnTo>
                    <a:pt x="23304" y="1130"/>
                  </a:lnTo>
                  <a:lnTo>
                    <a:pt x="23189" y="1006"/>
                  </a:lnTo>
                  <a:lnTo>
                    <a:pt x="23074" y="891"/>
                  </a:lnTo>
                  <a:lnTo>
                    <a:pt x="22949" y="786"/>
                  </a:lnTo>
                  <a:lnTo>
                    <a:pt x="22815" y="680"/>
                  </a:lnTo>
                  <a:lnTo>
                    <a:pt x="22681" y="585"/>
                  </a:lnTo>
                  <a:lnTo>
                    <a:pt x="22547" y="498"/>
                  </a:lnTo>
                  <a:lnTo>
                    <a:pt x="22403" y="412"/>
                  </a:lnTo>
                  <a:lnTo>
                    <a:pt x="22250" y="345"/>
                  </a:lnTo>
                  <a:lnTo>
                    <a:pt x="22097" y="268"/>
                  </a:lnTo>
                  <a:lnTo>
                    <a:pt x="21944" y="211"/>
                  </a:lnTo>
                  <a:lnTo>
                    <a:pt x="21781" y="153"/>
                  </a:lnTo>
                  <a:lnTo>
                    <a:pt x="21618" y="106"/>
                  </a:lnTo>
                  <a:lnTo>
                    <a:pt x="21455" y="67"/>
                  </a:lnTo>
                  <a:lnTo>
                    <a:pt x="21283" y="39"/>
                  </a:lnTo>
                  <a:lnTo>
                    <a:pt x="21110" y="19"/>
                  </a:lnTo>
                  <a:lnTo>
                    <a:pt x="20938" y="10"/>
                  </a:lnTo>
                  <a:lnTo>
                    <a:pt x="20756"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16"/>
            <p:cNvSpPr/>
            <p:nvPr/>
          </p:nvSpPr>
          <p:spPr>
            <a:xfrm>
              <a:off x="4100007" y="3332687"/>
              <a:ext cx="47289" cy="417616"/>
            </a:xfrm>
            <a:custGeom>
              <a:avLst/>
              <a:gdLst/>
              <a:ahLst/>
              <a:cxnLst/>
              <a:rect l="l" t="t" r="r" b="b"/>
              <a:pathLst>
                <a:path w="1332" h="11763" extrusionOk="0">
                  <a:moveTo>
                    <a:pt x="594" y="1"/>
                  </a:moveTo>
                  <a:lnTo>
                    <a:pt x="527" y="10"/>
                  </a:lnTo>
                  <a:lnTo>
                    <a:pt x="470" y="30"/>
                  </a:lnTo>
                  <a:lnTo>
                    <a:pt x="403" y="49"/>
                  </a:lnTo>
                  <a:lnTo>
                    <a:pt x="345" y="77"/>
                  </a:lnTo>
                  <a:lnTo>
                    <a:pt x="297" y="106"/>
                  </a:lnTo>
                  <a:lnTo>
                    <a:pt x="240" y="144"/>
                  </a:lnTo>
                  <a:lnTo>
                    <a:pt x="192" y="192"/>
                  </a:lnTo>
                  <a:lnTo>
                    <a:pt x="154" y="240"/>
                  </a:lnTo>
                  <a:lnTo>
                    <a:pt x="115" y="288"/>
                  </a:lnTo>
                  <a:lnTo>
                    <a:pt x="77" y="346"/>
                  </a:lnTo>
                  <a:lnTo>
                    <a:pt x="48" y="403"/>
                  </a:lnTo>
                  <a:lnTo>
                    <a:pt x="29" y="461"/>
                  </a:lnTo>
                  <a:lnTo>
                    <a:pt x="10" y="528"/>
                  </a:lnTo>
                  <a:lnTo>
                    <a:pt x="0" y="595"/>
                  </a:lnTo>
                  <a:lnTo>
                    <a:pt x="0" y="662"/>
                  </a:lnTo>
                  <a:lnTo>
                    <a:pt x="0" y="11102"/>
                  </a:lnTo>
                  <a:lnTo>
                    <a:pt x="0" y="11169"/>
                  </a:lnTo>
                  <a:lnTo>
                    <a:pt x="10" y="11236"/>
                  </a:lnTo>
                  <a:lnTo>
                    <a:pt x="29" y="11293"/>
                  </a:lnTo>
                  <a:lnTo>
                    <a:pt x="48" y="11360"/>
                  </a:lnTo>
                  <a:lnTo>
                    <a:pt x="77" y="11418"/>
                  </a:lnTo>
                  <a:lnTo>
                    <a:pt x="115" y="11466"/>
                  </a:lnTo>
                  <a:lnTo>
                    <a:pt x="154" y="11523"/>
                  </a:lnTo>
                  <a:lnTo>
                    <a:pt x="192" y="11571"/>
                  </a:lnTo>
                  <a:lnTo>
                    <a:pt x="240" y="11609"/>
                  </a:lnTo>
                  <a:lnTo>
                    <a:pt x="297" y="11648"/>
                  </a:lnTo>
                  <a:lnTo>
                    <a:pt x="345" y="11686"/>
                  </a:lnTo>
                  <a:lnTo>
                    <a:pt x="403" y="11715"/>
                  </a:lnTo>
                  <a:lnTo>
                    <a:pt x="470" y="11734"/>
                  </a:lnTo>
                  <a:lnTo>
                    <a:pt x="527" y="11753"/>
                  </a:lnTo>
                  <a:lnTo>
                    <a:pt x="594" y="11763"/>
                  </a:lnTo>
                  <a:lnTo>
                    <a:pt x="728" y="11763"/>
                  </a:lnTo>
                  <a:lnTo>
                    <a:pt x="795" y="11753"/>
                  </a:lnTo>
                  <a:lnTo>
                    <a:pt x="863" y="11734"/>
                  </a:lnTo>
                  <a:lnTo>
                    <a:pt x="920" y="11715"/>
                  </a:lnTo>
                  <a:lnTo>
                    <a:pt x="977" y="11686"/>
                  </a:lnTo>
                  <a:lnTo>
                    <a:pt x="1035" y="11648"/>
                  </a:lnTo>
                  <a:lnTo>
                    <a:pt x="1092" y="11609"/>
                  </a:lnTo>
                  <a:lnTo>
                    <a:pt x="1131" y="11571"/>
                  </a:lnTo>
                  <a:lnTo>
                    <a:pt x="1179" y="11523"/>
                  </a:lnTo>
                  <a:lnTo>
                    <a:pt x="1217" y="11466"/>
                  </a:lnTo>
                  <a:lnTo>
                    <a:pt x="1246" y="11418"/>
                  </a:lnTo>
                  <a:lnTo>
                    <a:pt x="1274" y="11360"/>
                  </a:lnTo>
                  <a:lnTo>
                    <a:pt x="1303" y="11293"/>
                  </a:lnTo>
                  <a:lnTo>
                    <a:pt x="1313" y="11236"/>
                  </a:lnTo>
                  <a:lnTo>
                    <a:pt x="1322" y="11169"/>
                  </a:lnTo>
                  <a:lnTo>
                    <a:pt x="1332" y="11102"/>
                  </a:lnTo>
                  <a:lnTo>
                    <a:pt x="1332" y="662"/>
                  </a:lnTo>
                  <a:lnTo>
                    <a:pt x="1322" y="595"/>
                  </a:lnTo>
                  <a:lnTo>
                    <a:pt x="1313" y="528"/>
                  </a:lnTo>
                  <a:lnTo>
                    <a:pt x="1303" y="461"/>
                  </a:lnTo>
                  <a:lnTo>
                    <a:pt x="1274" y="403"/>
                  </a:lnTo>
                  <a:lnTo>
                    <a:pt x="1246" y="346"/>
                  </a:lnTo>
                  <a:lnTo>
                    <a:pt x="1217" y="288"/>
                  </a:lnTo>
                  <a:lnTo>
                    <a:pt x="1179" y="240"/>
                  </a:lnTo>
                  <a:lnTo>
                    <a:pt x="1131" y="192"/>
                  </a:lnTo>
                  <a:lnTo>
                    <a:pt x="1092" y="144"/>
                  </a:lnTo>
                  <a:lnTo>
                    <a:pt x="1035" y="106"/>
                  </a:lnTo>
                  <a:lnTo>
                    <a:pt x="977" y="77"/>
                  </a:lnTo>
                  <a:lnTo>
                    <a:pt x="920" y="49"/>
                  </a:lnTo>
                  <a:lnTo>
                    <a:pt x="863" y="30"/>
                  </a:lnTo>
                  <a:lnTo>
                    <a:pt x="795" y="10"/>
                  </a:lnTo>
                  <a:lnTo>
                    <a:pt x="728"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16"/>
            <p:cNvSpPr/>
            <p:nvPr/>
          </p:nvSpPr>
          <p:spPr>
            <a:xfrm>
              <a:off x="3872514" y="3079030"/>
              <a:ext cx="502644" cy="297227"/>
            </a:xfrm>
            <a:custGeom>
              <a:avLst/>
              <a:gdLst/>
              <a:ahLst/>
              <a:cxnLst/>
              <a:rect l="l" t="t" r="r" b="b"/>
              <a:pathLst>
                <a:path w="14158" h="8372" extrusionOk="0">
                  <a:moveTo>
                    <a:pt x="1227" y="1"/>
                  </a:moveTo>
                  <a:lnTo>
                    <a:pt x="1102" y="10"/>
                  </a:lnTo>
                  <a:lnTo>
                    <a:pt x="978" y="29"/>
                  </a:lnTo>
                  <a:lnTo>
                    <a:pt x="863" y="58"/>
                  </a:lnTo>
                  <a:lnTo>
                    <a:pt x="748" y="96"/>
                  </a:lnTo>
                  <a:lnTo>
                    <a:pt x="642" y="154"/>
                  </a:lnTo>
                  <a:lnTo>
                    <a:pt x="547" y="211"/>
                  </a:lnTo>
                  <a:lnTo>
                    <a:pt x="451" y="288"/>
                  </a:lnTo>
                  <a:lnTo>
                    <a:pt x="365" y="365"/>
                  </a:lnTo>
                  <a:lnTo>
                    <a:pt x="279" y="451"/>
                  </a:lnTo>
                  <a:lnTo>
                    <a:pt x="211" y="546"/>
                  </a:lnTo>
                  <a:lnTo>
                    <a:pt x="154" y="642"/>
                  </a:lnTo>
                  <a:lnTo>
                    <a:pt x="97" y="748"/>
                  </a:lnTo>
                  <a:lnTo>
                    <a:pt x="58" y="863"/>
                  </a:lnTo>
                  <a:lnTo>
                    <a:pt x="29" y="978"/>
                  </a:lnTo>
                  <a:lnTo>
                    <a:pt x="10" y="1102"/>
                  </a:lnTo>
                  <a:lnTo>
                    <a:pt x="1" y="1227"/>
                  </a:lnTo>
                  <a:lnTo>
                    <a:pt x="1" y="7146"/>
                  </a:lnTo>
                  <a:lnTo>
                    <a:pt x="10" y="7270"/>
                  </a:lnTo>
                  <a:lnTo>
                    <a:pt x="29" y="7395"/>
                  </a:lnTo>
                  <a:lnTo>
                    <a:pt x="58" y="7510"/>
                  </a:lnTo>
                  <a:lnTo>
                    <a:pt x="97" y="7625"/>
                  </a:lnTo>
                  <a:lnTo>
                    <a:pt x="154" y="7730"/>
                  </a:lnTo>
                  <a:lnTo>
                    <a:pt x="211" y="7826"/>
                  </a:lnTo>
                  <a:lnTo>
                    <a:pt x="279" y="7922"/>
                  </a:lnTo>
                  <a:lnTo>
                    <a:pt x="365" y="8008"/>
                  </a:lnTo>
                  <a:lnTo>
                    <a:pt x="451" y="8084"/>
                  </a:lnTo>
                  <a:lnTo>
                    <a:pt x="547" y="8161"/>
                  </a:lnTo>
                  <a:lnTo>
                    <a:pt x="642" y="8219"/>
                  </a:lnTo>
                  <a:lnTo>
                    <a:pt x="748" y="8276"/>
                  </a:lnTo>
                  <a:lnTo>
                    <a:pt x="863" y="8314"/>
                  </a:lnTo>
                  <a:lnTo>
                    <a:pt x="978" y="8343"/>
                  </a:lnTo>
                  <a:lnTo>
                    <a:pt x="1102" y="8362"/>
                  </a:lnTo>
                  <a:lnTo>
                    <a:pt x="1227" y="8372"/>
                  </a:lnTo>
                  <a:lnTo>
                    <a:pt x="12931" y="8372"/>
                  </a:lnTo>
                  <a:lnTo>
                    <a:pt x="13056" y="8362"/>
                  </a:lnTo>
                  <a:lnTo>
                    <a:pt x="13180" y="8343"/>
                  </a:lnTo>
                  <a:lnTo>
                    <a:pt x="13295" y="8314"/>
                  </a:lnTo>
                  <a:lnTo>
                    <a:pt x="13410" y="8276"/>
                  </a:lnTo>
                  <a:lnTo>
                    <a:pt x="13515" y="8219"/>
                  </a:lnTo>
                  <a:lnTo>
                    <a:pt x="13611" y="8161"/>
                  </a:lnTo>
                  <a:lnTo>
                    <a:pt x="13707" y="8084"/>
                  </a:lnTo>
                  <a:lnTo>
                    <a:pt x="13793" y="8008"/>
                  </a:lnTo>
                  <a:lnTo>
                    <a:pt x="13870" y="7922"/>
                  </a:lnTo>
                  <a:lnTo>
                    <a:pt x="13946" y="7826"/>
                  </a:lnTo>
                  <a:lnTo>
                    <a:pt x="14004" y="7730"/>
                  </a:lnTo>
                  <a:lnTo>
                    <a:pt x="14061" y="7625"/>
                  </a:lnTo>
                  <a:lnTo>
                    <a:pt x="14100" y="7510"/>
                  </a:lnTo>
                  <a:lnTo>
                    <a:pt x="14128" y="7395"/>
                  </a:lnTo>
                  <a:lnTo>
                    <a:pt x="14148" y="7270"/>
                  </a:lnTo>
                  <a:lnTo>
                    <a:pt x="14157" y="7146"/>
                  </a:lnTo>
                  <a:lnTo>
                    <a:pt x="14157" y="1227"/>
                  </a:lnTo>
                  <a:lnTo>
                    <a:pt x="14148" y="1102"/>
                  </a:lnTo>
                  <a:lnTo>
                    <a:pt x="14128" y="978"/>
                  </a:lnTo>
                  <a:lnTo>
                    <a:pt x="14100" y="863"/>
                  </a:lnTo>
                  <a:lnTo>
                    <a:pt x="14061" y="748"/>
                  </a:lnTo>
                  <a:lnTo>
                    <a:pt x="14004" y="642"/>
                  </a:lnTo>
                  <a:lnTo>
                    <a:pt x="13946" y="546"/>
                  </a:lnTo>
                  <a:lnTo>
                    <a:pt x="13870" y="451"/>
                  </a:lnTo>
                  <a:lnTo>
                    <a:pt x="13793" y="365"/>
                  </a:lnTo>
                  <a:lnTo>
                    <a:pt x="13707" y="288"/>
                  </a:lnTo>
                  <a:lnTo>
                    <a:pt x="13611" y="211"/>
                  </a:lnTo>
                  <a:lnTo>
                    <a:pt x="13515" y="154"/>
                  </a:lnTo>
                  <a:lnTo>
                    <a:pt x="13410" y="96"/>
                  </a:lnTo>
                  <a:lnTo>
                    <a:pt x="13295" y="58"/>
                  </a:lnTo>
                  <a:lnTo>
                    <a:pt x="13180" y="29"/>
                  </a:lnTo>
                  <a:lnTo>
                    <a:pt x="13056" y="10"/>
                  </a:lnTo>
                  <a:lnTo>
                    <a:pt x="12931"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16"/>
            <p:cNvSpPr/>
            <p:nvPr/>
          </p:nvSpPr>
          <p:spPr>
            <a:xfrm>
              <a:off x="4599866" y="2491446"/>
              <a:ext cx="136401" cy="259843"/>
            </a:xfrm>
            <a:custGeom>
              <a:avLst/>
              <a:gdLst/>
              <a:ahLst/>
              <a:cxnLst/>
              <a:rect l="l" t="t" r="r" b="b"/>
              <a:pathLst>
                <a:path w="3842" h="7319" extrusionOk="0">
                  <a:moveTo>
                    <a:pt x="2127" y="1"/>
                  </a:moveTo>
                  <a:lnTo>
                    <a:pt x="1925" y="317"/>
                  </a:lnTo>
                  <a:lnTo>
                    <a:pt x="1456" y="1073"/>
                  </a:lnTo>
                  <a:lnTo>
                    <a:pt x="1188" y="1514"/>
                  </a:lnTo>
                  <a:lnTo>
                    <a:pt x="939" y="1964"/>
                  </a:lnTo>
                  <a:lnTo>
                    <a:pt x="728" y="2366"/>
                  </a:lnTo>
                  <a:lnTo>
                    <a:pt x="642" y="2539"/>
                  </a:lnTo>
                  <a:lnTo>
                    <a:pt x="585" y="2692"/>
                  </a:lnTo>
                  <a:lnTo>
                    <a:pt x="527" y="2864"/>
                  </a:lnTo>
                  <a:lnTo>
                    <a:pt x="479" y="3066"/>
                  </a:lnTo>
                  <a:lnTo>
                    <a:pt x="422" y="3295"/>
                  </a:lnTo>
                  <a:lnTo>
                    <a:pt x="374" y="3554"/>
                  </a:lnTo>
                  <a:lnTo>
                    <a:pt x="268" y="4100"/>
                  </a:lnTo>
                  <a:lnTo>
                    <a:pt x="182" y="4665"/>
                  </a:lnTo>
                  <a:lnTo>
                    <a:pt x="106" y="5192"/>
                  </a:lnTo>
                  <a:lnTo>
                    <a:pt x="48" y="5632"/>
                  </a:lnTo>
                  <a:lnTo>
                    <a:pt x="0" y="6044"/>
                  </a:lnTo>
                  <a:lnTo>
                    <a:pt x="154" y="6178"/>
                  </a:lnTo>
                  <a:lnTo>
                    <a:pt x="288" y="6313"/>
                  </a:lnTo>
                  <a:lnTo>
                    <a:pt x="422" y="6456"/>
                  </a:lnTo>
                  <a:lnTo>
                    <a:pt x="537" y="6619"/>
                  </a:lnTo>
                  <a:lnTo>
                    <a:pt x="652" y="6782"/>
                  </a:lnTo>
                  <a:lnTo>
                    <a:pt x="747" y="6954"/>
                  </a:lnTo>
                  <a:lnTo>
                    <a:pt x="824" y="7136"/>
                  </a:lnTo>
                  <a:lnTo>
                    <a:pt x="901" y="7318"/>
                  </a:lnTo>
                  <a:lnTo>
                    <a:pt x="1648" y="6044"/>
                  </a:lnTo>
                  <a:lnTo>
                    <a:pt x="2826" y="4234"/>
                  </a:lnTo>
                  <a:lnTo>
                    <a:pt x="3017" y="3908"/>
                  </a:lnTo>
                  <a:lnTo>
                    <a:pt x="3209" y="3564"/>
                  </a:lnTo>
                  <a:lnTo>
                    <a:pt x="3410" y="3171"/>
                  </a:lnTo>
                  <a:lnTo>
                    <a:pt x="3611" y="2769"/>
                  </a:lnTo>
                  <a:lnTo>
                    <a:pt x="3697" y="2577"/>
                  </a:lnTo>
                  <a:lnTo>
                    <a:pt x="3764" y="2405"/>
                  </a:lnTo>
                  <a:lnTo>
                    <a:pt x="3812" y="2261"/>
                  </a:lnTo>
                  <a:lnTo>
                    <a:pt x="3841" y="2136"/>
                  </a:lnTo>
                  <a:lnTo>
                    <a:pt x="3841" y="2089"/>
                  </a:lnTo>
                  <a:lnTo>
                    <a:pt x="3841" y="2050"/>
                  </a:lnTo>
                  <a:lnTo>
                    <a:pt x="3832" y="2022"/>
                  </a:lnTo>
                  <a:lnTo>
                    <a:pt x="3812" y="2002"/>
                  </a:lnTo>
                  <a:lnTo>
                    <a:pt x="3764" y="1983"/>
                  </a:lnTo>
                  <a:lnTo>
                    <a:pt x="3678" y="1983"/>
                  </a:lnTo>
                  <a:lnTo>
                    <a:pt x="3630" y="1993"/>
                  </a:lnTo>
                  <a:lnTo>
                    <a:pt x="3582" y="2012"/>
                  </a:lnTo>
                  <a:lnTo>
                    <a:pt x="3525" y="2041"/>
                  </a:lnTo>
                  <a:lnTo>
                    <a:pt x="3420" y="2117"/>
                  </a:lnTo>
                  <a:lnTo>
                    <a:pt x="3314" y="2213"/>
                  </a:lnTo>
                  <a:lnTo>
                    <a:pt x="3199" y="2318"/>
                  </a:lnTo>
                  <a:lnTo>
                    <a:pt x="2970" y="2567"/>
                  </a:lnTo>
                  <a:lnTo>
                    <a:pt x="2740" y="2817"/>
                  </a:lnTo>
                  <a:lnTo>
                    <a:pt x="2625" y="2931"/>
                  </a:lnTo>
                  <a:lnTo>
                    <a:pt x="2519" y="3027"/>
                  </a:lnTo>
                  <a:lnTo>
                    <a:pt x="2414" y="3094"/>
                  </a:lnTo>
                  <a:lnTo>
                    <a:pt x="2366" y="3123"/>
                  </a:lnTo>
                  <a:lnTo>
                    <a:pt x="2309" y="3142"/>
                  </a:lnTo>
                  <a:lnTo>
                    <a:pt x="2261" y="3152"/>
                  </a:lnTo>
                  <a:lnTo>
                    <a:pt x="2175" y="3152"/>
                  </a:lnTo>
                  <a:lnTo>
                    <a:pt x="2127" y="3133"/>
                  </a:lnTo>
                  <a:lnTo>
                    <a:pt x="2060" y="3085"/>
                  </a:lnTo>
                  <a:lnTo>
                    <a:pt x="2012" y="3027"/>
                  </a:lnTo>
                  <a:lnTo>
                    <a:pt x="1964" y="2951"/>
                  </a:lnTo>
                  <a:lnTo>
                    <a:pt x="1925" y="2864"/>
                  </a:lnTo>
                  <a:lnTo>
                    <a:pt x="1897" y="2759"/>
                  </a:lnTo>
                  <a:lnTo>
                    <a:pt x="1878" y="2654"/>
                  </a:lnTo>
                  <a:lnTo>
                    <a:pt x="1868" y="2529"/>
                  </a:lnTo>
                  <a:lnTo>
                    <a:pt x="1868" y="2405"/>
                  </a:lnTo>
                  <a:lnTo>
                    <a:pt x="1878" y="2127"/>
                  </a:lnTo>
                  <a:lnTo>
                    <a:pt x="1897" y="1840"/>
                  </a:lnTo>
                  <a:lnTo>
                    <a:pt x="1935" y="1533"/>
                  </a:lnTo>
                  <a:lnTo>
                    <a:pt x="1973" y="1236"/>
                  </a:lnTo>
                  <a:lnTo>
                    <a:pt x="2040" y="776"/>
                  </a:lnTo>
                  <a:lnTo>
                    <a:pt x="2088" y="374"/>
                  </a:lnTo>
                  <a:lnTo>
                    <a:pt x="2127"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16"/>
            <p:cNvSpPr/>
            <p:nvPr/>
          </p:nvSpPr>
          <p:spPr>
            <a:xfrm>
              <a:off x="5664518" y="2994714"/>
              <a:ext cx="223453" cy="161891"/>
            </a:xfrm>
            <a:custGeom>
              <a:avLst/>
              <a:gdLst/>
              <a:ahLst/>
              <a:cxnLst/>
              <a:rect l="l" t="t" r="r" b="b"/>
              <a:pathLst>
                <a:path w="6294" h="4560" extrusionOk="0">
                  <a:moveTo>
                    <a:pt x="4904" y="738"/>
                  </a:moveTo>
                  <a:lnTo>
                    <a:pt x="4990" y="747"/>
                  </a:lnTo>
                  <a:lnTo>
                    <a:pt x="5067" y="757"/>
                  </a:lnTo>
                  <a:lnTo>
                    <a:pt x="5153" y="776"/>
                  </a:lnTo>
                  <a:lnTo>
                    <a:pt x="5230" y="805"/>
                  </a:lnTo>
                  <a:lnTo>
                    <a:pt x="5297" y="843"/>
                  </a:lnTo>
                  <a:lnTo>
                    <a:pt x="5364" y="881"/>
                  </a:lnTo>
                  <a:lnTo>
                    <a:pt x="5431" y="929"/>
                  </a:lnTo>
                  <a:lnTo>
                    <a:pt x="5489" y="977"/>
                  </a:lnTo>
                  <a:lnTo>
                    <a:pt x="5536" y="1044"/>
                  </a:lnTo>
                  <a:lnTo>
                    <a:pt x="5584" y="1102"/>
                  </a:lnTo>
                  <a:lnTo>
                    <a:pt x="5623" y="1169"/>
                  </a:lnTo>
                  <a:lnTo>
                    <a:pt x="5661" y="1245"/>
                  </a:lnTo>
                  <a:lnTo>
                    <a:pt x="5690" y="1322"/>
                  </a:lnTo>
                  <a:lnTo>
                    <a:pt x="5709" y="1399"/>
                  </a:lnTo>
                  <a:lnTo>
                    <a:pt x="5718" y="1475"/>
                  </a:lnTo>
                  <a:lnTo>
                    <a:pt x="5728" y="1561"/>
                  </a:lnTo>
                  <a:lnTo>
                    <a:pt x="5718" y="1648"/>
                  </a:lnTo>
                  <a:lnTo>
                    <a:pt x="5709" y="1724"/>
                  </a:lnTo>
                  <a:lnTo>
                    <a:pt x="5690" y="1801"/>
                  </a:lnTo>
                  <a:lnTo>
                    <a:pt x="5661" y="1877"/>
                  </a:lnTo>
                  <a:lnTo>
                    <a:pt x="5623" y="1954"/>
                  </a:lnTo>
                  <a:lnTo>
                    <a:pt x="5584" y="2021"/>
                  </a:lnTo>
                  <a:lnTo>
                    <a:pt x="5536" y="2079"/>
                  </a:lnTo>
                  <a:lnTo>
                    <a:pt x="5489" y="2136"/>
                  </a:lnTo>
                  <a:lnTo>
                    <a:pt x="5431" y="2194"/>
                  </a:lnTo>
                  <a:lnTo>
                    <a:pt x="5364" y="2241"/>
                  </a:lnTo>
                  <a:lnTo>
                    <a:pt x="5297" y="2280"/>
                  </a:lnTo>
                  <a:lnTo>
                    <a:pt x="5230" y="2318"/>
                  </a:lnTo>
                  <a:lnTo>
                    <a:pt x="5153" y="2347"/>
                  </a:lnTo>
                  <a:lnTo>
                    <a:pt x="5067" y="2366"/>
                  </a:lnTo>
                  <a:lnTo>
                    <a:pt x="4990" y="2376"/>
                  </a:lnTo>
                  <a:lnTo>
                    <a:pt x="4904" y="2385"/>
                  </a:lnTo>
                  <a:lnTo>
                    <a:pt x="4818" y="2376"/>
                  </a:lnTo>
                  <a:lnTo>
                    <a:pt x="4732" y="2356"/>
                  </a:lnTo>
                  <a:lnTo>
                    <a:pt x="4646" y="2337"/>
                  </a:lnTo>
                  <a:lnTo>
                    <a:pt x="4569" y="2308"/>
                  </a:lnTo>
                  <a:lnTo>
                    <a:pt x="4569" y="2280"/>
                  </a:lnTo>
                  <a:lnTo>
                    <a:pt x="4569" y="814"/>
                  </a:lnTo>
                  <a:lnTo>
                    <a:pt x="4646" y="786"/>
                  </a:lnTo>
                  <a:lnTo>
                    <a:pt x="4732" y="757"/>
                  </a:lnTo>
                  <a:lnTo>
                    <a:pt x="4818" y="747"/>
                  </a:lnTo>
                  <a:lnTo>
                    <a:pt x="4904" y="738"/>
                  </a:lnTo>
                  <a:close/>
                  <a:moveTo>
                    <a:pt x="0" y="0"/>
                  </a:moveTo>
                  <a:lnTo>
                    <a:pt x="0" y="2280"/>
                  </a:lnTo>
                  <a:lnTo>
                    <a:pt x="10" y="2395"/>
                  </a:lnTo>
                  <a:lnTo>
                    <a:pt x="19" y="2510"/>
                  </a:lnTo>
                  <a:lnTo>
                    <a:pt x="29" y="2625"/>
                  </a:lnTo>
                  <a:lnTo>
                    <a:pt x="48" y="2740"/>
                  </a:lnTo>
                  <a:lnTo>
                    <a:pt x="106" y="2960"/>
                  </a:lnTo>
                  <a:lnTo>
                    <a:pt x="182" y="3171"/>
                  </a:lnTo>
                  <a:lnTo>
                    <a:pt x="278" y="3372"/>
                  </a:lnTo>
                  <a:lnTo>
                    <a:pt x="393" y="3554"/>
                  </a:lnTo>
                  <a:lnTo>
                    <a:pt x="527" y="3736"/>
                  </a:lnTo>
                  <a:lnTo>
                    <a:pt x="671" y="3898"/>
                  </a:lnTo>
                  <a:lnTo>
                    <a:pt x="834" y="4042"/>
                  </a:lnTo>
                  <a:lnTo>
                    <a:pt x="1006" y="4176"/>
                  </a:lnTo>
                  <a:lnTo>
                    <a:pt x="1198" y="4291"/>
                  </a:lnTo>
                  <a:lnTo>
                    <a:pt x="1399" y="4387"/>
                  </a:lnTo>
                  <a:lnTo>
                    <a:pt x="1609" y="4464"/>
                  </a:lnTo>
                  <a:lnTo>
                    <a:pt x="1830" y="4521"/>
                  </a:lnTo>
                  <a:lnTo>
                    <a:pt x="1935" y="4540"/>
                  </a:lnTo>
                  <a:lnTo>
                    <a:pt x="2050" y="4550"/>
                  </a:lnTo>
                  <a:lnTo>
                    <a:pt x="2165" y="4559"/>
                  </a:lnTo>
                  <a:lnTo>
                    <a:pt x="2481" y="4559"/>
                  </a:lnTo>
                  <a:lnTo>
                    <a:pt x="2673" y="4531"/>
                  </a:lnTo>
                  <a:lnTo>
                    <a:pt x="2855" y="4492"/>
                  </a:lnTo>
                  <a:lnTo>
                    <a:pt x="3037" y="4435"/>
                  </a:lnTo>
                  <a:lnTo>
                    <a:pt x="3209" y="4368"/>
                  </a:lnTo>
                  <a:lnTo>
                    <a:pt x="3372" y="4282"/>
                  </a:lnTo>
                  <a:lnTo>
                    <a:pt x="3535" y="4186"/>
                  </a:lnTo>
                  <a:lnTo>
                    <a:pt x="3678" y="4080"/>
                  </a:lnTo>
                  <a:lnTo>
                    <a:pt x="3822" y="3966"/>
                  </a:lnTo>
                  <a:lnTo>
                    <a:pt x="3946" y="3841"/>
                  </a:lnTo>
                  <a:lnTo>
                    <a:pt x="4071" y="3697"/>
                  </a:lnTo>
                  <a:lnTo>
                    <a:pt x="4176" y="3554"/>
                  </a:lnTo>
                  <a:lnTo>
                    <a:pt x="4272" y="3391"/>
                  </a:lnTo>
                  <a:lnTo>
                    <a:pt x="4358" y="3228"/>
                  </a:lnTo>
                  <a:lnTo>
                    <a:pt x="4425" y="3056"/>
                  </a:lnTo>
                  <a:lnTo>
                    <a:pt x="4483" y="2874"/>
                  </a:lnTo>
                  <a:lnTo>
                    <a:pt x="4588" y="2912"/>
                  </a:lnTo>
                  <a:lnTo>
                    <a:pt x="4684" y="2931"/>
                  </a:lnTo>
                  <a:lnTo>
                    <a:pt x="4799" y="2941"/>
                  </a:lnTo>
                  <a:lnTo>
                    <a:pt x="4904" y="2950"/>
                  </a:lnTo>
                  <a:lnTo>
                    <a:pt x="5048" y="2941"/>
                  </a:lnTo>
                  <a:lnTo>
                    <a:pt x="5182" y="2921"/>
                  </a:lnTo>
                  <a:lnTo>
                    <a:pt x="5316" y="2893"/>
                  </a:lnTo>
                  <a:lnTo>
                    <a:pt x="5450" y="2845"/>
                  </a:lnTo>
                  <a:lnTo>
                    <a:pt x="5565" y="2787"/>
                  </a:lnTo>
                  <a:lnTo>
                    <a:pt x="5680" y="2711"/>
                  </a:lnTo>
                  <a:lnTo>
                    <a:pt x="5795" y="2634"/>
                  </a:lnTo>
                  <a:lnTo>
                    <a:pt x="5891" y="2548"/>
                  </a:lnTo>
                  <a:lnTo>
                    <a:pt x="5977" y="2443"/>
                  </a:lnTo>
                  <a:lnTo>
                    <a:pt x="6063" y="2337"/>
                  </a:lnTo>
                  <a:lnTo>
                    <a:pt x="6130" y="2222"/>
                  </a:lnTo>
                  <a:lnTo>
                    <a:pt x="6188" y="2098"/>
                  </a:lnTo>
                  <a:lnTo>
                    <a:pt x="6236" y="1973"/>
                  </a:lnTo>
                  <a:lnTo>
                    <a:pt x="6264" y="1839"/>
                  </a:lnTo>
                  <a:lnTo>
                    <a:pt x="6293" y="1705"/>
                  </a:lnTo>
                  <a:lnTo>
                    <a:pt x="6293" y="1561"/>
                  </a:lnTo>
                  <a:lnTo>
                    <a:pt x="6293" y="1418"/>
                  </a:lnTo>
                  <a:lnTo>
                    <a:pt x="6264" y="1284"/>
                  </a:lnTo>
                  <a:lnTo>
                    <a:pt x="6236" y="1150"/>
                  </a:lnTo>
                  <a:lnTo>
                    <a:pt x="6188" y="1015"/>
                  </a:lnTo>
                  <a:lnTo>
                    <a:pt x="6130" y="901"/>
                  </a:lnTo>
                  <a:lnTo>
                    <a:pt x="6063" y="786"/>
                  </a:lnTo>
                  <a:lnTo>
                    <a:pt x="5977" y="680"/>
                  </a:lnTo>
                  <a:lnTo>
                    <a:pt x="5891" y="575"/>
                  </a:lnTo>
                  <a:lnTo>
                    <a:pt x="5795" y="489"/>
                  </a:lnTo>
                  <a:lnTo>
                    <a:pt x="5680" y="412"/>
                  </a:lnTo>
                  <a:lnTo>
                    <a:pt x="5565" y="335"/>
                  </a:lnTo>
                  <a:lnTo>
                    <a:pt x="5450" y="278"/>
                  </a:lnTo>
                  <a:lnTo>
                    <a:pt x="5316" y="230"/>
                  </a:lnTo>
                  <a:lnTo>
                    <a:pt x="5182" y="201"/>
                  </a:lnTo>
                  <a:lnTo>
                    <a:pt x="5048" y="182"/>
                  </a:lnTo>
                  <a:lnTo>
                    <a:pt x="4904" y="173"/>
                  </a:lnTo>
                  <a:lnTo>
                    <a:pt x="4818" y="173"/>
                  </a:lnTo>
                  <a:lnTo>
                    <a:pt x="4732" y="182"/>
                  </a:lnTo>
                  <a:lnTo>
                    <a:pt x="4569" y="220"/>
                  </a:lnTo>
                  <a:lnTo>
                    <a:pt x="456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3" name="Google Shape;293;p16"/>
            <p:cNvSpPr/>
            <p:nvPr/>
          </p:nvSpPr>
          <p:spPr>
            <a:xfrm>
              <a:off x="5731509" y="2397581"/>
              <a:ext cx="496822" cy="554656"/>
            </a:xfrm>
            <a:custGeom>
              <a:avLst/>
              <a:gdLst/>
              <a:ahLst/>
              <a:cxnLst/>
              <a:rect l="l" t="t" r="r" b="b"/>
              <a:pathLst>
                <a:path w="13994" h="15623" extrusionOk="0">
                  <a:moveTo>
                    <a:pt x="13199" y="1"/>
                  </a:moveTo>
                  <a:lnTo>
                    <a:pt x="13132" y="30"/>
                  </a:lnTo>
                  <a:lnTo>
                    <a:pt x="13103" y="49"/>
                  </a:lnTo>
                  <a:lnTo>
                    <a:pt x="13074" y="68"/>
                  </a:lnTo>
                  <a:lnTo>
                    <a:pt x="13055" y="97"/>
                  </a:lnTo>
                  <a:lnTo>
                    <a:pt x="13036" y="135"/>
                  </a:lnTo>
                  <a:lnTo>
                    <a:pt x="13026" y="173"/>
                  </a:lnTo>
                  <a:lnTo>
                    <a:pt x="13026" y="212"/>
                  </a:lnTo>
                  <a:lnTo>
                    <a:pt x="13017" y="413"/>
                  </a:lnTo>
                  <a:lnTo>
                    <a:pt x="13007" y="614"/>
                  </a:lnTo>
                  <a:lnTo>
                    <a:pt x="12988" y="806"/>
                  </a:lnTo>
                  <a:lnTo>
                    <a:pt x="12969" y="997"/>
                  </a:lnTo>
                  <a:lnTo>
                    <a:pt x="12931" y="1189"/>
                  </a:lnTo>
                  <a:lnTo>
                    <a:pt x="12892" y="1371"/>
                  </a:lnTo>
                  <a:lnTo>
                    <a:pt x="12844" y="1553"/>
                  </a:lnTo>
                  <a:lnTo>
                    <a:pt x="12797" y="1735"/>
                  </a:lnTo>
                  <a:lnTo>
                    <a:pt x="12739" y="1907"/>
                  </a:lnTo>
                  <a:lnTo>
                    <a:pt x="12672" y="2079"/>
                  </a:lnTo>
                  <a:lnTo>
                    <a:pt x="12595" y="2252"/>
                  </a:lnTo>
                  <a:lnTo>
                    <a:pt x="12519" y="2415"/>
                  </a:lnTo>
                  <a:lnTo>
                    <a:pt x="12433" y="2578"/>
                  </a:lnTo>
                  <a:lnTo>
                    <a:pt x="12346" y="2740"/>
                  </a:lnTo>
                  <a:lnTo>
                    <a:pt x="12251" y="2903"/>
                  </a:lnTo>
                  <a:lnTo>
                    <a:pt x="12145" y="3056"/>
                  </a:lnTo>
                  <a:lnTo>
                    <a:pt x="12040" y="3210"/>
                  </a:lnTo>
                  <a:lnTo>
                    <a:pt x="11925" y="3363"/>
                  </a:lnTo>
                  <a:lnTo>
                    <a:pt x="11685" y="3660"/>
                  </a:lnTo>
                  <a:lnTo>
                    <a:pt x="11427" y="3947"/>
                  </a:lnTo>
                  <a:lnTo>
                    <a:pt x="11149" y="4215"/>
                  </a:lnTo>
                  <a:lnTo>
                    <a:pt x="10862" y="4484"/>
                  </a:lnTo>
                  <a:lnTo>
                    <a:pt x="10555" y="4733"/>
                  </a:lnTo>
                  <a:lnTo>
                    <a:pt x="10230" y="4982"/>
                  </a:lnTo>
                  <a:lnTo>
                    <a:pt x="9904" y="5221"/>
                  </a:lnTo>
                  <a:lnTo>
                    <a:pt x="9559" y="5451"/>
                  </a:lnTo>
                  <a:lnTo>
                    <a:pt x="9205" y="5671"/>
                  </a:lnTo>
                  <a:lnTo>
                    <a:pt x="8841" y="5882"/>
                  </a:lnTo>
                  <a:lnTo>
                    <a:pt x="8477" y="6083"/>
                  </a:lnTo>
                  <a:lnTo>
                    <a:pt x="8094" y="6284"/>
                  </a:lnTo>
                  <a:lnTo>
                    <a:pt x="7720" y="6466"/>
                  </a:lnTo>
                  <a:lnTo>
                    <a:pt x="7337" y="6648"/>
                  </a:lnTo>
                  <a:lnTo>
                    <a:pt x="6944" y="6821"/>
                  </a:lnTo>
                  <a:lnTo>
                    <a:pt x="6561" y="6993"/>
                  </a:lnTo>
                  <a:lnTo>
                    <a:pt x="6178" y="7156"/>
                  </a:lnTo>
                  <a:lnTo>
                    <a:pt x="5402" y="7462"/>
                  </a:lnTo>
                  <a:lnTo>
                    <a:pt x="4655" y="7740"/>
                  </a:lnTo>
                  <a:lnTo>
                    <a:pt x="3937" y="8008"/>
                  </a:lnTo>
                  <a:lnTo>
                    <a:pt x="3554" y="8152"/>
                  </a:lnTo>
                  <a:lnTo>
                    <a:pt x="3199" y="8315"/>
                  </a:lnTo>
                  <a:lnTo>
                    <a:pt x="2874" y="8487"/>
                  </a:lnTo>
                  <a:lnTo>
                    <a:pt x="2567" y="8669"/>
                  </a:lnTo>
                  <a:lnTo>
                    <a:pt x="2280" y="8870"/>
                  </a:lnTo>
                  <a:lnTo>
                    <a:pt x="2012" y="9081"/>
                  </a:lnTo>
                  <a:lnTo>
                    <a:pt x="1772" y="9292"/>
                  </a:lnTo>
                  <a:lnTo>
                    <a:pt x="1542" y="9522"/>
                  </a:lnTo>
                  <a:lnTo>
                    <a:pt x="1332" y="9752"/>
                  </a:lnTo>
                  <a:lnTo>
                    <a:pt x="1150" y="9991"/>
                  </a:lnTo>
                  <a:lnTo>
                    <a:pt x="977" y="10240"/>
                  </a:lnTo>
                  <a:lnTo>
                    <a:pt x="824" y="10499"/>
                  </a:lnTo>
                  <a:lnTo>
                    <a:pt x="680" y="10757"/>
                  </a:lnTo>
                  <a:lnTo>
                    <a:pt x="556" y="11016"/>
                  </a:lnTo>
                  <a:lnTo>
                    <a:pt x="450" y="11284"/>
                  </a:lnTo>
                  <a:lnTo>
                    <a:pt x="355" y="11552"/>
                  </a:lnTo>
                  <a:lnTo>
                    <a:pt x="278" y="11820"/>
                  </a:lnTo>
                  <a:lnTo>
                    <a:pt x="201" y="12089"/>
                  </a:lnTo>
                  <a:lnTo>
                    <a:pt x="144" y="12357"/>
                  </a:lnTo>
                  <a:lnTo>
                    <a:pt x="96" y="12625"/>
                  </a:lnTo>
                  <a:lnTo>
                    <a:pt x="58" y="12884"/>
                  </a:lnTo>
                  <a:lnTo>
                    <a:pt x="38" y="13152"/>
                  </a:lnTo>
                  <a:lnTo>
                    <a:pt x="19" y="13410"/>
                  </a:lnTo>
                  <a:lnTo>
                    <a:pt x="0" y="13669"/>
                  </a:lnTo>
                  <a:lnTo>
                    <a:pt x="0" y="13918"/>
                  </a:lnTo>
                  <a:lnTo>
                    <a:pt x="0" y="14157"/>
                  </a:lnTo>
                  <a:lnTo>
                    <a:pt x="29" y="14627"/>
                  </a:lnTo>
                  <a:lnTo>
                    <a:pt x="67" y="15058"/>
                  </a:lnTo>
                  <a:lnTo>
                    <a:pt x="115" y="15450"/>
                  </a:lnTo>
                  <a:lnTo>
                    <a:pt x="125" y="15489"/>
                  </a:lnTo>
                  <a:lnTo>
                    <a:pt x="144" y="15527"/>
                  </a:lnTo>
                  <a:lnTo>
                    <a:pt x="163" y="15556"/>
                  </a:lnTo>
                  <a:lnTo>
                    <a:pt x="192" y="15575"/>
                  </a:lnTo>
                  <a:lnTo>
                    <a:pt x="220" y="15594"/>
                  </a:lnTo>
                  <a:lnTo>
                    <a:pt x="249" y="15613"/>
                  </a:lnTo>
                  <a:lnTo>
                    <a:pt x="316" y="15623"/>
                  </a:lnTo>
                  <a:lnTo>
                    <a:pt x="383" y="15613"/>
                  </a:lnTo>
                  <a:lnTo>
                    <a:pt x="422" y="15604"/>
                  </a:lnTo>
                  <a:lnTo>
                    <a:pt x="450" y="15585"/>
                  </a:lnTo>
                  <a:lnTo>
                    <a:pt x="479" y="15565"/>
                  </a:lnTo>
                  <a:lnTo>
                    <a:pt x="498" y="15537"/>
                  </a:lnTo>
                  <a:lnTo>
                    <a:pt x="517" y="15498"/>
                  </a:lnTo>
                  <a:lnTo>
                    <a:pt x="537" y="15460"/>
                  </a:lnTo>
                  <a:lnTo>
                    <a:pt x="575" y="15288"/>
                  </a:lnTo>
                  <a:lnTo>
                    <a:pt x="632" y="15125"/>
                  </a:lnTo>
                  <a:lnTo>
                    <a:pt x="680" y="14962"/>
                  </a:lnTo>
                  <a:lnTo>
                    <a:pt x="738" y="14818"/>
                  </a:lnTo>
                  <a:lnTo>
                    <a:pt x="805" y="14675"/>
                  </a:lnTo>
                  <a:lnTo>
                    <a:pt x="872" y="14531"/>
                  </a:lnTo>
                  <a:lnTo>
                    <a:pt x="939" y="14406"/>
                  </a:lnTo>
                  <a:lnTo>
                    <a:pt x="1015" y="14272"/>
                  </a:lnTo>
                  <a:lnTo>
                    <a:pt x="1092" y="14157"/>
                  </a:lnTo>
                  <a:lnTo>
                    <a:pt x="1178" y="14043"/>
                  </a:lnTo>
                  <a:lnTo>
                    <a:pt x="1264" y="13928"/>
                  </a:lnTo>
                  <a:lnTo>
                    <a:pt x="1351" y="13822"/>
                  </a:lnTo>
                  <a:lnTo>
                    <a:pt x="1446" y="13717"/>
                  </a:lnTo>
                  <a:lnTo>
                    <a:pt x="1542" y="13621"/>
                  </a:lnTo>
                  <a:lnTo>
                    <a:pt x="1753" y="13439"/>
                  </a:lnTo>
                  <a:lnTo>
                    <a:pt x="1973" y="13276"/>
                  </a:lnTo>
                  <a:lnTo>
                    <a:pt x="2213" y="13123"/>
                  </a:lnTo>
                  <a:lnTo>
                    <a:pt x="2462" y="12979"/>
                  </a:lnTo>
                  <a:lnTo>
                    <a:pt x="2730" y="12836"/>
                  </a:lnTo>
                  <a:lnTo>
                    <a:pt x="3017" y="12711"/>
                  </a:lnTo>
                  <a:lnTo>
                    <a:pt x="3305" y="12587"/>
                  </a:lnTo>
                  <a:lnTo>
                    <a:pt x="3621" y="12472"/>
                  </a:lnTo>
                  <a:lnTo>
                    <a:pt x="3937" y="12357"/>
                  </a:lnTo>
                  <a:lnTo>
                    <a:pt x="4626" y="12117"/>
                  </a:lnTo>
                  <a:lnTo>
                    <a:pt x="5354" y="11868"/>
                  </a:lnTo>
                  <a:lnTo>
                    <a:pt x="6140" y="11591"/>
                  </a:lnTo>
                  <a:lnTo>
                    <a:pt x="6542" y="11437"/>
                  </a:lnTo>
                  <a:lnTo>
                    <a:pt x="6963" y="11274"/>
                  </a:lnTo>
                  <a:lnTo>
                    <a:pt x="7394" y="11092"/>
                  </a:lnTo>
                  <a:lnTo>
                    <a:pt x="7835" y="10891"/>
                  </a:lnTo>
                  <a:lnTo>
                    <a:pt x="8285" y="10671"/>
                  </a:lnTo>
                  <a:lnTo>
                    <a:pt x="8745" y="10441"/>
                  </a:lnTo>
                  <a:lnTo>
                    <a:pt x="9224" y="10183"/>
                  </a:lnTo>
                  <a:lnTo>
                    <a:pt x="9703" y="9895"/>
                  </a:lnTo>
                  <a:lnTo>
                    <a:pt x="10191" y="9589"/>
                  </a:lnTo>
                  <a:lnTo>
                    <a:pt x="10699" y="9263"/>
                  </a:lnTo>
                  <a:lnTo>
                    <a:pt x="11072" y="8985"/>
                  </a:lnTo>
                  <a:lnTo>
                    <a:pt x="11427" y="8708"/>
                  </a:lnTo>
                  <a:lnTo>
                    <a:pt x="11743" y="8420"/>
                  </a:lnTo>
                  <a:lnTo>
                    <a:pt x="12040" y="8133"/>
                  </a:lnTo>
                  <a:lnTo>
                    <a:pt x="12318" y="7836"/>
                  </a:lnTo>
                  <a:lnTo>
                    <a:pt x="12567" y="7529"/>
                  </a:lnTo>
                  <a:lnTo>
                    <a:pt x="12787" y="7223"/>
                  </a:lnTo>
                  <a:lnTo>
                    <a:pt x="12988" y="6916"/>
                  </a:lnTo>
                  <a:lnTo>
                    <a:pt x="13170" y="6610"/>
                  </a:lnTo>
                  <a:lnTo>
                    <a:pt x="13333" y="6294"/>
                  </a:lnTo>
                  <a:lnTo>
                    <a:pt x="13477" y="5987"/>
                  </a:lnTo>
                  <a:lnTo>
                    <a:pt x="13591" y="5671"/>
                  </a:lnTo>
                  <a:lnTo>
                    <a:pt x="13697" y="5355"/>
                  </a:lnTo>
                  <a:lnTo>
                    <a:pt x="13783" y="5039"/>
                  </a:lnTo>
                  <a:lnTo>
                    <a:pt x="13860" y="4733"/>
                  </a:lnTo>
                  <a:lnTo>
                    <a:pt x="13908" y="4417"/>
                  </a:lnTo>
                  <a:lnTo>
                    <a:pt x="13955" y="4110"/>
                  </a:lnTo>
                  <a:lnTo>
                    <a:pt x="13975" y="3804"/>
                  </a:lnTo>
                  <a:lnTo>
                    <a:pt x="13994" y="3497"/>
                  </a:lnTo>
                  <a:lnTo>
                    <a:pt x="13994" y="3200"/>
                  </a:lnTo>
                  <a:lnTo>
                    <a:pt x="13984" y="2913"/>
                  </a:lnTo>
                  <a:lnTo>
                    <a:pt x="13965" y="2616"/>
                  </a:lnTo>
                  <a:lnTo>
                    <a:pt x="13946" y="2338"/>
                  </a:lnTo>
                  <a:lnTo>
                    <a:pt x="13908" y="2060"/>
                  </a:lnTo>
                  <a:lnTo>
                    <a:pt x="13860" y="1792"/>
                  </a:lnTo>
                  <a:lnTo>
                    <a:pt x="13812" y="1524"/>
                  </a:lnTo>
                  <a:lnTo>
                    <a:pt x="13754" y="1275"/>
                  </a:lnTo>
                  <a:lnTo>
                    <a:pt x="13697" y="1026"/>
                  </a:lnTo>
                  <a:lnTo>
                    <a:pt x="13572" y="566"/>
                  </a:lnTo>
                  <a:lnTo>
                    <a:pt x="13429" y="145"/>
                  </a:lnTo>
                  <a:lnTo>
                    <a:pt x="13410" y="106"/>
                  </a:lnTo>
                  <a:lnTo>
                    <a:pt x="13390" y="68"/>
                  </a:lnTo>
                  <a:lnTo>
                    <a:pt x="13362" y="39"/>
                  </a:lnTo>
                  <a:lnTo>
                    <a:pt x="13333" y="20"/>
                  </a:lnTo>
                  <a:lnTo>
                    <a:pt x="13304" y="11"/>
                  </a:lnTo>
                  <a:lnTo>
                    <a:pt x="13266" y="1"/>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16"/>
            <p:cNvSpPr/>
            <p:nvPr/>
          </p:nvSpPr>
          <p:spPr>
            <a:xfrm>
              <a:off x="4470322" y="2242866"/>
              <a:ext cx="75159" cy="86768"/>
            </a:xfrm>
            <a:custGeom>
              <a:avLst/>
              <a:gdLst/>
              <a:ahLst/>
              <a:cxnLst/>
              <a:rect l="l" t="t" r="r" b="b"/>
              <a:pathLst>
                <a:path w="2117" h="2444" extrusionOk="0">
                  <a:moveTo>
                    <a:pt x="1226" y="154"/>
                  </a:moveTo>
                  <a:lnTo>
                    <a:pt x="1303" y="164"/>
                  </a:lnTo>
                  <a:lnTo>
                    <a:pt x="1370" y="173"/>
                  </a:lnTo>
                  <a:lnTo>
                    <a:pt x="1446" y="193"/>
                  </a:lnTo>
                  <a:lnTo>
                    <a:pt x="1513" y="221"/>
                  </a:lnTo>
                  <a:lnTo>
                    <a:pt x="1590" y="260"/>
                  </a:lnTo>
                  <a:lnTo>
                    <a:pt x="1657" y="307"/>
                  </a:lnTo>
                  <a:lnTo>
                    <a:pt x="1715" y="355"/>
                  </a:lnTo>
                  <a:lnTo>
                    <a:pt x="1772" y="422"/>
                  </a:lnTo>
                  <a:lnTo>
                    <a:pt x="1820" y="499"/>
                  </a:lnTo>
                  <a:lnTo>
                    <a:pt x="1868" y="576"/>
                  </a:lnTo>
                  <a:lnTo>
                    <a:pt x="1897" y="652"/>
                  </a:lnTo>
                  <a:lnTo>
                    <a:pt x="1925" y="748"/>
                  </a:lnTo>
                  <a:lnTo>
                    <a:pt x="1954" y="844"/>
                  </a:lnTo>
                  <a:lnTo>
                    <a:pt x="1964" y="949"/>
                  </a:lnTo>
                  <a:lnTo>
                    <a:pt x="1964" y="1055"/>
                  </a:lnTo>
                  <a:lnTo>
                    <a:pt x="1954" y="1160"/>
                  </a:lnTo>
                  <a:lnTo>
                    <a:pt x="1944" y="1265"/>
                  </a:lnTo>
                  <a:lnTo>
                    <a:pt x="1916" y="1371"/>
                  </a:lnTo>
                  <a:lnTo>
                    <a:pt x="1887" y="1476"/>
                  </a:lnTo>
                  <a:lnTo>
                    <a:pt x="1839" y="1572"/>
                  </a:lnTo>
                  <a:lnTo>
                    <a:pt x="1762" y="1725"/>
                  </a:lnTo>
                  <a:lnTo>
                    <a:pt x="1667" y="1869"/>
                  </a:lnTo>
                  <a:lnTo>
                    <a:pt x="1561" y="1984"/>
                  </a:lnTo>
                  <a:lnTo>
                    <a:pt x="1437" y="2089"/>
                  </a:lnTo>
                  <a:lnTo>
                    <a:pt x="1312" y="2175"/>
                  </a:lnTo>
                  <a:lnTo>
                    <a:pt x="1169" y="2233"/>
                  </a:lnTo>
                  <a:lnTo>
                    <a:pt x="1102" y="2261"/>
                  </a:lnTo>
                  <a:lnTo>
                    <a:pt x="1034" y="2271"/>
                  </a:lnTo>
                  <a:lnTo>
                    <a:pt x="958" y="2281"/>
                  </a:lnTo>
                  <a:lnTo>
                    <a:pt x="891" y="2290"/>
                  </a:lnTo>
                  <a:lnTo>
                    <a:pt x="814" y="2281"/>
                  </a:lnTo>
                  <a:lnTo>
                    <a:pt x="747" y="2271"/>
                  </a:lnTo>
                  <a:lnTo>
                    <a:pt x="671" y="2252"/>
                  </a:lnTo>
                  <a:lnTo>
                    <a:pt x="603" y="2223"/>
                  </a:lnTo>
                  <a:lnTo>
                    <a:pt x="536" y="2185"/>
                  </a:lnTo>
                  <a:lnTo>
                    <a:pt x="460" y="2137"/>
                  </a:lnTo>
                  <a:lnTo>
                    <a:pt x="402" y="2079"/>
                  </a:lnTo>
                  <a:lnTo>
                    <a:pt x="345" y="2022"/>
                  </a:lnTo>
                  <a:lnTo>
                    <a:pt x="297" y="1945"/>
                  </a:lnTo>
                  <a:lnTo>
                    <a:pt x="249" y="1869"/>
                  </a:lnTo>
                  <a:lnTo>
                    <a:pt x="220" y="1782"/>
                  </a:lnTo>
                  <a:lnTo>
                    <a:pt x="192" y="1696"/>
                  </a:lnTo>
                  <a:lnTo>
                    <a:pt x="163" y="1601"/>
                  </a:lnTo>
                  <a:lnTo>
                    <a:pt x="153" y="1495"/>
                  </a:lnTo>
                  <a:lnTo>
                    <a:pt x="153" y="1390"/>
                  </a:lnTo>
                  <a:lnTo>
                    <a:pt x="163" y="1284"/>
                  </a:lnTo>
                  <a:lnTo>
                    <a:pt x="172" y="1179"/>
                  </a:lnTo>
                  <a:lnTo>
                    <a:pt x="201" y="1074"/>
                  </a:lnTo>
                  <a:lnTo>
                    <a:pt x="230" y="968"/>
                  </a:lnTo>
                  <a:lnTo>
                    <a:pt x="278" y="863"/>
                  </a:lnTo>
                  <a:lnTo>
                    <a:pt x="354" y="719"/>
                  </a:lnTo>
                  <a:lnTo>
                    <a:pt x="450" y="576"/>
                  </a:lnTo>
                  <a:lnTo>
                    <a:pt x="556" y="461"/>
                  </a:lnTo>
                  <a:lnTo>
                    <a:pt x="680" y="355"/>
                  </a:lnTo>
                  <a:lnTo>
                    <a:pt x="814" y="269"/>
                  </a:lnTo>
                  <a:lnTo>
                    <a:pt x="948" y="212"/>
                  </a:lnTo>
                  <a:lnTo>
                    <a:pt x="1015" y="183"/>
                  </a:lnTo>
                  <a:lnTo>
                    <a:pt x="1082" y="173"/>
                  </a:lnTo>
                  <a:lnTo>
                    <a:pt x="1159" y="164"/>
                  </a:lnTo>
                  <a:lnTo>
                    <a:pt x="1226" y="154"/>
                  </a:lnTo>
                  <a:close/>
                  <a:moveTo>
                    <a:pt x="1226" y="1"/>
                  </a:moveTo>
                  <a:lnTo>
                    <a:pt x="1149" y="11"/>
                  </a:lnTo>
                  <a:lnTo>
                    <a:pt x="1063" y="20"/>
                  </a:lnTo>
                  <a:lnTo>
                    <a:pt x="987" y="39"/>
                  </a:lnTo>
                  <a:lnTo>
                    <a:pt x="910" y="58"/>
                  </a:lnTo>
                  <a:lnTo>
                    <a:pt x="833" y="87"/>
                  </a:lnTo>
                  <a:lnTo>
                    <a:pt x="757" y="125"/>
                  </a:lnTo>
                  <a:lnTo>
                    <a:pt x="680" y="173"/>
                  </a:lnTo>
                  <a:lnTo>
                    <a:pt x="603" y="221"/>
                  </a:lnTo>
                  <a:lnTo>
                    <a:pt x="536" y="279"/>
                  </a:lnTo>
                  <a:lnTo>
                    <a:pt x="469" y="336"/>
                  </a:lnTo>
                  <a:lnTo>
                    <a:pt x="402" y="403"/>
                  </a:lnTo>
                  <a:lnTo>
                    <a:pt x="335" y="470"/>
                  </a:lnTo>
                  <a:lnTo>
                    <a:pt x="278" y="547"/>
                  </a:lnTo>
                  <a:lnTo>
                    <a:pt x="230" y="633"/>
                  </a:lnTo>
                  <a:lnTo>
                    <a:pt x="182" y="710"/>
                  </a:lnTo>
                  <a:lnTo>
                    <a:pt x="134" y="806"/>
                  </a:lnTo>
                  <a:lnTo>
                    <a:pt x="86" y="920"/>
                  </a:lnTo>
                  <a:lnTo>
                    <a:pt x="48" y="1045"/>
                  </a:lnTo>
                  <a:lnTo>
                    <a:pt x="19" y="1160"/>
                  </a:lnTo>
                  <a:lnTo>
                    <a:pt x="10" y="1284"/>
                  </a:lnTo>
                  <a:lnTo>
                    <a:pt x="0" y="1399"/>
                  </a:lnTo>
                  <a:lnTo>
                    <a:pt x="0" y="1514"/>
                  </a:lnTo>
                  <a:lnTo>
                    <a:pt x="19" y="1629"/>
                  </a:lnTo>
                  <a:lnTo>
                    <a:pt x="38" y="1735"/>
                  </a:lnTo>
                  <a:lnTo>
                    <a:pt x="77" y="1840"/>
                  </a:lnTo>
                  <a:lnTo>
                    <a:pt x="115" y="1936"/>
                  </a:lnTo>
                  <a:lnTo>
                    <a:pt x="163" y="2032"/>
                  </a:lnTo>
                  <a:lnTo>
                    <a:pt x="220" y="2108"/>
                  </a:lnTo>
                  <a:lnTo>
                    <a:pt x="287" y="2194"/>
                  </a:lnTo>
                  <a:lnTo>
                    <a:pt x="364" y="2261"/>
                  </a:lnTo>
                  <a:lnTo>
                    <a:pt x="450" y="2319"/>
                  </a:lnTo>
                  <a:lnTo>
                    <a:pt x="546" y="2367"/>
                  </a:lnTo>
                  <a:lnTo>
                    <a:pt x="632" y="2395"/>
                  </a:lnTo>
                  <a:lnTo>
                    <a:pt x="718" y="2424"/>
                  </a:lnTo>
                  <a:lnTo>
                    <a:pt x="805" y="2434"/>
                  </a:lnTo>
                  <a:lnTo>
                    <a:pt x="891" y="2443"/>
                  </a:lnTo>
                  <a:lnTo>
                    <a:pt x="967" y="2434"/>
                  </a:lnTo>
                  <a:lnTo>
                    <a:pt x="1054" y="2424"/>
                  </a:lnTo>
                  <a:lnTo>
                    <a:pt x="1130" y="2405"/>
                  </a:lnTo>
                  <a:lnTo>
                    <a:pt x="1207" y="2386"/>
                  </a:lnTo>
                  <a:lnTo>
                    <a:pt x="1293" y="2357"/>
                  </a:lnTo>
                  <a:lnTo>
                    <a:pt x="1370" y="2319"/>
                  </a:lnTo>
                  <a:lnTo>
                    <a:pt x="1437" y="2271"/>
                  </a:lnTo>
                  <a:lnTo>
                    <a:pt x="1513" y="2223"/>
                  </a:lnTo>
                  <a:lnTo>
                    <a:pt x="1580" y="2166"/>
                  </a:lnTo>
                  <a:lnTo>
                    <a:pt x="1647" y="2108"/>
                  </a:lnTo>
                  <a:lnTo>
                    <a:pt x="1715" y="2041"/>
                  </a:lnTo>
                  <a:lnTo>
                    <a:pt x="1782" y="1974"/>
                  </a:lnTo>
                  <a:lnTo>
                    <a:pt x="1839" y="1897"/>
                  </a:lnTo>
                  <a:lnTo>
                    <a:pt x="1887" y="1811"/>
                  </a:lnTo>
                  <a:lnTo>
                    <a:pt x="1935" y="1725"/>
                  </a:lnTo>
                  <a:lnTo>
                    <a:pt x="1983" y="1639"/>
                  </a:lnTo>
                  <a:lnTo>
                    <a:pt x="2031" y="1524"/>
                  </a:lnTo>
                  <a:lnTo>
                    <a:pt x="2069" y="1399"/>
                  </a:lnTo>
                  <a:lnTo>
                    <a:pt x="2098" y="1284"/>
                  </a:lnTo>
                  <a:lnTo>
                    <a:pt x="2107" y="1160"/>
                  </a:lnTo>
                  <a:lnTo>
                    <a:pt x="2117" y="1045"/>
                  </a:lnTo>
                  <a:lnTo>
                    <a:pt x="2117" y="930"/>
                  </a:lnTo>
                  <a:lnTo>
                    <a:pt x="2098" y="815"/>
                  </a:lnTo>
                  <a:lnTo>
                    <a:pt x="2078" y="710"/>
                  </a:lnTo>
                  <a:lnTo>
                    <a:pt x="2040" y="604"/>
                  </a:lnTo>
                  <a:lnTo>
                    <a:pt x="2002" y="509"/>
                  </a:lnTo>
                  <a:lnTo>
                    <a:pt x="1954" y="413"/>
                  </a:lnTo>
                  <a:lnTo>
                    <a:pt x="1897" y="327"/>
                  </a:lnTo>
                  <a:lnTo>
                    <a:pt x="1829" y="250"/>
                  </a:lnTo>
                  <a:lnTo>
                    <a:pt x="1753" y="183"/>
                  </a:lnTo>
                  <a:lnTo>
                    <a:pt x="1667" y="125"/>
                  </a:lnTo>
                  <a:lnTo>
                    <a:pt x="1571" y="78"/>
                  </a:lnTo>
                  <a:lnTo>
                    <a:pt x="1494" y="49"/>
                  </a:lnTo>
                  <a:lnTo>
                    <a:pt x="1408" y="20"/>
                  </a:lnTo>
                  <a:lnTo>
                    <a:pt x="1312" y="11"/>
                  </a:lnTo>
                  <a:lnTo>
                    <a:pt x="1226"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16"/>
            <p:cNvSpPr/>
            <p:nvPr/>
          </p:nvSpPr>
          <p:spPr>
            <a:xfrm>
              <a:off x="4475754" y="2242866"/>
              <a:ext cx="64295" cy="81336"/>
            </a:xfrm>
            <a:custGeom>
              <a:avLst/>
              <a:gdLst/>
              <a:ahLst/>
              <a:cxnLst/>
              <a:rect l="l" t="t" r="r" b="b"/>
              <a:pathLst>
                <a:path w="1811" h="2291" fill="none" extrusionOk="0">
                  <a:moveTo>
                    <a:pt x="1073" y="1"/>
                  </a:moveTo>
                  <a:lnTo>
                    <a:pt x="1073" y="154"/>
                  </a:lnTo>
                  <a:lnTo>
                    <a:pt x="1073" y="154"/>
                  </a:lnTo>
                  <a:lnTo>
                    <a:pt x="1150" y="164"/>
                  </a:lnTo>
                  <a:lnTo>
                    <a:pt x="1217" y="173"/>
                  </a:lnTo>
                  <a:lnTo>
                    <a:pt x="1293" y="193"/>
                  </a:lnTo>
                  <a:lnTo>
                    <a:pt x="1360" y="221"/>
                  </a:lnTo>
                  <a:lnTo>
                    <a:pt x="1360" y="221"/>
                  </a:lnTo>
                  <a:lnTo>
                    <a:pt x="1437" y="260"/>
                  </a:lnTo>
                  <a:lnTo>
                    <a:pt x="1504" y="307"/>
                  </a:lnTo>
                  <a:lnTo>
                    <a:pt x="1562" y="355"/>
                  </a:lnTo>
                  <a:lnTo>
                    <a:pt x="1619" y="422"/>
                  </a:lnTo>
                  <a:lnTo>
                    <a:pt x="1667" y="499"/>
                  </a:lnTo>
                  <a:lnTo>
                    <a:pt x="1715" y="576"/>
                  </a:lnTo>
                  <a:lnTo>
                    <a:pt x="1744" y="652"/>
                  </a:lnTo>
                  <a:lnTo>
                    <a:pt x="1772" y="748"/>
                  </a:lnTo>
                  <a:lnTo>
                    <a:pt x="1772" y="748"/>
                  </a:lnTo>
                  <a:lnTo>
                    <a:pt x="1801" y="844"/>
                  </a:lnTo>
                  <a:lnTo>
                    <a:pt x="1811" y="949"/>
                  </a:lnTo>
                  <a:lnTo>
                    <a:pt x="1811" y="1055"/>
                  </a:lnTo>
                  <a:lnTo>
                    <a:pt x="1801" y="1160"/>
                  </a:lnTo>
                  <a:lnTo>
                    <a:pt x="1791" y="1265"/>
                  </a:lnTo>
                  <a:lnTo>
                    <a:pt x="1763" y="1371"/>
                  </a:lnTo>
                  <a:lnTo>
                    <a:pt x="1734" y="1476"/>
                  </a:lnTo>
                  <a:lnTo>
                    <a:pt x="1686" y="1572"/>
                  </a:lnTo>
                  <a:lnTo>
                    <a:pt x="1686" y="1572"/>
                  </a:lnTo>
                  <a:lnTo>
                    <a:pt x="1609" y="1725"/>
                  </a:lnTo>
                  <a:lnTo>
                    <a:pt x="1514" y="1869"/>
                  </a:lnTo>
                  <a:lnTo>
                    <a:pt x="1408" y="1984"/>
                  </a:lnTo>
                  <a:lnTo>
                    <a:pt x="1284" y="2089"/>
                  </a:lnTo>
                  <a:lnTo>
                    <a:pt x="1159" y="2175"/>
                  </a:lnTo>
                  <a:lnTo>
                    <a:pt x="1016" y="2233"/>
                  </a:lnTo>
                  <a:lnTo>
                    <a:pt x="949" y="2261"/>
                  </a:lnTo>
                  <a:lnTo>
                    <a:pt x="881" y="2271"/>
                  </a:lnTo>
                  <a:lnTo>
                    <a:pt x="805" y="2281"/>
                  </a:lnTo>
                  <a:lnTo>
                    <a:pt x="738" y="2290"/>
                  </a:lnTo>
                  <a:lnTo>
                    <a:pt x="738" y="2290"/>
                  </a:lnTo>
                  <a:lnTo>
                    <a:pt x="661" y="2281"/>
                  </a:lnTo>
                  <a:lnTo>
                    <a:pt x="594" y="2271"/>
                  </a:lnTo>
                  <a:lnTo>
                    <a:pt x="518" y="2252"/>
                  </a:lnTo>
                  <a:lnTo>
                    <a:pt x="450" y="2223"/>
                  </a:lnTo>
                  <a:lnTo>
                    <a:pt x="450" y="2223"/>
                  </a:lnTo>
                  <a:lnTo>
                    <a:pt x="383" y="2185"/>
                  </a:lnTo>
                  <a:lnTo>
                    <a:pt x="307" y="2137"/>
                  </a:lnTo>
                  <a:lnTo>
                    <a:pt x="249" y="2079"/>
                  </a:lnTo>
                  <a:lnTo>
                    <a:pt x="192" y="2022"/>
                  </a:lnTo>
                  <a:lnTo>
                    <a:pt x="144" y="1945"/>
                  </a:lnTo>
                  <a:lnTo>
                    <a:pt x="96" y="1869"/>
                  </a:lnTo>
                  <a:lnTo>
                    <a:pt x="67" y="1782"/>
                  </a:lnTo>
                  <a:lnTo>
                    <a:pt x="39" y="1696"/>
                  </a:lnTo>
                  <a:lnTo>
                    <a:pt x="39" y="1696"/>
                  </a:lnTo>
                  <a:lnTo>
                    <a:pt x="10" y="1601"/>
                  </a:lnTo>
                  <a:lnTo>
                    <a:pt x="0" y="1495"/>
                  </a:lnTo>
                  <a:lnTo>
                    <a:pt x="0" y="1390"/>
                  </a:lnTo>
                  <a:lnTo>
                    <a:pt x="10" y="1284"/>
                  </a:lnTo>
                  <a:lnTo>
                    <a:pt x="19" y="1179"/>
                  </a:lnTo>
                  <a:lnTo>
                    <a:pt x="48" y="1074"/>
                  </a:lnTo>
                  <a:lnTo>
                    <a:pt x="77" y="968"/>
                  </a:lnTo>
                  <a:lnTo>
                    <a:pt x="125" y="863"/>
                  </a:lnTo>
                  <a:lnTo>
                    <a:pt x="125" y="863"/>
                  </a:lnTo>
                  <a:lnTo>
                    <a:pt x="201" y="719"/>
                  </a:lnTo>
                  <a:lnTo>
                    <a:pt x="297" y="576"/>
                  </a:lnTo>
                  <a:lnTo>
                    <a:pt x="403" y="461"/>
                  </a:lnTo>
                  <a:lnTo>
                    <a:pt x="527" y="355"/>
                  </a:lnTo>
                  <a:lnTo>
                    <a:pt x="661" y="269"/>
                  </a:lnTo>
                  <a:lnTo>
                    <a:pt x="795" y="212"/>
                  </a:lnTo>
                  <a:lnTo>
                    <a:pt x="862" y="183"/>
                  </a:lnTo>
                  <a:lnTo>
                    <a:pt x="929" y="173"/>
                  </a:lnTo>
                  <a:lnTo>
                    <a:pt x="1006" y="164"/>
                  </a:lnTo>
                  <a:lnTo>
                    <a:pt x="1073" y="154"/>
                  </a:lnTo>
                  <a:lnTo>
                    <a:pt x="1073"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6" name="Google Shape;296;p16"/>
            <p:cNvSpPr/>
            <p:nvPr/>
          </p:nvSpPr>
          <p:spPr>
            <a:xfrm>
              <a:off x="4406384" y="2223517"/>
              <a:ext cx="77218" cy="52721"/>
            </a:xfrm>
            <a:custGeom>
              <a:avLst/>
              <a:gdLst/>
              <a:ahLst/>
              <a:cxnLst/>
              <a:rect l="l" t="t" r="r" b="b"/>
              <a:pathLst>
                <a:path w="2175" h="1485" extrusionOk="0">
                  <a:moveTo>
                    <a:pt x="67" y="0"/>
                  </a:moveTo>
                  <a:lnTo>
                    <a:pt x="0" y="125"/>
                  </a:lnTo>
                  <a:lnTo>
                    <a:pt x="1916" y="1485"/>
                  </a:lnTo>
                  <a:lnTo>
                    <a:pt x="2175" y="1054"/>
                  </a:lnTo>
                  <a:lnTo>
                    <a:pt x="6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16"/>
            <p:cNvSpPr/>
            <p:nvPr/>
          </p:nvSpPr>
          <p:spPr>
            <a:xfrm>
              <a:off x="3584526" y="2124539"/>
              <a:ext cx="794368" cy="951147"/>
            </a:xfrm>
            <a:custGeom>
              <a:avLst/>
              <a:gdLst/>
              <a:ahLst/>
              <a:cxnLst/>
              <a:rect l="l" t="t" r="r" b="b"/>
              <a:pathLst>
                <a:path w="22375" h="26791" extrusionOk="0">
                  <a:moveTo>
                    <a:pt x="13984" y="1"/>
                  </a:moveTo>
                  <a:lnTo>
                    <a:pt x="13572" y="20"/>
                  </a:lnTo>
                  <a:lnTo>
                    <a:pt x="13362" y="30"/>
                  </a:lnTo>
                  <a:lnTo>
                    <a:pt x="13151" y="49"/>
                  </a:lnTo>
                  <a:lnTo>
                    <a:pt x="12940" y="77"/>
                  </a:lnTo>
                  <a:lnTo>
                    <a:pt x="12739" y="106"/>
                  </a:lnTo>
                  <a:lnTo>
                    <a:pt x="12528" y="154"/>
                  </a:lnTo>
                  <a:lnTo>
                    <a:pt x="12318" y="192"/>
                  </a:lnTo>
                  <a:lnTo>
                    <a:pt x="12116" y="250"/>
                  </a:lnTo>
                  <a:lnTo>
                    <a:pt x="11906" y="307"/>
                  </a:lnTo>
                  <a:lnTo>
                    <a:pt x="11705" y="384"/>
                  </a:lnTo>
                  <a:lnTo>
                    <a:pt x="11513" y="461"/>
                  </a:lnTo>
                  <a:lnTo>
                    <a:pt x="11312" y="547"/>
                  </a:lnTo>
                  <a:lnTo>
                    <a:pt x="11120" y="643"/>
                  </a:lnTo>
                  <a:lnTo>
                    <a:pt x="10938" y="748"/>
                  </a:lnTo>
                  <a:lnTo>
                    <a:pt x="10747" y="863"/>
                  </a:lnTo>
                  <a:lnTo>
                    <a:pt x="10574" y="987"/>
                  </a:lnTo>
                  <a:lnTo>
                    <a:pt x="10402" y="1121"/>
                  </a:lnTo>
                  <a:lnTo>
                    <a:pt x="10230" y="1265"/>
                  </a:lnTo>
                  <a:lnTo>
                    <a:pt x="10067" y="1418"/>
                  </a:lnTo>
                  <a:lnTo>
                    <a:pt x="9913" y="1591"/>
                  </a:lnTo>
                  <a:lnTo>
                    <a:pt x="9770" y="1773"/>
                  </a:lnTo>
                  <a:lnTo>
                    <a:pt x="9626" y="1964"/>
                  </a:lnTo>
                  <a:lnTo>
                    <a:pt x="9492" y="2165"/>
                  </a:lnTo>
                  <a:lnTo>
                    <a:pt x="9367" y="2386"/>
                  </a:lnTo>
                  <a:lnTo>
                    <a:pt x="9253" y="2616"/>
                  </a:lnTo>
                  <a:lnTo>
                    <a:pt x="9147" y="2855"/>
                  </a:lnTo>
                  <a:lnTo>
                    <a:pt x="9042" y="3114"/>
                  </a:lnTo>
                  <a:lnTo>
                    <a:pt x="8956" y="3382"/>
                  </a:lnTo>
                  <a:lnTo>
                    <a:pt x="8879" y="3669"/>
                  </a:lnTo>
                  <a:lnTo>
                    <a:pt x="8812" y="3966"/>
                  </a:lnTo>
                  <a:lnTo>
                    <a:pt x="8754" y="4282"/>
                  </a:lnTo>
                  <a:lnTo>
                    <a:pt x="8707" y="4617"/>
                  </a:lnTo>
                  <a:lnTo>
                    <a:pt x="8678" y="4962"/>
                  </a:lnTo>
                  <a:lnTo>
                    <a:pt x="8649" y="5317"/>
                  </a:lnTo>
                  <a:lnTo>
                    <a:pt x="8640" y="5700"/>
                  </a:lnTo>
                  <a:lnTo>
                    <a:pt x="8553" y="5738"/>
                  </a:lnTo>
                  <a:lnTo>
                    <a:pt x="8314" y="5872"/>
                  </a:lnTo>
                  <a:lnTo>
                    <a:pt x="7931" y="6092"/>
                  </a:lnTo>
                  <a:lnTo>
                    <a:pt x="7433" y="6389"/>
                  </a:lnTo>
                  <a:lnTo>
                    <a:pt x="7145" y="6571"/>
                  </a:lnTo>
                  <a:lnTo>
                    <a:pt x="6839" y="6782"/>
                  </a:lnTo>
                  <a:lnTo>
                    <a:pt x="6513" y="7002"/>
                  </a:lnTo>
                  <a:lnTo>
                    <a:pt x="6168" y="7251"/>
                  </a:lnTo>
                  <a:lnTo>
                    <a:pt x="5814" y="7520"/>
                  </a:lnTo>
                  <a:lnTo>
                    <a:pt x="5450" y="7817"/>
                  </a:lnTo>
                  <a:lnTo>
                    <a:pt x="5076" y="8123"/>
                  </a:lnTo>
                  <a:lnTo>
                    <a:pt x="4703" y="8458"/>
                  </a:lnTo>
                  <a:lnTo>
                    <a:pt x="4320" y="8813"/>
                  </a:lnTo>
                  <a:lnTo>
                    <a:pt x="3937" y="9186"/>
                  </a:lnTo>
                  <a:lnTo>
                    <a:pt x="3563" y="9588"/>
                  </a:lnTo>
                  <a:lnTo>
                    <a:pt x="3190" y="10000"/>
                  </a:lnTo>
                  <a:lnTo>
                    <a:pt x="2816" y="10441"/>
                  </a:lnTo>
                  <a:lnTo>
                    <a:pt x="2462" y="10910"/>
                  </a:lnTo>
                  <a:lnTo>
                    <a:pt x="2289" y="11140"/>
                  </a:lnTo>
                  <a:lnTo>
                    <a:pt x="2126" y="11389"/>
                  </a:lnTo>
                  <a:lnTo>
                    <a:pt x="1954" y="11638"/>
                  </a:lnTo>
                  <a:lnTo>
                    <a:pt x="1801" y="11887"/>
                  </a:lnTo>
                  <a:lnTo>
                    <a:pt x="1638" y="12155"/>
                  </a:lnTo>
                  <a:lnTo>
                    <a:pt x="1485" y="12414"/>
                  </a:lnTo>
                  <a:lnTo>
                    <a:pt x="1341" y="12682"/>
                  </a:lnTo>
                  <a:lnTo>
                    <a:pt x="1197" y="12960"/>
                  </a:lnTo>
                  <a:lnTo>
                    <a:pt x="1063" y="13247"/>
                  </a:lnTo>
                  <a:lnTo>
                    <a:pt x="939" y="13525"/>
                  </a:lnTo>
                  <a:lnTo>
                    <a:pt x="814" y="13822"/>
                  </a:lnTo>
                  <a:lnTo>
                    <a:pt x="699" y="14119"/>
                  </a:lnTo>
                  <a:lnTo>
                    <a:pt x="594" y="14416"/>
                  </a:lnTo>
                  <a:lnTo>
                    <a:pt x="489" y="14722"/>
                  </a:lnTo>
                  <a:lnTo>
                    <a:pt x="402" y="15038"/>
                  </a:lnTo>
                  <a:lnTo>
                    <a:pt x="316" y="15354"/>
                  </a:lnTo>
                  <a:lnTo>
                    <a:pt x="240" y="15680"/>
                  </a:lnTo>
                  <a:lnTo>
                    <a:pt x="173" y="16006"/>
                  </a:lnTo>
                  <a:lnTo>
                    <a:pt x="115" y="16341"/>
                  </a:lnTo>
                  <a:lnTo>
                    <a:pt x="67" y="16676"/>
                  </a:lnTo>
                  <a:lnTo>
                    <a:pt x="29" y="17079"/>
                  </a:lnTo>
                  <a:lnTo>
                    <a:pt x="0" y="17471"/>
                  </a:lnTo>
                  <a:lnTo>
                    <a:pt x="0" y="17854"/>
                  </a:lnTo>
                  <a:lnTo>
                    <a:pt x="19" y="18238"/>
                  </a:lnTo>
                  <a:lnTo>
                    <a:pt x="48" y="18611"/>
                  </a:lnTo>
                  <a:lnTo>
                    <a:pt x="96" y="18985"/>
                  </a:lnTo>
                  <a:lnTo>
                    <a:pt x="163" y="19339"/>
                  </a:lnTo>
                  <a:lnTo>
                    <a:pt x="249" y="19703"/>
                  </a:lnTo>
                  <a:lnTo>
                    <a:pt x="355" y="20048"/>
                  </a:lnTo>
                  <a:lnTo>
                    <a:pt x="469" y="20393"/>
                  </a:lnTo>
                  <a:lnTo>
                    <a:pt x="594" y="20728"/>
                  </a:lnTo>
                  <a:lnTo>
                    <a:pt x="747" y="21063"/>
                  </a:lnTo>
                  <a:lnTo>
                    <a:pt x="900" y="21389"/>
                  </a:lnTo>
                  <a:lnTo>
                    <a:pt x="1082" y="21705"/>
                  </a:lnTo>
                  <a:lnTo>
                    <a:pt x="1264" y="22011"/>
                  </a:lnTo>
                  <a:lnTo>
                    <a:pt x="1466" y="22308"/>
                  </a:lnTo>
                  <a:lnTo>
                    <a:pt x="1686" y="22605"/>
                  </a:lnTo>
                  <a:lnTo>
                    <a:pt x="1906" y="22892"/>
                  </a:lnTo>
                  <a:lnTo>
                    <a:pt x="2146" y="23170"/>
                  </a:lnTo>
                  <a:lnTo>
                    <a:pt x="2395" y="23438"/>
                  </a:lnTo>
                  <a:lnTo>
                    <a:pt x="2663" y="23697"/>
                  </a:lnTo>
                  <a:lnTo>
                    <a:pt x="2931" y="23946"/>
                  </a:lnTo>
                  <a:lnTo>
                    <a:pt x="3209" y="24186"/>
                  </a:lnTo>
                  <a:lnTo>
                    <a:pt x="3506" y="24425"/>
                  </a:lnTo>
                  <a:lnTo>
                    <a:pt x="3803" y="24645"/>
                  </a:lnTo>
                  <a:lnTo>
                    <a:pt x="4119" y="24866"/>
                  </a:lnTo>
                  <a:lnTo>
                    <a:pt x="4435" y="25067"/>
                  </a:lnTo>
                  <a:lnTo>
                    <a:pt x="4760" y="25268"/>
                  </a:lnTo>
                  <a:lnTo>
                    <a:pt x="5096" y="25450"/>
                  </a:lnTo>
                  <a:lnTo>
                    <a:pt x="5440" y="25622"/>
                  </a:lnTo>
                  <a:lnTo>
                    <a:pt x="5785" y="25795"/>
                  </a:lnTo>
                  <a:lnTo>
                    <a:pt x="6140" y="25948"/>
                  </a:lnTo>
                  <a:lnTo>
                    <a:pt x="6542" y="26101"/>
                  </a:lnTo>
                  <a:lnTo>
                    <a:pt x="6954" y="26245"/>
                  </a:lnTo>
                  <a:lnTo>
                    <a:pt x="7375" y="26369"/>
                  </a:lnTo>
                  <a:lnTo>
                    <a:pt x="7806" y="26475"/>
                  </a:lnTo>
                  <a:lnTo>
                    <a:pt x="8247" y="26561"/>
                  </a:lnTo>
                  <a:lnTo>
                    <a:pt x="8687" y="26638"/>
                  </a:lnTo>
                  <a:lnTo>
                    <a:pt x="9147" y="26705"/>
                  </a:lnTo>
                  <a:lnTo>
                    <a:pt x="9597" y="26743"/>
                  </a:lnTo>
                  <a:lnTo>
                    <a:pt x="10057" y="26772"/>
                  </a:lnTo>
                  <a:lnTo>
                    <a:pt x="10517" y="26791"/>
                  </a:lnTo>
                  <a:lnTo>
                    <a:pt x="10977" y="26791"/>
                  </a:lnTo>
                  <a:lnTo>
                    <a:pt x="11436" y="26781"/>
                  </a:lnTo>
                  <a:lnTo>
                    <a:pt x="11887" y="26752"/>
                  </a:lnTo>
                  <a:lnTo>
                    <a:pt x="12337" y="26714"/>
                  </a:lnTo>
                  <a:lnTo>
                    <a:pt x="12787" y="26657"/>
                  </a:lnTo>
                  <a:lnTo>
                    <a:pt x="13227" y="26590"/>
                  </a:lnTo>
                  <a:lnTo>
                    <a:pt x="13658" y="26513"/>
                  </a:lnTo>
                  <a:lnTo>
                    <a:pt x="14080" y="26427"/>
                  </a:lnTo>
                  <a:lnTo>
                    <a:pt x="14492" y="26321"/>
                  </a:lnTo>
                  <a:lnTo>
                    <a:pt x="14884" y="26206"/>
                  </a:lnTo>
                  <a:lnTo>
                    <a:pt x="15277" y="26082"/>
                  </a:lnTo>
                  <a:lnTo>
                    <a:pt x="15641" y="25938"/>
                  </a:lnTo>
                  <a:lnTo>
                    <a:pt x="15996" y="25795"/>
                  </a:lnTo>
                  <a:lnTo>
                    <a:pt x="16340" y="25632"/>
                  </a:lnTo>
                  <a:lnTo>
                    <a:pt x="16656" y="25459"/>
                  </a:lnTo>
                  <a:lnTo>
                    <a:pt x="16953" y="25287"/>
                  </a:lnTo>
                  <a:lnTo>
                    <a:pt x="17231" y="25095"/>
                  </a:lnTo>
                  <a:lnTo>
                    <a:pt x="17490" y="24894"/>
                  </a:lnTo>
                  <a:lnTo>
                    <a:pt x="17605" y="24789"/>
                  </a:lnTo>
                  <a:lnTo>
                    <a:pt x="17720" y="24684"/>
                  </a:lnTo>
                  <a:lnTo>
                    <a:pt x="17825" y="24578"/>
                  </a:lnTo>
                  <a:lnTo>
                    <a:pt x="17921" y="24473"/>
                  </a:lnTo>
                  <a:lnTo>
                    <a:pt x="18017" y="24358"/>
                  </a:lnTo>
                  <a:lnTo>
                    <a:pt x="18103" y="24243"/>
                  </a:lnTo>
                  <a:lnTo>
                    <a:pt x="18179" y="24128"/>
                  </a:lnTo>
                  <a:lnTo>
                    <a:pt x="18246" y="24004"/>
                  </a:lnTo>
                  <a:lnTo>
                    <a:pt x="18371" y="23774"/>
                  </a:lnTo>
                  <a:lnTo>
                    <a:pt x="18495" y="23534"/>
                  </a:lnTo>
                  <a:lnTo>
                    <a:pt x="18601" y="23285"/>
                  </a:lnTo>
                  <a:lnTo>
                    <a:pt x="18706" y="23017"/>
                  </a:lnTo>
                  <a:lnTo>
                    <a:pt x="18802" y="22758"/>
                  </a:lnTo>
                  <a:lnTo>
                    <a:pt x="18888" y="22481"/>
                  </a:lnTo>
                  <a:lnTo>
                    <a:pt x="18965" y="22193"/>
                  </a:lnTo>
                  <a:lnTo>
                    <a:pt x="19041" y="21906"/>
                  </a:lnTo>
                  <a:lnTo>
                    <a:pt x="19108" y="21609"/>
                  </a:lnTo>
                  <a:lnTo>
                    <a:pt x="19166" y="21312"/>
                  </a:lnTo>
                  <a:lnTo>
                    <a:pt x="19223" y="21006"/>
                  </a:lnTo>
                  <a:lnTo>
                    <a:pt x="19271" y="20690"/>
                  </a:lnTo>
                  <a:lnTo>
                    <a:pt x="19310" y="20373"/>
                  </a:lnTo>
                  <a:lnTo>
                    <a:pt x="19348" y="20057"/>
                  </a:lnTo>
                  <a:lnTo>
                    <a:pt x="19405" y="19406"/>
                  </a:lnTo>
                  <a:lnTo>
                    <a:pt x="19444" y="18736"/>
                  </a:lnTo>
                  <a:lnTo>
                    <a:pt x="19463" y="18065"/>
                  </a:lnTo>
                  <a:lnTo>
                    <a:pt x="19463" y="17385"/>
                  </a:lnTo>
                  <a:lnTo>
                    <a:pt x="19444" y="16705"/>
                  </a:lnTo>
                  <a:lnTo>
                    <a:pt x="19415" y="16025"/>
                  </a:lnTo>
                  <a:lnTo>
                    <a:pt x="19367" y="15345"/>
                  </a:lnTo>
                  <a:lnTo>
                    <a:pt x="19319" y="14684"/>
                  </a:lnTo>
                  <a:lnTo>
                    <a:pt x="19252" y="14023"/>
                  </a:lnTo>
                  <a:lnTo>
                    <a:pt x="19185" y="13381"/>
                  </a:lnTo>
                  <a:lnTo>
                    <a:pt x="19099" y="12759"/>
                  </a:lnTo>
                  <a:lnTo>
                    <a:pt x="19022" y="12146"/>
                  </a:lnTo>
                  <a:lnTo>
                    <a:pt x="18936" y="11571"/>
                  </a:lnTo>
                  <a:lnTo>
                    <a:pt x="18754" y="10498"/>
                  </a:lnTo>
                  <a:lnTo>
                    <a:pt x="18582" y="9560"/>
                  </a:lnTo>
                  <a:lnTo>
                    <a:pt x="18428" y="8774"/>
                  </a:lnTo>
                  <a:lnTo>
                    <a:pt x="18304" y="8190"/>
                  </a:lnTo>
                  <a:lnTo>
                    <a:pt x="18179" y="7692"/>
                  </a:lnTo>
                  <a:lnTo>
                    <a:pt x="18361" y="7663"/>
                  </a:lnTo>
                  <a:lnTo>
                    <a:pt x="18553" y="7625"/>
                  </a:lnTo>
                  <a:lnTo>
                    <a:pt x="18811" y="7567"/>
                  </a:lnTo>
                  <a:lnTo>
                    <a:pt x="19118" y="7491"/>
                  </a:lnTo>
                  <a:lnTo>
                    <a:pt x="19463" y="7395"/>
                  </a:lnTo>
                  <a:lnTo>
                    <a:pt x="19827" y="7280"/>
                  </a:lnTo>
                  <a:lnTo>
                    <a:pt x="20210" y="7136"/>
                  </a:lnTo>
                  <a:lnTo>
                    <a:pt x="20401" y="7060"/>
                  </a:lnTo>
                  <a:lnTo>
                    <a:pt x="20593" y="6974"/>
                  </a:lnTo>
                  <a:lnTo>
                    <a:pt x="20785" y="6878"/>
                  </a:lnTo>
                  <a:lnTo>
                    <a:pt x="20967" y="6782"/>
                  </a:lnTo>
                  <a:lnTo>
                    <a:pt x="21149" y="6677"/>
                  </a:lnTo>
                  <a:lnTo>
                    <a:pt x="21321" y="6571"/>
                  </a:lnTo>
                  <a:lnTo>
                    <a:pt x="21493" y="6456"/>
                  </a:lnTo>
                  <a:lnTo>
                    <a:pt x="21647" y="6322"/>
                  </a:lnTo>
                  <a:lnTo>
                    <a:pt x="21790" y="6198"/>
                  </a:lnTo>
                  <a:lnTo>
                    <a:pt x="21924" y="6054"/>
                  </a:lnTo>
                  <a:lnTo>
                    <a:pt x="22039" y="5910"/>
                  </a:lnTo>
                  <a:lnTo>
                    <a:pt x="22145" y="5757"/>
                  </a:lnTo>
                  <a:lnTo>
                    <a:pt x="22231" y="5594"/>
                  </a:lnTo>
                  <a:lnTo>
                    <a:pt x="22298" y="5422"/>
                  </a:lnTo>
                  <a:lnTo>
                    <a:pt x="22346" y="5240"/>
                  </a:lnTo>
                  <a:lnTo>
                    <a:pt x="22375" y="5058"/>
                  </a:lnTo>
                  <a:lnTo>
                    <a:pt x="22202" y="4943"/>
                  </a:lnTo>
                  <a:lnTo>
                    <a:pt x="21733" y="4627"/>
                  </a:lnTo>
                  <a:lnTo>
                    <a:pt x="21417" y="4397"/>
                  </a:lnTo>
                  <a:lnTo>
                    <a:pt x="21053" y="4139"/>
                  </a:lnTo>
                  <a:lnTo>
                    <a:pt x="20670" y="3851"/>
                  </a:lnTo>
                  <a:lnTo>
                    <a:pt x="20258" y="3535"/>
                  </a:lnTo>
                  <a:lnTo>
                    <a:pt x="19846" y="3190"/>
                  </a:lnTo>
                  <a:lnTo>
                    <a:pt x="19434" y="2836"/>
                  </a:lnTo>
                  <a:lnTo>
                    <a:pt x="19032" y="2462"/>
                  </a:lnTo>
                  <a:lnTo>
                    <a:pt x="18840" y="2271"/>
                  </a:lnTo>
                  <a:lnTo>
                    <a:pt x="18658" y="2089"/>
                  </a:lnTo>
                  <a:lnTo>
                    <a:pt x="18486" y="1897"/>
                  </a:lnTo>
                  <a:lnTo>
                    <a:pt x="18313" y="1706"/>
                  </a:lnTo>
                  <a:lnTo>
                    <a:pt x="18160" y="1514"/>
                  </a:lnTo>
                  <a:lnTo>
                    <a:pt x="18026" y="1323"/>
                  </a:lnTo>
                  <a:lnTo>
                    <a:pt x="17902" y="1131"/>
                  </a:lnTo>
                  <a:lnTo>
                    <a:pt x="17787" y="949"/>
                  </a:lnTo>
                  <a:lnTo>
                    <a:pt x="17691" y="767"/>
                  </a:lnTo>
                  <a:lnTo>
                    <a:pt x="17624" y="585"/>
                  </a:lnTo>
                  <a:lnTo>
                    <a:pt x="17518" y="556"/>
                  </a:lnTo>
                  <a:lnTo>
                    <a:pt x="17241" y="470"/>
                  </a:lnTo>
                  <a:lnTo>
                    <a:pt x="16800" y="355"/>
                  </a:lnTo>
                  <a:lnTo>
                    <a:pt x="16522" y="288"/>
                  </a:lnTo>
                  <a:lnTo>
                    <a:pt x="16225" y="231"/>
                  </a:lnTo>
                  <a:lnTo>
                    <a:pt x="15900" y="164"/>
                  </a:lnTo>
                  <a:lnTo>
                    <a:pt x="15545" y="116"/>
                  </a:lnTo>
                  <a:lnTo>
                    <a:pt x="15181" y="68"/>
                  </a:lnTo>
                  <a:lnTo>
                    <a:pt x="14798" y="30"/>
                  </a:lnTo>
                  <a:lnTo>
                    <a:pt x="14396" y="10"/>
                  </a:lnTo>
                  <a:lnTo>
                    <a:pt x="13984"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8" name="Google Shape;298;p16"/>
            <p:cNvSpPr/>
            <p:nvPr/>
          </p:nvSpPr>
          <p:spPr>
            <a:xfrm>
              <a:off x="4538982" y="2285041"/>
              <a:ext cx="25207" cy="21799"/>
            </a:xfrm>
            <a:custGeom>
              <a:avLst/>
              <a:gdLst/>
              <a:ahLst/>
              <a:cxnLst/>
              <a:rect l="l" t="t" r="r" b="b"/>
              <a:pathLst>
                <a:path w="710" h="614" extrusionOk="0">
                  <a:moveTo>
                    <a:pt x="144" y="1"/>
                  </a:moveTo>
                  <a:lnTo>
                    <a:pt x="1" y="413"/>
                  </a:lnTo>
                  <a:lnTo>
                    <a:pt x="566" y="614"/>
                  </a:lnTo>
                  <a:lnTo>
                    <a:pt x="710" y="211"/>
                  </a:lnTo>
                  <a:lnTo>
                    <a:pt x="144"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9" name="Google Shape;299;p16"/>
          <p:cNvGrpSpPr/>
          <p:nvPr/>
        </p:nvGrpSpPr>
        <p:grpSpPr>
          <a:xfrm>
            <a:off x="6033350" y="1109875"/>
            <a:ext cx="2577300" cy="596100"/>
            <a:chOff x="6033350" y="1109875"/>
            <a:chExt cx="2577300" cy="596100"/>
          </a:xfrm>
        </p:grpSpPr>
        <p:sp>
          <p:nvSpPr>
            <p:cNvPr id="301" name="Google Shape;301;p16"/>
            <p:cNvSpPr txBox="1"/>
            <p:nvPr/>
          </p:nvSpPr>
          <p:spPr>
            <a:xfrm>
              <a:off x="6629450" y="1261177"/>
              <a:ext cx="19812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solidFill>
                    <a:srgbClr val="000000"/>
                  </a:solidFill>
                  <a:latin typeface="Fira Sans Extra Condensed"/>
                  <a:ea typeface="Fira Sans Extra Condensed"/>
                  <a:cs typeface="Fira Sans Extra Condensed"/>
                  <a:sym typeface="Fira Sans Extra Condensed"/>
                </a:rPr>
                <a:t>M</a:t>
              </a:r>
              <a:r>
                <a:rPr lang="en-US" sz="1800" b="1">
                  <a:latin typeface="Fira Sans Extra Condensed"/>
                  <a:ea typeface="Fira Sans Extra Condensed"/>
                  <a:cs typeface="Fira Sans Extra Condensed"/>
                  <a:sym typeface="Fira Sans Extra Condensed"/>
                </a:rPr>
                <a:t>ô hình huấn luyện</a:t>
              </a:r>
            </a:p>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Random Forest (RF)  </a:t>
              </a:r>
              <a:endParaRPr sz="1800" b="1">
                <a:solidFill>
                  <a:srgbClr val="000000"/>
                </a:solidFill>
                <a:latin typeface="Fira Sans Extra Condensed"/>
                <a:ea typeface="Fira Sans Extra Condensed"/>
                <a:cs typeface="Fira Sans Extra Condensed"/>
                <a:sym typeface="Fira Sans Extra Condensed"/>
              </a:endParaRPr>
            </a:p>
          </p:txBody>
        </p:sp>
        <p:sp>
          <p:nvSpPr>
            <p:cNvPr id="303" name="Google Shape;303;p16"/>
            <p:cNvSpPr/>
            <p:nvPr/>
          </p:nvSpPr>
          <p:spPr>
            <a:xfrm>
              <a:off x="6033350" y="1109875"/>
              <a:ext cx="596100" cy="596100"/>
            </a:xfrm>
            <a:prstGeom prst="ellipse">
              <a:avLst/>
            </a:pr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4</a:t>
              </a:r>
              <a:endParaRPr sz="1800">
                <a:solidFill>
                  <a:schemeClr val="lt1"/>
                </a:solidFill>
              </a:endParaRPr>
            </a:p>
          </p:txBody>
        </p:sp>
      </p:grpSp>
      <p:grpSp>
        <p:nvGrpSpPr>
          <p:cNvPr id="304" name="Google Shape;304;p16"/>
          <p:cNvGrpSpPr/>
          <p:nvPr/>
        </p:nvGrpSpPr>
        <p:grpSpPr>
          <a:xfrm>
            <a:off x="3297248" y="2589598"/>
            <a:ext cx="2599910" cy="596100"/>
            <a:chOff x="3297248" y="2589598"/>
            <a:chExt cx="2599910" cy="596100"/>
          </a:xfrm>
        </p:grpSpPr>
        <p:sp>
          <p:nvSpPr>
            <p:cNvPr id="306" name="Google Shape;306;p16"/>
            <p:cNvSpPr txBox="1"/>
            <p:nvPr/>
          </p:nvSpPr>
          <p:spPr>
            <a:xfrm>
              <a:off x="3915958" y="2665793"/>
              <a:ext cx="19812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T</a:t>
              </a:r>
              <a:r>
                <a:rPr lang="en" sz="1800" b="1">
                  <a:latin typeface="Fira Sans Extra Condensed"/>
                  <a:ea typeface="Fira Sans Extra Condensed"/>
                  <a:cs typeface="Fira Sans Extra Condensed"/>
                  <a:sym typeface="Fira Sans Extra Condensed"/>
                </a:rPr>
                <a:t>ổng quan lý thuyết nghiên cứu</a:t>
              </a:r>
              <a:endParaRPr sz="1800" b="1">
                <a:solidFill>
                  <a:srgbClr val="000000"/>
                </a:solidFill>
                <a:latin typeface="Fira Sans Extra Condensed"/>
                <a:ea typeface="Fira Sans Extra Condensed"/>
                <a:cs typeface="Fira Sans Extra Condensed"/>
                <a:sym typeface="Fira Sans Extra Condensed"/>
              </a:endParaRPr>
            </a:p>
          </p:txBody>
        </p:sp>
        <p:sp>
          <p:nvSpPr>
            <p:cNvPr id="308" name="Google Shape;308;p16"/>
            <p:cNvSpPr/>
            <p:nvPr/>
          </p:nvSpPr>
          <p:spPr>
            <a:xfrm>
              <a:off x="3297248" y="2589598"/>
              <a:ext cx="596100" cy="5961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2</a:t>
              </a:r>
              <a:endParaRPr sz="1800">
                <a:solidFill>
                  <a:schemeClr val="lt1"/>
                </a:solidFill>
              </a:endParaRPr>
            </a:p>
          </p:txBody>
        </p:sp>
      </p:grpSp>
      <p:grpSp>
        <p:nvGrpSpPr>
          <p:cNvPr id="309" name="Google Shape;309;p16"/>
          <p:cNvGrpSpPr/>
          <p:nvPr/>
        </p:nvGrpSpPr>
        <p:grpSpPr>
          <a:xfrm>
            <a:off x="3297248" y="4055023"/>
            <a:ext cx="2591278" cy="596100"/>
            <a:chOff x="3297248" y="4055023"/>
            <a:chExt cx="2591278" cy="596100"/>
          </a:xfrm>
        </p:grpSpPr>
        <p:sp>
          <p:nvSpPr>
            <p:cNvPr id="311" name="Google Shape;311;p16"/>
            <p:cNvSpPr txBox="1"/>
            <p:nvPr/>
          </p:nvSpPr>
          <p:spPr>
            <a:xfrm>
              <a:off x="3907326" y="4201995"/>
              <a:ext cx="19812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G</a:t>
              </a:r>
              <a:r>
                <a:rPr lang="en" sz="1800" b="1">
                  <a:latin typeface="Fira Sans Extra Condensed"/>
                  <a:ea typeface="Fira Sans Extra Condensed"/>
                  <a:cs typeface="Fira Sans Extra Condensed"/>
                  <a:sym typeface="Fira Sans Extra Condensed"/>
                </a:rPr>
                <a:t>iới thiệu về tập dữ liệu (Dataset)</a:t>
              </a:r>
              <a:endParaRPr sz="1800" b="1">
                <a:solidFill>
                  <a:srgbClr val="000000"/>
                </a:solidFill>
                <a:latin typeface="Fira Sans Extra Condensed"/>
                <a:ea typeface="Fira Sans Extra Condensed"/>
                <a:cs typeface="Fira Sans Extra Condensed"/>
                <a:sym typeface="Fira Sans Extra Condensed"/>
              </a:endParaRPr>
            </a:p>
          </p:txBody>
        </p:sp>
        <p:sp>
          <p:nvSpPr>
            <p:cNvPr id="313" name="Google Shape;313;p16"/>
            <p:cNvSpPr/>
            <p:nvPr/>
          </p:nvSpPr>
          <p:spPr>
            <a:xfrm>
              <a:off x="3297248" y="4055023"/>
              <a:ext cx="596100" cy="5961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3</a:t>
              </a:r>
              <a:endParaRPr sz="1800">
                <a:solidFill>
                  <a:schemeClr val="lt1"/>
                </a:solidFill>
              </a:endParaRPr>
            </a:p>
          </p:txBody>
        </p:sp>
      </p:grpSp>
      <p:grpSp>
        <p:nvGrpSpPr>
          <p:cNvPr id="314" name="Google Shape;314;p16"/>
          <p:cNvGrpSpPr/>
          <p:nvPr/>
        </p:nvGrpSpPr>
        <p:grpSpPr>
          <a:xfrm>
            <a:off x="6033350" y="2616950"/>
            <a:ext cx="2653473" cy="596100"/>
            <a:chOff x="6033350" y="2616950"/>
            <a:chExt cx="2653473" cy="596100"/>
          </a:xfrm>
        </p:grpSpPr>
        <p:sp>
          <p:nvSpPr>
            <p:cNvPr id="316" name="Google Shape;316;p16"/>
            <p:cNvSpPr txBox="1"/>
            <p:nvPr/>
          </p:nvSpPr>
          <p:spPr>
            <a:xfrm>
              <a:off x="6705623" y="2704921"/>
              <a:ext cx="19812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Mô hình huấn luyện </a:t>
              </a:r>
            </a:p>
            <a:p>
              <a:pPr marL="0" lvl="0" indent="0" algn="ctr" rtl="0">
                <a:spcBef>
                  <a:spcPts val="0"/>
                </a:spcBef>
                <a:spcAft>
                  <a:spcPts val="0"/>
                </a:spcAft>
                <a:buNone/>
              </a:pPr>
              <a:r>
                <a:rPr lang="en-US" sz="1800" b="1">
                  <a:latin typeface="Fira Sans Extra Condensed"/>
                  <a:ea typeface="Fira Sans Extra Condensed"/>
                  <a:cs typeface="Fira Sans Extra Condensed"/>
                  <a:sym typeface="Fira Sans Extra Condensed"/>
                </a:rPr>
                <a:t>Support Vector Machine (SVM)</a:t>
              </a:r>
              <a:endParaRPr sz="1800" b="1">
                <a:solidFill>
                  <a:srgbClr val="000000"/>
                </a:solidFill>
                <a:latin typeface="Fira Sans Extra Condensed"/>
                <a:ea typeface="Fira Sans Extra Condensed"/>
                <a:cs typeface="Fira Sans Extra Condensed"/>
                <a:sym typeface="Fira Sans Extra Condensed"/>
              </a:endParaRPr>
            </a:p>
          </p:txBody>
        </p:sp>
        <p:sp>
          <p:nvSpPr>
            <p:cNvPr id="318" name="Google Shape;318;p16"/>
            <p:cNvSpPr/>
            <p:nvPr/>
          </p:nvSpPr>
          <p:spPr>
            <a:xfrm>
              <a:off x="6033350" y="2616950"/>
              <a:ext cx="596100" cy="5961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5</a:t>
              </a:r>
              <a:endParaRPr sz="1800">
                <a:solidFill>
                  <a:schemeClr val="lt1"/>
                </a:solidFill>
              </a:endParaRPr>
            </a:p>
          </p:txBody>
        </p:sp>
      </p:grpSp>
      <p:grpSp>
        <p:nvGrpSpPr>
          <p:cNvPr id="319" name="Google Shape;319;p16"/>
          <p:cNvGrpSpPr/>
          <p:nvPr/>
        </p:nvGrpSpPr>
        <p:grpSpPr>
          <a:xfrm>
            <a:off x="6033350" y="4056000"/>
            <a:ext cx="3110650" cy="596100"/>
            <a:chOff x="6033350" y="4056000"/>
            <a:chExt cx="3110650" cy="596100"/>
          </a:xfrm>
        </p:grpSpPr>
        <p:sp>
          <p:nvSpPr>
            <p:cNvPr id="321" name="Google Shape;321;p16"/>
            <p:cNvSpPr txBox="1"/>
            <p:nvPr/>
          </p:nvSpPr>
          <p:spPr>
            <a:xfrm>
              <a:off x="7162800" y="4201995"/>
              <a:ext cx="1981200" cy="331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800" b="1">
                  <a:latin typeface="Fira Sans Extra Condensed"/>
                  <a:ea typeface="Fira Sans Extra Condensed"/>
                  <a:cs typeface="Fira Sans Extra Condensed"/>
                  <a:sym typeface="Fira Sans Extra Condensed"/>
                </a:rPr>
                <a:t>K</a:t>
              </a:r>
              <a:r>
                <a:rPr lang="en" sz="1800" b="1">
                  <a:latin typeface="Fira Sans Extra Condensed"/>
                  <a:ea typeface="Fira Sans Extra Condensed"/>
                  <a:cs typeface="Fira Sans Extra Condensed"/>
                  <a:sym typeface="Fira Sans Extra Condensed"/>
                </a:rPr>
                <a:t>ết luận</a:t>
              </a:r>
              <a:endParaRPr sz="1800" b="1">
                <a:solidFill>
                  <a:srgbClr val="000000"/>
                </a:solidFill>
                <a:latin typeface="Fira Sans Extra Condensed"/>
                <a:ea typeface="Fira Sans Extra Condensed"/>
                <a:cs typeface="Fira Sans Extra Condensed"/>
                <a:sym typeface="Fira Sans Extra Condensed"/>
              </a:endParaRPr>
            </a:p>
          </p:txBody>
        </p:sp>
        <p:sp>
          <p:nvSpPr>
            <p:cNvPr id="323" name="Google Shape;323;p16"/>
            <p:cNvSpPr/>
            <p:nvPr/>
          </p:nvSpPr>
          <p:spPr>
            <a:xfrm>
              <a:off x="6033350" y="4056000"/>
              <a:ext cx="596100" cy="596100"/>
            </a:xfrm>
            <a:prstGeom prst="ellipse">
              <a:avLst/>
            </a:prstGeom>
            <a:solidFill>
              <a:schemeClr val="accent4">
                <a:lumMod val="7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Fira Sans Extra Condensed"/>
                  <a:cs typeface="Fira Sans Extra Condensed"/>
                  <a:sym typeface="Fira Sans Extra Condensed"/>
                </a:rPr>
                <a:t>06</a:t>
              </a:r>
              <a:endParaRPr sz="1800">
                <a:solidFill>
                  <a:schemeClr val="lt1"/>
                </a:solidFill>
              </a:endParaRPr>
            </a:p>
          </p:txBody>
        </p:sp>
      </p:grpSp>
      <p:cxnSp>
        <p:nvCxnSpPr>
          <p:cNvPr id="324" name="Google Shape;324;p16"/>
          <p:cNvCxnSpPr>
            <a:stCxn id="237" idx="4"/>
            <a:endCxn id="308" idx="0"/>
          </p:cNvCxnSpPr>
          <p:nvPr/>
        </p:nvCxnSpPr>
        <p:spPr>
          <a:xfrm>
            <a:off x="3595299" y="1705974"/>
            <a:ext cx="0" cy="88350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25" name="Google Shape;325;p16"/>
          <p:cNvCxnSpPr>
            <a:stCxn id="308" idx="4"/>
            <a:endCxn id="313" idx="0"/>
          </p:cNvCxnSpPr>
          <p:nvPr/>
        </p:nvCxnSpPr>
        <p:spPr>
          <a:xfrm>
            <a:off x="3595298" y="3185698"/>
            <a:ext cx="0" cy="86940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26" name="Google Shape;326;p16"/>
          <p:cNvCxnSpPr>
            <a:stCxn id="303" idx="4"/>
            <a:endCxn id="318" idx="0"/>
          </p:cNvCxnSpPr>
          <p:nvPr/>
        </p:nvCxnSpPr>
        <p:spPr>
          <a:xfrm>
            <a:off x="6331400" y="1705975"/>
            <a:ext cx="0" cy="91110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27" name="Google Shape;327;p16"/>
          <p:cNvCxnSpPr>
            <a:stCxn id="318" idx="4"/>
            <a:endCxn id="323" idx="0"/>
          </p:cNvCxnSpPr>
          <p:nvPr/>
        </p:nvCxnSpPr>
        <p:spPr>
          <a:xfrm>
            <a:off x="6331400" y="3213050"/>
            <a:ext cx="0" cy="84300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04069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wipe(left)">
                                      <p:cBhvr>
                                        <p:cTn id="7"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FA795D-BDEB-A978-A901-59041EB6C22B}"/>
              </a:ext>
            </a:extLst>
          </p:cNvPr>
          <p:cNvGrpSpPr/>
          <p:nvPr/>
        </p:nvGrpSpPr>
        <p:grpSpPr>
          <a:xfrm>
            <a:off x="1302818" y="1648501"/>
            <a:ext cx="1577990" cy="2114296"/>
            <a:chOff x="1120102" y="1442744"/>
            <a:chExt cx="2616789" cy="4017801"/>
          </a:xfrm>
        </p:grpSpPr>
        <p:sp>
          <p:nvSpPr>
            <p:cNvPr id="25" name="Rectangle 24"/>
            <p:cNvSpPr/>
            <p:nvPr/>
          </p:nvSpPr>
          <p:spPr>
            <a:xfrm>
              <a:off x="1120102" y="1860545"/>
              <a:ext cx="2616789" cy="3600000"/>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18900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vi-VN" b="1"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rPr>
                <a:t>Xử lý tốt không gian đa chiều, linh hoạt với nhiều dạng dữ liệu</a:t>
              </a:r>
              <a:endParaRPr kumimoji="0" lang="vi-VN" b="1"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13" name="Clipboard2"/>
            <p:cNvSpPr>
              <a:spLocks noChangeAspect="1" noEditPoints="1"/>
            </p:cNvSpPr>
            <p:nvPr>
              <p:custDataLst>
                <p:tags r:id="rId4"/>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68580" tIns="189000" rIns="68580" bIns="34290" numCol="1" anchor="t" anchorCtr="0" compatLnSpc="1">
              <a:prstTxWarp prst="textNoShape">
                <a:avLst/>
              </a:prstTxWarp>
            </a:bodyPr>
            <a:lstStyle/>
            <a:p>
              <a:endParaRPr lang="en-US"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7" name="Group 16">
            <a:extLst>
              <a:ext uri="{FF2B5EF4-FFF2-40B4-BE49-F238E27FC236}">
                <a16:creationId xmlns:a16="http://schemas.microsoft.com/office/drawing/2014/main" id="{674037C0-D45D-457B-155C-D6382E51D3B4}"/>
              </a:ext>
            </a:extLst>
          </p:cNvPr>
          <p:cNvGrpSpPr/>
          <p:nvPr/>
        </p:nvGrpSpPr>
        <p:grpSpPr>
          <a:xfrm>
            <a:off x="3910570" y="1648501"/>
            <a:ext cx="1577990" cy="2114296"/>
            <a:chOff x="1120102" y="1442744"/>
            <a:chExt cx="2616789" cy="4017801"/>
          </a:xfrm>
        </p:grpSpPr>
        <p:sp>
          <p:nvSpPr>
            <p:cNvPr id="18" name="Rectangle 17">
              <a:extLst>
                <a:ext uri="{FF2B5EF4-FFF2-40B4-BE49-F238E27FC236}">
                  <a16:creationId xmlns:a16="http://schemas.microsoft.com/office/drawing/2014/main" id="{055DB89F-7AD9-2C8C-1989-DD1C37AB38D3}"/>
                </a:ext>
              </a:extLst>
            </p:cNvPr>
            <p:cNvSpPr/>
            <p:nvPr/>
          </p:nvSpPr>
          <p:spPr>
            <a:xfrm>
              <a:off x="1120102" y="1860545"/>
              <a:ext cx="2616789" cy="3600000"/>
            </a:xfrm>
            <a:prstGeom prst="rect">
              <a:avLst/>
            </a:prstGeom>
            <a:solidFill>
              <a:srgbClr val="F2F2F2"/>
            </a:solidFill>
            <a:ln w="76200">
              <a:solidFill>
                <a:schemeClr val="accent2"/>
              </a:solidFill>
            </a:ln>
            <a:effectLst>
              <a:outerShdw blurRad="50800" dist="38100" dir="10800000" algn="r" rotWithShape="0">
                <a:prstClr val="black">
                  <a:alpha val="40000"/>
                </a:prstClr>
              </a:outerShdw>
            </a:effectLst>
          </p:spPr>
          <p:txBody>
            <a:bodyPr wrap="square" tIns="18900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vi-VN" b="1"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rPr>
                <a:t>Xử lý tốt không gian đa chiều, linh hoạt với nhiều dạng dữ liệu</a:t>
              </a:r>
              <a:endParaRPr kumimoji="0" lang="vi-VN" b="1"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20" name="Clipboard2">
              <a:extLst>
                <a:ext uri="{FF2B5EF4-FFF2-40B4-BE49-F238E27FC236}">
                  <a16:creationId xmlns:a16="http://schemas.microsoft.com/office/drawing/2014/main" id="{A4AA87BB-12F1-0054-186F-0489FD720EF3}"/>
                </a:ext>
              </a:extLst>
            </p:cNvPr>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68580" tIns="189000" rIns="68580" bIns="34290" numCol="1" anchor="t" anchorCtr="0" compatLnSpc="1">
              <a:prstTxWarp prst="textNoShape">
                <a:avLst/>
              </a:prstTxWarp>
            </a:bodyPr>
            <a:lstStyle/>
            <a:p>
              <a:endParaRPr lang="en-US" dirty="0">
                <a:latin typeface="Tahoma" panose="020B0604030504040204" pitchFamily="34" charset="0"/>
                <a:ea typeface="Tahoma" panose="020B0604030504040204" pitchFamily="34" charset="0"/>
                <a:cs typeface="Tahoma" panose="020B0604030504040204" pitchFamily="34" charset="0"/>
              </a:endParaRPr>
            </a:p>
          </p:txBody>
        </p:sp>
      </p:grpSp>
      <p:grpSp>
        <p:nvGrpSpPr>
          <p:cNvPr id="22" name="Group 21">
            <a:extLst>
              <a:ext uri="{FF2B5EF4-FFF2-40B4-BE49-F238E27FC236}">
                <a16:creationId xmlns:a16="http://schemas.microsoft.com/office/drawing/2014/main" id="{94CE0AA8-0C7B-3EB5-AA72-B3861EFC9907}"/>
              </a:ext>
            </a:extLst>
          </p:cNvPr>
          <p:cNvGrpSpPr/>
          <p:nvPr/>
        </p:nvGrpSpPr>
        <p:grpSpPr>
          <a:xfrm>
            <a:off x="6518323" y="1648501"/>
            <a:ext cx="1577990" cy="2114296"/>
            <a:chOff x="1120102" y="1442744"/>
            <a:chExt cx="2616789" cy="4017801"/>
          </a:xfrm>
        </p:grpSpPr>
        <p:sp>
          <p:nvSpPr>
            <p:cNvPr id="24" name="Rectangle 23">
              <a:extLst>
                <a:ext uri="{FF2B5EF4-FFF2-40B4-BE49-F238E27FC236}">
                  <a16:creationId xmlns:a16="http://schemas.microsoft.com/office/drawing/2014/main" id="{70413AEF-95A3-EB7E-6253-5996FD5C716D}"/>
                </a:ext>
              </a:extLst>
            </p:cNvPr>
            <p:cNvSpPr/>
            <p:nvPr/>
          </p:nvSpPr>
          <p:spPr>
            <a:xfrm>
              <a:off x="1120102" y="1860545"/>
              <a:ext cx="2616789" cy="3600000"/>
            </a:xfrm>
            <a:prstGeom prst="rect">
              <a:avLst/>
            </a:prstGeom>
            <a:solidFill>
              <a:srgbClr val="F2F2F2"/>
            </a:solidFill>
            <a:ln w="76200">
              <a:solidFill>
                <a:schemeClr val="accent3"/>
              </a:solidFill>
            </a:ln>
            <a:effectLst>
              <a:outerShdw blurRad="50800" dist="38100" dir="10800000" algn="r" rotWithShape="0">
                <a:prstClr val="black">
                  <a:alpha val="40000"/>
                </a:prstClr>
              </a:outerShdw>
            </a:effectLst>
          </p:spPr>
          <p:txBody>
            <a:bodyPr wrap="square" tIns="18900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E0E0E"/>
                  </a:solidFill>
                  <a:effectLst/>
                  <a:uLnTx/>
                  <a:uFillTx/>
                  <a:latin typeface="Tahoma" panose="020B0604030504040204" pitchFamily="34" charset="0"/>
                  <a:ea typeface="Tahoma" panose="020B0604030504040204" pitchFamily="34" charset="0"/>
                  <a:cs typeface="Tahoma" panose="020B0604030504040204" pitchFamily="34" charset="0"/>
                  <a:sym typeface="Arial"/>
                </a:rPr>
                <a:t>Ứng dụng rộng rãi</a:t>
              </a:r>
              <a:endParaRPr kumimoji="0" lang="en-US" b="0" i="0" u="none" strike="noStrike" kern="0" cap="none" spc="0" normalizeH="0" baseline="0" noProof="0" dirty="0">
                <a:ln>
                  <a:noFill/>
                </a:ln>
                <a:solidFill>
                  <a:srgbClr val="0E0E0E"/>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26" name="Clipboard2">
              <a:extLst>
                <a:ext uri="{FF2B5EF4-FFF2-40B4-BE49-F238E27FC236}">
                  <a16:creationId xmlns:a16="http://schemas.microsoft.com/office/drawing/2014/main" id="{875EE6DE-D10F-71DC-7495-F40E1B313353}"/>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68580" tIns="189000" rIns="68580" bIns="34290" numCol="1" anchor="t" anchorCtr="0" compatLnSpc="1">
              <a:prstTxWarp prst="textNoShape">
                <a:avLst/>
              </a:prstTxWarp>
            </a:bodyPr>
            <a:lstStyle/>
            <a:p>
              <a:endParaRPr lang="en-US" dirty="0">
                <a:latin typeface="Tahoma" panose="020B0604030504040204" pitchFamily="34" charset="0"/>
                <a:ea typeface="Tahoma" panose="020B0604030504040204" pitchFamily="34" charset="0"/>
                <a:cs typeface="Tahoma" panose="020B0604030504040204" pitchFamily="34" charset="0"/>
              </a:endParaRPr>
            </a:p>
          </p:txBody>
        </p:sp>
      </p:grpSp>
      <p:sp>
        <p:nvSpPr>
          <p:cNvPr id="14" name="Rectangle 45">
            <a:extLst>
              <a:ext uri="{FF2B5EF4-FFF2-40B4-BE49-F238E27FC236}">
                <a16:creationId xmlns:a16="http://schemas.microsoft.com/office/drawing/2014/main" id="{8BEFB4C8-4443-46C8-8339-67E5AC643525}"/>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5" name="Google Shape;412;p18">
            <a:extLst>
              <a:ext uri="{FF2B5EF4-FFF2-40B4-BE49-F238E27FC236}">
                <a16:creationId xmlns:a16="http://schemas.microsoft.com/office/drawing/2014/main" id="{F57160E0-F35E-4EBD-9AC4-1D218A29E857}"/>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ƯU ĐIỂM MÔ </a:t>
            </a:r>
            <a:r>
              <a:rPr lang="en-US" dirty="0">
                <a:solidFill>
                  <a:schemeClr val="bg1"/>
                </a:solidFill>
              </a:rPr>
              <a:t>HÌNH SUPPORT VECTOR MACHINE (SVM)</a:t>
            </a:r>
          </a:p>
        </p:txBody>
      </p:sp>
    </p:spTree>
    <p:custDataLst>
      <p:tags r:id="rId1"/>
    </p:custDataLst>
    <p:extLst>
      <p:ext uri="{BB962C8B-B14F-4D97-AF65-F5344CB8AC3E}">
        <p14:creationId xmlns:p14="http://schemas.microsoft.com/office/powerpoint/2010/main" val="4154995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 coins arrondis 10">
            <a:extLst>
              <a:ext uri="{FF2B5EF4-FFF2-40B4-BE49-F238E27FC236}">
                <a16:creationId xmlns:a16="http://schemas.microsoft.com/office/drawing/2014/main" id="{D1EFD667-44CF-145D-4063-3222013E6A62}"/>
              </a:ext>
            </a:extLst>
          </p:cNvPr>
          <p:cNvSpPr/>
          <p:nvPr/>
        </p:nvSpPr>
        <p:spPr>
          <a:xfrm rot="10800000" flipV="1">
            <a:off x="618450" y="1668307"/>
            <a:ext cx="1968050" cy="2043914"/>
          </a:xfrm>
          <a:prstGeom prst="roundRect">
            <a:avLst>
              <a:gd name="adj" fmla="val 9095"/>
            </a:avLst>
          </a:prstGeom>
          <a:solidFill>
            <a:schemeClr val="lt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tIns="324000" rtlCol="0" anchor="ct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vi-VN" b="1"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rPr>
              <a:t>Thời gian training model rất lâu</a:t>
            </a:r>
            <a:endParaRPr kumimoji="0" lang="vi-VN" b="1"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4" name="Rectangle : avec coins arrondis en haut 12">
            <a:extLst>
              <a:ext uri="{FF2B5EF4-FFF2-40B4-BE49-F238E27FC236}">
                <a16:creationId xmlns:a16="http://schemas.microsoft.com/office/drawing/2014/main" id="{35B68536-971C-5C63-8988-043E992AF9C1}"/>
              </a:ext>
            </a:extLst>
          </p:cNvPr>
          <p:cNvSpPr/>
          <p:nvPr/>
        </p:nvSpPr>
        <p:spPr>
          <a:xfrm rot="10800000" flipH="1" flipV="1">
            <a:off x="618453" y="1665928"/>
            <a:ext cx="1968050" cy="285044"/>
          </a:xfrm>
          <a:prstGeom prst="round2SameRect">
            <a:avLst>
              <a:gd name="adj1" fmla="val 46658"/>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Rectangle : coins arrondis 22">
            <a:extLst>
              <a:ext uri="{FF2B5EF4-FFF2-40B4-BE49-F238E27FC236}">
                <a16:creationId xmlns:a16="http://schemas.microsoft.com/office/drawing/2014/main" id="{D63A7EB9-0131-DB2E-E690-ACED89981AD7}"/>
              </a:ext>
            </a:extLst>
          </p:cNvPr>
          <p:cNvSpPr/>
          <p:nvPr/>
        </p:nvSpPr>
        <p:spPr>
          <a:xfrm rot="10800000" flipV="1">
            <a:off x="3587969" y="1668307"/>
            <a:ext cx="1968050" cy="2043914"/>
          </a:xfrm>
          <a:prstGeom prst="roundRect">
            <a:avLst>
              <a:gd name="adj" fmla="val 9095"/>
            </a:avLst>
          </a:prstGeom>
          <a:solidFill>
            <a:schemeClr val="lt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tIns="324000" rtlCol="0" anchor="ct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vi-VN" b="1"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sym typeface="Arial"/>
              </a:rPr>
              <a:t>Khó khăn trong việc chọn Kernel và siêu trọng số áp dụng vào bài toán</a:t>
            </a:r>
          </a:p>
        </p:txBody>
      </p:sp>
      <p:sp>
        <p:nvSpPr>
          <p:cNvPr id="6" name="Rectangle : avec coins arrondis en haut 23">
            <a:extLst>
              <a:ext uri="{FF2B5EF4-FFF2-40B4-BE49-F238E27FC236}">
                <a16:creationId xmlns:a16="http://schemas.microsoft.com/office/drawing/2014/main" id="{FD48C63C-165A-B80B-ECE6-F5F789EBAF63}"/>
              </a:ext>
            </a:extLst>
          </p:cNvPr>
          <p:cNvSpPr/>
          <p:nvPr/>
        </p:nvSpPr>
        <p:spPr>
          <a:xfrm rot="10800000" flipH="1" flipV="1">
            <a:off x="3587972" y="1665928"/>
            <a:ext cx="1968050" cy="285044"/>
          </a:xfrm>
          <a:prstGeom prst="round2SameRect">
            <a:avLst>
              <a:gd name="adj1" fmla="val 46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7" name="Rectangle : coins arrondis 31">
            <a:extLst>
              <a:ext uri="{FF2B5EF4-FFF2-40B4-BE49-F238E27FC236}">
                <a16:creationId xmlns:a16="http://schemas.microsoft.com/office/drawing/2014/main" id="{81039102-90C0-A26D-8D12-EE99DFF5BCC2}"/>
              </a:ext>
            </a:extLst>
          </p:cNvPr>
          <p:cNvSpPr/>
          <p:nvPr/>
        </p:nvSpPr>
        <p:spPr>
          <a:xfrm rot="10800000" flipV="1">
            <a:off x="6557495" y="1668307"/>
            <a:ext cx="1968050" cy="2043914"/>
          </a:xfrm>
          <a:prstGeom prst="roundRect">
            <a:avLst>
              <a:gd name="adj" fmla="val 9095"/>
            </a:avLst>
          </a:prstGeom>
          <a:solidFill>
            <a:schemeClr val="lt1"/>
          </a:solidFill>
          <a:ln>
            <a:solidFill>
              <a:srgbClr val="D9D9D9"/>
            </a:solidFill>
          </a:ln>
          <a:effectLst/>
        </p:spPr>
        <p:style>
          <a:lnRef idx="2">
            <a:schemeClr val="accent1">
              <a:shade val="50000"/>
            </a:schemeClr>
          </a:lnRef>
          <a:fillRef idx="1">
            <a:schemeClr val="accent1"/>
          </a:fillRef>
          <a:effectRef idx="0">
            <a:schemeClr val="accent1"/>
          </a:effectRef>
          <a:fontRef idx="minor">
            <a:schemeClr val="lt1"/>
          </a:fontRef>
        </p:style>
        <p:txBody>
          <a:bodyPr tIns="324000" rtlCol="0" anchor="ct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a:ln>
                  <a:noFill/>
                </a:ln>
                <a:solidFill>
                  <a:srgbClr val="0E0E0E"/>
                </a:solidFill>
                <a:effectLst/>
                <a:uLnTx/>
                <a:uFillTx/>
                <a:latin typeface="Tahoma" panose="020B0604030504040204" pitchFamily="34" charset="0"/>
                <a:ea typeface="Tahoma" panose="020B0604030504040204" pitchFamily="34" charset="0"/>
                <a:cs typeface="Tahoma" panose="020B0604030504040204" pitchFamily="34" charset="0"/>
                <a:sym typeface="Arial"/>
              </a:rPr>
              <a:t>Không phù hợp với các tập dữ liệu có sự chồng chéo đáng kể giữa các lớp</a:t>
            </a:r>
          </a:p>
        </p:txBody>
      </p:sp>
      <p:sp>
        <p:nvSpPr>
          <p:cNvPr id="8" name="Rectangle : avec coins arrondis en haut 32">
            <a:extLst>
              <a:ext uri="{FF2B5EF4-FFF2-40B4-BE49-F238E27FC236}">
                <a16:creationId xmlns:a16="http://schemas.microsoft.com/office/drawing/2014/main" id="{7930C015-F1A4-9C02-2AA7-0C2B1CBAAEFE}"/>
              </a:ext>
            </a:extLst>
          </p:cNvPr>
          <p:cNvSpPr/>
          <p:nvPr/>
        </p:nvSpPr>
        <p:spPr>
          <a:xfrm rot="10800000" flipH="1" flipV="1">
            <a:off x="6557498" y="1665928"/>
            <a:ext cx="1968050" cy="285044"/>
          </a:xfrm>
          <a:prstGeom prst="round2SameRect">
            <a:avLst>
              <a:gd name="adj1" fmla="val 4665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2" name="Organigramme : Décision 6 - 1">
            <a:extLst>
              <a:ext uri="{FF2B5EF4-FFF2-40B4-BE49-F238E27FC236}">
                <a16:creationId xmlns:a16="http://schemas.microsoft.com/office/drawing/2014/main" id="{C3D34FC9-373F-86A4-5E4F-70170624D6CF}"/>
              </a:ext>
            </a:extLst>
          </p:cNvPr>
          <p:cNvSpPr/>
          <p:nvPr/>
        </p:nvSpPr>
        <p:spPr>
          <a:xfrm>
            <a:off x="1233520" y="1336976"/>
            <a:ext cx="737909" cy="924026"/>
          </a:xfrm>
          <a:prstGeom prst="flowChartDecision">
            <a:avLst/>
          </a:prstGeom>
          <a:solidFill>
            <a:schemeClr val="accent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buClrTx/>
              <a:defRPr/>
            </a:pPr>
            <a:r>
              <a:rPr lang="en-US" sz="3300" b="1" kern="1200" dirty="0"/>
              <a:t>1</a:t>
            </a:r>
          </a:p>
        </p:txBody>
      </p:sp>
      <p:sp>
        <p:nvSpPr>
          <p:cNvPr id="23" name="Organigramme : Décision 6 - 2">
            <a:extLst>
              <a:ext uri="{FF2B5EF4-FFF2-40B4-BE49-F238E27FC236}">
                <a16:creationId xmlns:a16="http://schemas.microsoft.com/office/drawing/2014/main" id="{C241CEB8-E887-C381-8D4C-4759A5826D14}"/>
              </a:ext>
            </a:extLst>
          </p:cNvPr>
          <p:cNvSpPr/>
          <p:nvPr/>
        </p:nvSpPr>
        <p:spPr>
          <a:xfrm>
            <a:off x="4203041" y="1336976"/>
            <a:ext cx="737909" cy="924026"/>
          </a:xfrm>
          <a:prstGeom prst="flowChartDecision">
            <a:avLst/>
          </a:prstGeom>
          <a:solidFill>
            <a:schemeClr val="accent2"/>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buClrTx/>
              <a:defRPr/>
            </a:pPr>
            <a:r>
              <a:rPr lang="en-US" sz="3300" b="1" kern="1200" dirty="0"/>
              <a:t>2</a:t>
            </a:r>
          </a:p>
        </p:txBody>
      </p:sp>
      <p:sp>
        <p:nvSpPr>
          <p:cNvPr id="24" name="Organigramme : Décision 6">
            <a:extLst>
              <a:ext uri="{FF2B5EF4-FFF2-40B4-BE49-F238E27FC236}">
                <a16:creationId xmlns:a16="http://schemas.microsoft.com/office/drawing/2014/main" id="{4B07976A-0B62-1F08-39DB-383F3CE3EBC1}"/>
              </a:ext>
            </a:extLst>
          </p:cNvPr>
          <p:cNvSpPr/>
          <p:nvPr/>
        </p:nvSpPr>
        <p:spPr>
          <a:xfrm>
            <a:off x="7172568" y="1336976"/>
            <a:ext cx="737909" cy="924026"/>
          </a:xfrm>
          <a:prstGeom prst="flowChartDecision">
            <a:avLst/>
          </a:prstGeom>
          <a:solidFill>
            <a:schemeClr val="accent3"/>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buClrTx/>
              <a:defRPr/>
            </a:pPr>
            <a:r>
              <a:rPr lang="en-US" sz="3300" b="1" kern="1200" dirty="0"/>
              <a:t>3</a:t>
            </a:r>
          </a:p>
        </p:txBody>
      </p:sp>
      <p:sp>
        <p:nvSpPr>
          <p:cNvPr id="17" name="Rectangle 45">
            <a:extLst>
              <a:ext uri="{FF2B5EF4-FFF2-40B4-BE49-F238E27FC236}">
                <a16:creationId xmlns:a16="http://schemas.microsoft.com/office/drawing/2014/main" id="{F17C85E2-31EB-483F-9FC6-AEA20AE6DB12}"/>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8" name="Google Shape;412;p18">
            <a:extLst>
              <a:ext uri="{FF2B5EF4-FFF2-40B4-BE49-F238E27FC236}">
                <a16:creationId xmlns:a16="http://schemas.microsoft.com/office/drawing/2014/main" id="{32BFB3AF-80FA-4436-ADCE-97300968C1BF}"/>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NHƯỢC ĐIỂM MÔ </a:t>
            </a:r>
            <a:r>
              <a:rPr lang="en-US" dirty="0">
                <a:solidFill>
                  <a:schemeClr val="bg1"/>
                </a:solidFill>
              </a:rPr>
              <a:t>HÌNH SUPPORT VECTOR MACHINE (SVM)</a:t>
            </a:r>
          </a:p>
        </p:txBody>
      </p:sp>
    </p:spTree>
    <p:extLst>
      <p:ext uri="{BB962C8B-B14F-4D97-AF65-F5344CB8AC3E}">
        <p14:creationId xmlns:p14="http://schemas.microsoft.com/office/powerpoint/2010/main" val="16361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88"/>
        <p:cNvGrpSpPr/>
        <p:nvPr/>
      </p:nvGrpSpPr>
      <p:grpSpPr>
        <a:xfrm>
          <a:off x="0" y="0"/>
          <a:ext cx="0" cy="0"/>
          <a:chOff x="0" y="0"/>
          <a:chExt cx="0" cy="0"/>
        </a:xfrm>
      </p:grpSpPr>
      <p:grpSp>
        <p:nvGrpSpPr>
          <p:cNvPr id="1789" name="Google Shape;1789;p36"/>
          <p:cNvGrpSpPr/>
          <p:nvPr/>
        </p:nvGrpSpPr>
        <p:grpSpPr>
          <a:xfrm>
            <a:off x="3778520" y="2051981"/>
            <a:ext cx="1627587" cy="2333385"/>
            <a:chOff x="3346589" y="1035541"/>
            <a:chExt cx="2550136" cy="3687818"/>
          </a:xfrm>
        </p:grpSpPr>
        <p:grpSp>
          <p:nvGrpSpPr>
            <p:cNvPr id="1790" name="Google Shape;1790;p36"/>
            <p:cNvGrpSpPr/>
            <p:nvPr/>
          </p:nvGrpSpPr>
          <p:grpSpPr>
            <a:xfrm>
              <a:off x="3346589" y="1035541"/>
              <a:ext cx="2450802" cy="3687818"/>
              <a:chOff x="3409938" y="1035450"/>
              <a:chExt cx="2324137" cy="3497219"/>
            </a:xfrm>
          </p:grpSpPr>
          <p:sp>
            <p:nvSpPr>
              <p:cNvPr id="1791" name="Google Shape;1791;p36"/>
              <p:cNvSpPr/>
              <p:nvPr/>
            </p:nvSpPr>
            <p:spPr>
              <a:xfrm>
                <a:off x="4164193" y="1113566"/>
                <a:ext cx="263849" cy="519204"/>
              </a:xfrm>
              <a:custGeom>
                <a:avLst/>
                <a:gdLst/>
                <a:ahLst/>
                <a:cxnLst/>
                <a:rect l="l" t="t" r="r" b="b"/>
                <a:pathLst>
                  <a:path w="5188" h="10209" extrusionOk="0">
                    <a:moveTo>
                      <a:pt x="731" y="1"/>
                    </a:moveTo>
                    <a:lnTo>
                      <a:pt x="590" y="14"/>
                    </a:lnTo>
                    <a:lnTo>
                      <a:pt x="449" y="52"/>
                    </a:lnTo>
                    <a:lnTo>
                      <a:pt x="321" y="116"/>
                    </a:lnTo>
                    <a:lnTo>
                      <a:pt x="218" y="206"/>
                    </a:lnTo>
                    <a:lnTo>
                      <a:pt x="129" y="321"/>
                    </a:lnTo>
                    <a:lnTo>
                      <a:pt x="65" y="436"/>
                    </a:lnTo>
                    <a:lnTo>
                      <a:pt x="13" y="577"/>
                    </a:lnTo>
                    <a:lnTo>
                      <a:pt x="1" y="731"/>
                    </a:lnTo>
                    <a:lnTo>
                      <a:pt x="1" y="4253"/>
                    </a:lnTo>
                    <a:lnTo>
                      <a:pt x="13" y="4394"/>
                    </a:lnTo>
                    <a:lnTo>
                      <a:pt x="65" y="4535"/>
                    </a:lnTo>
                    <a:lnTo>
                      <a:pt x="129" y="4650"/>
                    </a:lnTo>
                    <a:lnTo>
                      <a:pt x="218" y="4765"/>
                    </a:lnTo>
                    <a:lnTo>
                      <a:pt x="321" y="4855"/>
                    </a:lnTo>
                    <a:lnTo>
                      <a:pt x="449" y="4919"/>
                    </a:lnTo>
                    <a:lnTo>
                      <a:pt x="590" y="4958"/>
                    </a:lnTo>
                    <a:lnTo>
                      <a:pt x="731" y="4970"/>
                    </a:lnTo>
                    <a:lnTo>
                      <a:pt x="3728" y="4970"/>
                    </a:lnTo>
                    <a:lnTo>
                      <a:pt x="3728" y="9479"/>
                    </a:lnTo>
                    <a:lnTo>
                      <a:pt x="3740" y="9632"/>
                    </a:lnTo>
                    <a:lnTo>
                      <a:pt x="3792" y="9761"/>
                    </a:lnTo>
                    <a:lnTo>
                      <a:pt x="3856" y="9889"/>
                    </a:lnTo>
                    <a:lnTo>
                      <a:pt x="3945" y="10004"/>
                    </a:lnTo>
                    <a:lnTo>
                      <a:pt x="4048" y="10081"/>
                    </a:lnTo>
                    <a:lnTo>
                      <a:pt x="4176" y="10158"/>
                    </a:lnTo>
                    <a:lnTo>
                      <a:pt x="4317" y="10196"/>
                    </a:lnTo>
                    <a:lnTo>
                      <a:pt x="4458" y="10209"/>
                    </a:lnTo>
                    <a:lnTo>
                      <a:pt x="4611" y="10196"/>
                    </a:lnTo>
                    <a:lnTo>
                      <a:pt x="4739" y="10158"/>
                    </a:lnTo>
                    <a:lnTo>
                      <a:pt x="4868" y="10081"/>
                    </a:lnTo>
                    <a:lnTo>
                      <a:pt x="4970" y="10004"/>
                    </a:lnTo>
                    <a:lnTo>
                      <a:pt x="5060" y="9889"/>
                    </a:lnTo>
                    <a:lnTo>
                      <a:pt x="5137" y="9761"/>
                    </a:lnTo>
                    <a:lnTo>
                      <a:pt x="5175" y="9632"/>
                    </a:lnTo>
                    <a:lnTo>
                      <a:pt x="5188" y="9479"/>
                    </a:lnTo>
                    <a:lnTo>
                      <a:pt x="5188" y="4253"/>
                    </a:lnTo>
                    <a:lnTo>
                      <a:pt x="5175" y="4099"/>
                    </a:lnTo>
                    <a:lnTo>
                      <a:pt x="5137" y="3959"/>
                    </a:lnTo>
                    <a:lnTo>
                      <a:pt x="5060" y="3843"/>
                    </a:lnTo>
                    <a:lnTo>
                      <a:pt x="4970" y="3728"/>
                    </a:lnTo>
                    <a:lnTo>
                      <a:pt x="4868" y="3638"/>
                    </a:lnTo>
                    <a:lnTo>
                      <a:pt x="4739" y="3574"/>
                    </a:lnTo>
                    <a:lnTo>
                      <a:pt x="4611" y="3536"/>
                    </a:lnTo>
                    <a:lnTo>
                      <a:pt x="4458" y="3523"/>
                    </a:lnTo>
                    <a:lnTo>
                      <a:pt x="1461" y="3523"/>
                    </a:lnTo>
                    <a:lnTo>
                      <a:pt x="1461" y="731"/>
                    </a:lnTo>
                    <a:lnTo>
                      <a:pt x="1448" y="577"/>
                    </a:lnTo>
                    <a:lnTo>
                      <a:pt x="1409" y="436"/>
                    </a:lnTo>
                    <a:lnTo>
                      <a:pt x="1333" y="321"/>
                    </a:lnTo>
                    <a:lnTo>
                      <a:pt x="1243" y="206"/>
                    </a:lnTo>
                    <a:lnTo>
                      <a:pt x="1140" y="116"/>
                    </a:lnTo>
                    <a:lnTo>
                      <a:pt x="1012" y="52"/>
                    </a:lnTo>
                    <a:lnTo>
                      <a:pt x="884" y="14"/>
                    </a:lnTo>
                    <a:lnTo>
                      <a:pt x="73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2" name="Google Shape;1792;p36"/>
              <p:cNvSpPr/>
              <p:nvPr/>
            </p:nvSpPr>
            <p:spPr>
              <a:xfrm>
                <a:off x="4535497" y="1224993"/>
                <a:ext cx="73642" cy="407775"/>
              </a:xfrm>
              <a:custGeom>
                <a:avLst/>
                <a:gdLst/>
                <a:ahLst/>
                <a:cxnLst/>
                <a:rect l="l" t="t" r="r" b="b"/>
                <a:pathLst>
                  <a:path w="1448" h="8018" extrusionOk="0">
                    <a:moveTo>
                      <a:pt x="717" y="0"/>
                    </a:moveTo>
                    <a:lnTo>
                      <a:pt x="576" y="13"/>
                    </a:lnTo>
                    <a:lnTo>
                      <a:pt x="436" y="51"/>
                    </a:lnTo>
                    <a:lnTo>
                      <a:pt x="320" y="115"/>
                    </a:lnTo>
                    <a:lnTo>
                      <a:pt x="205" y="205"/>
                    </a:lnTo>
                    <a:lnTo>
                      <a:pt x="115" y="320"/>
                    </a:lnTo>
                    <a:lnTo>
                      <a:pt x="51" y="436"/>
                    </a:lnTo>
                    <a:lnTo>
                      <a:pt x="13" y="576"/>
                    </a:lnTo>
                    <a:lnTo>
                      <a:pt x="0" y="717"/>
                    </a:lnTo>
                    <a:lnTo>
                      <a:pt x="0" y="7288"/>
                    </a:lnTo>
                    <a:lnTo>
                      <a:pt x="13" y="7441"/>
                    </a:lnTo>
                    <a:lnTo>
                      <a:pt x="51" y="7570"/>
                    </a:lnTo>
                    <a:lnTo>
                      <a:pt x="115" y="7698"/>
                    </a:lnTo>
                    <a:lnTo>
                      <a:pt x="205" y="7813"/>
                    </a:lnTo>
                    <a:lnTo>
                      <a:pt x="320" y="7890"/>
                    </a:lnTo>
                    <a:lnTo>
                      <a:pt x="436" y="7967"/>
                    </a:lnTo>
                    <a:lnTo>
                      <a:pt x="576" y="8005"/>
                    </a:lnTo>
                    <a:lnTo>
                      <a:pt x="717" y="8018"/>
                    </a:lnTo>
                    <a:lnTo>
                      <a:pt x="871" y="8005"/>
                    </a:lnTo>
                    <a:lnTo>
                      <a:pt x="1012" y="7967"/>
                    </a:lnTo>
                    <a:lnTo>
                      <a:pt x="1127" y="7890"/>
                    </a:lnTo>
                    <a:lnTo>
                      <a:pt x="1242" y="7813"/>
                    </a:lnTo>
                    <a:lnTo>
                      <a:pt x="1332" y="7698"/>
                    </a:lnTo>
                    <a:lnTo>
                      <a:pt x="1396" y="7570"/>
                    </a:lnTo>
                    <a:lnTo>
                      <a:pt x="1435" y="7441"/>
                    </a:lnTo>
                    <a:lnTo>
                      <a:pt x="1447" y="7288"/>
                    </a:lnTo>
                    <a:lnTo>
                      <a:pt x="1447" y="717"/>
                    </a:lnTo>
                    <a:lnTo>
                      <a:pt x="1435" y="576"/>
                    </a:lnTo>
                    <a:lnTo>
                      <a:pt x="1396" y="436"/>
                    </a:lnTo>
                    <a:lnTo>
                      <a:pt x="1332" y="320"/>
                    </a:lnTo>
                    <a:lnTo>
                      <a:pt x="1242" y="205"/>
                    </a:lnTo>
                    <a:lnTo>
                      <a:pt x="1127" y="115"/>
                    </a:lnTo>
                    <a:lnTo>
                      <a:pt x="1012" y="51"/>
                    </a:lnTo>
                    <a:lnTo>
                      <a:pt x="871" y="13"/>
                    </a:lnTo>
                    <a:lnTo>
                      <a:pt x="71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3" name="Google Shape;1793;p36"/>
              <p:cNvSpPr/>
              <p:nvPr/>
            </p:nvSpPr>
            <p:spPr>
              <a:xfrm>
                <a:off x="4707443" y="1069931"/>
                <a:ext cx="216297" cy="562840"/>
              </a:xfrm>
              <a:custGeom>
                <a:avLst/>
                <a:gdLst/>
                <a:ahLst/>
                <a:cxnLst/>
                <a:rect l="l" t="t" r="r" b="b"/>
                <a:pathLst>
                  <a:path w="4253" h="11067" extrusionOk="0">
                    <a:moveTo>
                      <a:pt x="3522" y="1"/>
                    </a:moveTo>
                    <a:lnTo>
                      <a:pt x="3369" y="14"/>
                    </a:lnTo>
                    <a:lnTo>
                      <a:pt x="3241" y="52"/>
                    </a:lnTo>
                    <a:lnTo>
                      <a:pt x="3113" y="116"/>
                    </a:lnTo>
                    <a:lnTo>
                      <a:pt x="3010" y="206"/>
                    </a:lnTo>
                    <a:lnTo>
                      <a:pt x="2921" y="321"/>
                    </a:lnTo>
                    <a:lnTo>
                      <a:pt x="2856" y="436"/>
                    </a:lnTo>
                    <a:lnTo>
                      <a:pt x="2805" y="577"/>
                    </a:lnTo>
                    <a:lnTo>
                      <a:pt x="2792" y="731"/>
                    </a:lnTo>
                    <a:lnTo>
                      <a:pt x="2792" y="6200"/>
                    </a:lnTo>
                    <a:lnTo>
                      <a:pt x="128" y="9914"/>
                    </a:lnTo>
                    <a:lnTo>
                      <a:pt x="64" y="10042"/>
                    </a:lnTo>
                    <a:lnTo>
                      <a:pt x="13" y="10183"/>
                    </a:lnTo>
                    <a:lnTo>
                      <a:pt x="0" y="10324"/>
                    </a:lnTo>
                    <a:lnTo>
                      <a:pt x="13" y="10465"/>
                    </a:lnTo>
                    <a:lnTo>
                      <a:pt x="39" y="10593"/>
                    </a:lnTo>
                    <a:lnTo>
                      <a:pt x="103" y="10721"/>
                    </a:lnTo>
                    <a:lnTo>
                      <a:pt x="192" y="10836"/>
                    </a:lnTo>
                    <a:lnTo>
                      <a:pt x="308" y="10939"/>
                    </a:lnTo>
                    <a:lnTo>
                      <a:pt x="397" y="10990"/>
                    </a:lnTo>
                    <a:lnTo>
                      <a:pt x="513" y="11041"/>
                    </a:lnTo>
                    <a:lnTo>
                      <a:pt x="615" y="11067"/>
                    </a:lnTo>
                    <a:lnTo>
                      <a:pt x="807" y="11067"/>
                    </a:lnTo>
                    <a:lnTo>
                      <a:pt x="897" y="11054"/>
                    </a:lnTo>
                    <a:lnTo>
                      <a:pt x="974" y="11028"/>
                    </a:lnTo>
                    <a:lnTo>
                      <a:pt x="1051" y="10990"/>
                    </a:lnTo>
                    <a:lnTo>
                      <a:pt x="1127" y="10952"/>
                    </a:lnTo>
                    <a:lnTo>
                      <a:pt x="1204" y="10900"/>
                    </a:lnTo>
                    <a:lnTo>
                      <a:pt x="1268" y="10836"/>
                    </a:lnTo>
                    <a:lnTo>
                      <a:pt x="1320" y="10759"/>
                    </a:lnTo>
                    <a:lnTo>
                      <a:pt x="4112" y="6866"/>
                    </a:lnTo>
                    <a:lnTo>
                      <a:pt x="4176" y="6763"/>
                    </a:lnTo>
                    <a:lnTo>
                      <a:pt x="4214" y="6661"/>
                    </a:lnTo>
                    <a:lnTo>
                      <a:pt x="4240" y="6546"/>
                    </a:lnTo>
                    <a:lnTo>
                      <a:pt x="4253" y="6443"/>
                    </a:lnTo>
                    <a:lnTo>
                      <a:pt x="4253" y="731"/>
                    </a:lnTo>
                    <a:lnTo>
                      <a:pt x="4240" y="577"/>
                    </a:lnTo>
                    <a:lnTo>
                      <a:pt x="4189" y="436"/>
                    </a:lnTo>
                    <a:lnTo>
                      <a:pt x="4124" y="321"/>
                    </a:lnTo>
                    <a:lnTo>
                      <a:pt x="4035" y="206"/>
                    </a:lnTo>
                    <a:lnTo>
                      <a:pt x="3932" y="116"/>
                    </a:lnTo>
                    <a:lnTo>
                      <a:pt x="3804" y="52"/>
                    </a:lnTo>
                    <a:lnTo>
                      <a:pt x="3663" y="14"/>
                    </a:lnTo>
                    <a:lnTo>
                      <a:pt x="3522"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4" name="Google Shape;1794;p36"/>
              <p:cNvSpPr/>
              <p:nvPr/>
            </p:nvSpPr>
            <p:spPr>
              <a:xfrm>
                <a:off x="4620784" y="3791379"/>
                <a:ext cx="1030526" cy="508117"/>
              </a:xfrm>
              <a:custGeom>
                <a:avLst/>
                <a:gdLst/>
                <a:ahLst/>
                <a:cxnLst/>
                <a:rect l="l" t="t" r="r" b="b"/>
                <a:pathLst>
                  <a:path w="20263" h="9991" extrusionOk="0">
                    <a:moveTo>
                      <a:pt x="731" y="0"/>
                    </a:moveTo>
                    <a:lnTo>
                      <a:pt x="590" y="13"/>
                    </a:lnTo>
                    <a:lnTo>
                      <a:pt x="449" y="51"/>
                    </a:lnTo>
                    <a:lnTo>
                      <a:pt x="321" y="128"/>
                    </a:lnTo>
                    <a:lnTo>
                      <a:pt x="219" y="218"/>
                    </a:lnTo>
                    <a:lnTo>
                      <a:pt x="129" y="320"/>
                    </a:lnTo>
                    <a:lnTo>
                      <a:pt x="65" y="448"/>
                    </a:lnTo>
                    <a:lnTo>
                      <a:pt x="14" y="577"/>
                    </a:lnTo>
                    <a:lnTo>
                      <a:pt x="1" y="730"/>
                    </a:lnTo>
                    <a:lnTo>
                      <a:pt x="1" y="9260"/>
                    </a:lnTo>
                    <a:lnTo>
                      <a:pt x="14" y="9401"/>
                    </a:lnTo>
                    <a:lnTo>
                      <a:pt x="65" y="9542"/>
                    </a:lnTo>
                    <a:lnTo>
                      <a:pt x="129" y="9670"/>
                    </a:lnTo>
                    <a:lnTo>
                      <a:pt x="219" y="9773"/>
                    </a:lnTo>
                    <a:lnTo>
                      <a:pt x="321" y="9862"/>
                    </a:lnTo>
                    <a:lnTo>
                      <a:pt x="449" y="9926"/>
                    </a:lnTo>
                    <a:lnTo>
                      <a:pt x="590" y="9978"/>
                    </a:lnTo>
                    <a:lnTo>
                      <a:pt x="731" y="9990"/>
                    </a:lnTo>
                    <a:lnTo>
                      <a:pt x="19533" y="9990"/>
                    </a:lnTo>
                    <a:lnTo>
                      <a:pt x="19674" y="9978"/>
                    </a:lnTo>
                    <a:lnTo>
                      <a:pt x="19815" y="9926"/>
                    </a:lnTo>
                    <a:lnTo>
                      <a:pt x="19943" y="9862"/>
                    </a:lnTo>
                    <a:lnTo>
                      <a:pt x="20045" y="9773"/>
                    </a:lnTo>
                    <a:lnTo>
                      <a:pt x="20135" y="9670"/>
                    </a:lnTo>
                    <a:lnTo>
                      <a:pt x="20199" y="9542"/>
                    </a:lnTo>
                    <a:lnTo>
                      <a:pt x="20237" y="9401"/>
                    </a:lnTo>
                    <a:lnTo>
                      <a:pt x="20263" y="9260"/>
                    </a:lnTo>
                    <a:lnTo>
                      <a:pt x="20237" y="9107"/>
                    </a:lnTo>
                    <a:lnTo>
                      <a:pt x="20199" y="8979"/>
                    </a:lnTo>
                    <a:lnTo>
                      <a:pt x="20135" y="8850"/>
                    </a:lnTo>
                    <a:lnTo>
                      <a:pt x="20045" y="8748"/>
                    </a:lnTo>
                    <a:lnTo>
                      <a:pt x="19943" y="8658"/>
                    </a:lnTo>
                    <a:lnTo>
                      <a:pt x="19815" y="8582"/>
                    </a:lnTo>
                    <a:lnTo>
                      <a:pt x="19674" y="8543"/>
                    </a:lnTo>
                    <a:lnTo>
                      <a:pt x="19533" y="8530"/>
                    </a:lnTo>
                    <a:lnTo>
                      <a:pt x="1461" y="8530"/>
                    </a:lnTo>
                    <a:lnTo>
                      <a:pt x="1461" y="730"/>
                    </a:lnTo>
                    <a:lnTo>
                      <a:pt x="1448" y="577"/>
                    </a:lnTo>
                    <a:lnTo>
                      <a:pt x="1410" y="448"/>
                    </a:lnTo>
                    <a:lnTo>
                      <a:pt x="1333" y="320"/>
                    </a:lnTo>
                    <a:lnTo>
                      <a:pt x="1243" y="218"/>
                    </a:lnTo>
                    <a:lnTo>
                      <a:pt x="1141" y="128"/>
                    </a:lnTo>
                    <a:lnTo>
                      <a:pt x="1013" y="51"/>
                    </a:lnTo>
                    <a:lnTo>
                      <a:pt x="885" y="13"/>
                    </a:lnTo>
                    <a:lnTo>
                      <a:pt x="731"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5" name="Google Shape;1795;p36"/>
              <p:cNvSpPr/>
              <p:nvPr/>
            </p:nvSpPr>
            <p:spPr>
              <a:xfrm>
                <a:off x="4449498" y="3807653"/>
                <a:ext cx="1201814" cy="691153"/>
              </a:xfrm>
              <a:custGeom>
                <a:avLst/>
                <a:gdLst/>
                <a:ahLst/>
                <a:cxnLst/>
                <a:rect l="l" t="t" r="r" b="b"/>
                <a:pathLst>
                  <a:path w="23631" h="13590" extrusionOk="0">
                    <a:moveTo>
                      <a:pt x="730" y="0"/>
                    </a:moveTo>
                    <a:lnTo>
                      <a:pt x="577" y="13"/>
                    </a:lnTo>
                    <a:lnTo>
                      <a:pt x="449" y="52"/>
                    </a:lnTo>
                    <a:lnTo>
                      <a:pt x="321" y="128"/>
                    </a:lnTo>
                    <a:lnTo>
                      <a:pt x="205" y="218"/>
                    </a:lnTo>
                    <a:lnTo>
                      <a:pt x="129" y="321"/>
                    </a:lnTo>
                    <a:lnTo>
                      <a:pt x="52" y="449"/>
                    </a:lnTo>
                    <a:lnTo>
                      <a:pt x="13" y="577"/>
                    </a:lnTo>
                    <a:lnTo>
                      <a:pt x="0" y="730"/>
                    </a:lnTo>
                    <a:lnTo>
                      <a:pt x="0" y="12860"/>
                    </a:lnTo>
                    <a:lnTo>
                      <a:pt x="13" y="13000"/>
                    </a:lnTo>
                    <a:lnTo>
                      <a:pt x="52" y="13141"/>
                    </a:lnTo>
                    <a:lnTo>
                      <a:pt x="129" y="13269"/>
                    </a:lnTo>
                    <a:lnTo>
                      <a:pt x="205" y="13372"/>
                    </a:lnTo>
                    <a:lnTo>
                      <a:pt x="321" y="13462"/>
                    </a:lnTo>
                    <a:lnTo>
                      <a:pt x="449" y="13526"/>
                    </a:lnTo>
                    <a:lnTo>
                      <a:pt x="577" y="13577"/>
                    </a:lnTo>
                    <a:lnTo>
                      <a:pt x="730" y="13590"/>
                    </a:lnTo>
                    <a:lnTo>
                      <a:pt x="22901" y="13590"/>
                    </a:lnTo>
                    <a:lnTo>
                      <a:pt x="23042" y="13577"/>
                    </a:lnTo>
                    <a:lnTo>
                      <a:pt x="23183" y="13526"/>
                    </a:lnTo>
                    <a:lnTo>
                      <a:pt x="23311" y="13462"/>
                    </a:lnTo>
                    <a:lnTo>
                      <a:pt x="23413" y="13372"/>
                    </a:lnTo>
                    <a:lnTo>
                      <a:pt x="23503" y="13269"/>
                    </a:lnTo>
                    <a:lnTo>
                      <a:pt x="23567" y="13141"/>
                    </a:lnTo>
                    <a:lnTo>
                      <a:pt x="23605" y="13000"/>
                    </a:lnTo>
                    <a:lnTo>
                      <a:pt x="23631" y="12860"/>
                    </a:lnTo>
                    <a:lnTo>
                      <a:pt x="23605" y="12706"/>
                    </a:lnTo>
                    <a:lnTo>
                      <a:pt x="23567" y="12578"/>
                    </a:lnTo>
                    <a:lnTo>
                      <a:pt x="23503" y="12450"/>
                    </a:lnTo>
                    <a:lnTo>
                      <a:pt x="23413" y="12347"/>
                    </a:lnTo>
                    <a:lnTo>
                      <a:pt x="23311" y="12258"/>
                    </a:lnTo>
                    <a:lnTo>
                      <a:pt x="23183" y="12181"/>
                    </a:lnTo>
                    <a:lnTo>
                      <a:pt x="23042" y="12142"/>
                    </a:lnTo>
                    <a:lnTo>
                      <a:pt x="22901" y="12129"/>
                    </a:lnTo>
                    <a:lnTo>
                      <a:pt x="1461" y="12129"/>
                    </a:lnTo>
                    <a:lnTo>
                      <a:pt x="1461" y="730"/>
                    </a:lnTo>
                    <a:lnTo>
                      <a:pt x="1435" y="577"/>
                    </a:lnTo>
                    <a:lnTo>
                      <a:pt x="1396" y="449"/>
                    </a:lnTo>
                    <a:lnTo>
                      <a:pt x="1332" y="321"/>
                    </a:lnTo>
                    <a:lnTo>
                      <a:pt x="1243" y="218"/>
                    </a:lnTo>
                    <a:lnTo>
                      <a:pt x="1128" y="128"/>
                    </a:lnTo>
                    <a:lnTo>
                      <a:pt x="1012" y="52"/>
                    </a:lnTo>
                    <a:lnTo>
                      <a:pt x="871" y="13"/>
                    </a:lnTo>
                    <a:lnTo>
                      <a:pt x="73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6" name="Google Shape;1796;p36"/>
              <p:cNvSpPr/>
              <p:nvPr/>
            </p:nvSpPr>
            <p:spPr>
              <a:xfrm>
                <a:off x="4792781" y="3791379"/>
                <a:ext cx="858525" cy="308807"/>
              </a:xfrm>
              <a:custGeom>
                <a:avLst/>
                <a:gdLst/>
                <a:ahLst/>
                <a:cxnLst/>
                <a:rect l="l" t="t" r="r" b="b"/>
                <a:pathLst>
                  <a:path w="16881" h="6072" extrusionOk="0">
                    <a:moveTo>
                      <a:pt x="730" y="0"/>
                    </a:moveTo>
                    <a:lnTo>
                      <a:pt x="577" y="26"/>
                    </a:lnTo>
                    <a:lnTo>
                      <a:pt x="436" y="64"/>
                    </a:lnTo>
                    <a:lnTo>
                      <a:pt x="320" y="128"/>
                    </a:lnTo>
                    <a:lnTo>
                      <a:pt x="205" y="218"/>
                    </a:lnTo>
                    <a:lnTo>
                      <a:pt x="115" y="333"/>
                    </a:lnTo>
                    <a:lnTo>
                      <a:pt x="51" y="448"/>
                    </a:lnTo>
                    <a:lnTo>
                      <a:pt x="13" y="589"/>
                    </a:lnTo>
                    <a:lnTo>
                      <a:pt x="0" y="730"/>
                    </a:lnTo>
                    <a:lnTo>
                      <a:pt x="0" y="5341"/>
                    </a:lnTo>
                    <a:lnTo>
                      <a:pt x="13" y="5482"/>
                    </a:lnTo>
                    <a:lnTo>
                      <a:pt x="51" y="5623"/>
                    </a:lnTo>
                    <a:lnTo>
                      <a:pt x="115" y="5751"/>
                    </a:lnTo>
                    <a:lnTo>
                      <a:pt x="205" y="5853"/>
                    </a:lnTo>
                    <a:lnTo>
                      <a:pt x="320" y="5943"/>
                    </a:lnTo>
                    <a:lnTo>
                      <a:pt x="436" y="6007"/>
                    </a:lnTo>
                    <a:lnTo>
                      <a:pt x="577" y="6058"/>
                    </a:lnTo>
                    <a:lnTo>
                      <a:pt x="730" y="6071"/>
                    </a:lnTo>
                    <a:lnTo>
                      <a:pt x="16151" y="6071"/>
                    </a:lnTo>
                    <a:lnTo>
                      <a:pt x="16292" y="6058"/>
                    </a:lnTo>
                    <a:lnTo>
                      <a:pt x="16433" y="6007"/>
                    </a:lnTo>
                    <a:lnTo>
                      <a:pt x="16561" y="5943"/>
                    </a:lnTo>
                    <a:lnTo>
                      <a:pt x="16663" y="5853"/>
                    </a:lnTo>
                    <a:lnTo>
                      <a:pt x="16753" y="5751"/>
                    </a:lnTo>
                    <a:lnTo>
                      <a:pt x="16817" y="5623"/>
                    </a:lnTo>
                    <a:lnTo>
                      <a:pt x="16855" y="5482"/>
                    </a:lnTo>
                    <a:lnTo>
                      <a:pt x="16881" y="5341"/>
                    </a:lnTo>
                    <a:lnTo>
                      <a:pt x="16855" y="5187"/>
                    </a:lnTo>
                    <a:lnTo>
                      <a:pt x="16817" y="5059"/>
                    </a:lnTo>
                    <a:lnTo>
                      <a:pt x="16753" y="4931"/>
                    </a:lnTo>
                    <a:lnTo>
                      <a:pt x="16663" y="4829"/>
                    </a:lnTo>
                    <a:lnTo>
                      <a:pt x="16561" y="4739"/>
                    </a:lnTo>
                    <a:lnTo>
                      <a:pt x="16433" y="4662"/>
                    </a:lnTo>
                    <a:lnTo>
                      <a:pt x="16292" y="4624"/>
                    </a:lnTo>
                    <a:lnTo>
                      <a:pt x="16151" y="4611"/>
                    </a:lnTo>
                    <a:lnTo>
                      <a:pt x="1460" y="4611"/>
                    </a:lnTo>
                    <a:lnTo>
                      <a:pt x="1460" y="730"/>
                    </a:lnTo>
                    <a:lnTo>
                      <a:pt x="1435" y="589"/>
                    </a:lnTo>
                    <a:lnTo>
                      <a:pt x="1396" y="448"/>
                    </a:lnTo>
                    <a:lnTo>
                      <a:pt x="1332" y="333"/>
                    </a:lnTo>
                    <a:lnTo>
                      <a:pt x="1243" y="218"/>
                    </a:lnTo>
                    <a:lnTo>
                      <a:pt x="1127" y="128"/>
                    </a:lnTo>
                    <a:lnTo>
                      <a:pt x="1012" y="64"/>
                    </a:lnTo>
                    <a:lnTo>
                      <a:pt x="871" y="26"/>
                    </a:lnTo>
                    <a:lnTo>
                      <a:pt x="73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7" name="Google Shape;1797;p36"/>
              <p:cNvSpPr/>
              <p:nvPr/>
            </p:nvSpPr>
            <p:spPr>
              <a:xfrm>
                <a:off x="3409938" y="1689417"/>
                <a:ext cx="2324137" cy="1839516"/>
              </a:xfrm>
              <a:custGeom>
                <a:avLst/>
                <a:gdLst/>
                <a:ahLst/>
                <a:cxnLst/>
                <a:rect l="l" t="t" r="r" b="b"/>
                <a:pathLst>
                  <a:path w="45699" h="36170" extrusionOk="0">
                    <a:moveTo>
                      <a:pt x="0" y="0"/>
                    </a:moveTo>
                    <a:lnTo>
                      <a:pt x="0" y="36170"/>
                    </a:lnTo>
                    <a:lnTo>
                      <a:pt x="45699" y="36170"/>
                    </a:lnTo>
                    <a:lnTo>
                      <a:pt x="4569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8" name="Google Shape;1798;p36"/>
              <p:cNvSpPr/>
              <p:nvPr/>
            </p:nvSpPr>
            <p:spPr>
              <a:xfrm>
                <a:off x="3604007" y="1882876"/>
                <a:ext cx="1936603" cy="1452592"/>
              </a:xfrm>
              <a:custGeom>
                <a:avLst/>
                <a:gdLst/>
                <a:ahLst/>
                <a:cxnLst/>
                <a:rect l="l" t="t" r="r" b="b"/>
                <a:pathLst>
                  <a:path w="38079" h="28562" extrusionOk="0">
                    <a:moveTo>
                      <a:pt x="1" y="0"/>
                    </a:moveTo>
                    <a:lnTo>
                      <a:pt x="1" y="28562"/>
                    </a:lnTo>
                    <a:lnTo>
                      <a:pt x="38079" y="28562"/>
                    </a:lnTo>
                    <a:lnTo>
                      <a:pt x="3807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9" name="Google Shape;1799;p36"/>
              <p:cNvSpPr/>
              <p:nvPr/>
            </p:nvSpPr>
            <p:spPr>
              <a:xfrm>
                <a:off x="3681512" y="1936276"/>
                <a:ext cx="1781589" cy="1345791"/>
              </a:xfrm>
              <a:custGeom>
                <a:avLst/>
                <a:gdLst/>
                <a:ahLst/>
                <a:cxnLst/>
                <a:rect l="l" t="t" r="r" b="b"/>
                <a:pathLst>
                  <a:path w="35031" h="26462" extrusionOk="0">
                    <a:moveTo>
                      <a:pt x="1" y="0"/>
                    </a:moveTo>
                    <a:lnTo>
                      <a:pt x="1" y="26461"/>
                    </a:lnTo>
                    <a:lnTo>
                      <a:pt x="35030" y="26461"/>
                    </a:lnTo>
                    <a:lnTo>
                      <a:pt x="35030" y="0"/>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0" name="Google Shape;1800;p36"/>
              <p:cNvSpPr/>
              <p:nvPr/>
            </p:nvSpPr>
            <p:spPr>
              <a:xfrm>
                <a:off x="4155750" y="3528856"/>
                <a:ext cx="833148" cy="89306"/>
              </a:xfrm>
              <a:custGeom>
                <a:avLst/>
                <a:gdLst/>
                <a:ahLst/>
                <a:cxnLst/>
                <a:rect l="l" t="t" r="r" b="b"/>
                <a:pathLst>
                  <a:path w="16382" h="1756" extrusionOk="0">
                    <a:moveTo>
                      <a:pt x="0" y="1"/>
                    </a:moveTo>
                    <a:lnTo>
                      <a:pt x="3433" y="1755"/>
                    </a:lnTo>
                    <a:lnTo>
                      <a:pt x="12949" y="1755"/>
                    </a:lnTo>
                    <a:lnTo>
                      <a:pt x="1638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1" name="Google Shape;1801;p36"/>
              <p:cNvSpPr/>
              <p:nvPr/>
            </p:nvSpPr>
            <p:spPr>
              <a:xfrm>
                <a:off x="4233256" y="3699531"/>
                <a:ext cx="678134" cy="89255"/>
              </a:xfrm>
              <a:custGeom>
                <a:avLst/>
                <a:gdLst/>
                <a:ahLst/>
                <a:cxnLst/>
                <a:rect l="l" t="t" r="r" b="b"/>
                <a:pathLst>
                  <a:path w="13334" h="1755" extrusionOk="0">
                    <a:moveTo>
                      <a:pt x="1909" y="0"/>
                    </a:moveTo>
                    <a:lnTo>
                      <a:pt x="0" y="1755"/>
                    </a:lnTo>
                    <a:lnTo>
                      <a:pt x="13333" y="1755"/>
                    </a:lnTo>
                    <a:lnTo>
                      <a:pt x="1142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2" name="Google Shape;1802;p36"/>
              <p:cNvSpPr/>
              <p:nvPr/>
            </p:nvSpPr>
            <p:spPr>
              <a:xfrm>
                <a:off x="4330290" y="3618110"/>
                <a:ext cx="483401" cy="81474"/>
              </a:xfrm>
              <a:custGeom>
                <a:avLst/>
                <a:gdLst/>
                <a:ahLst/>
                <a:cxnLst/>
                <a:rect l="l" t="t" r="r" b="b"/>
                <a:pathLst>
                  <a:path w="9505" h="1602" extrusionOk="0">
                    <a:moveTo>
                      <a:pt x="1" y="0"/>
                    </a:moveTo>
                    <a:lnTo>
                      <a:pt x="1" y="1601"/>
                    </a:lnTo>
                    <a:lnTo>
                      <a:pt x="9504" y="1601"/>
                    </a:lnTo>
                    <a:lnTo>
                      <a:pt x="9504"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3" name="Google Shape;1803;p36"/>
              <p:cNvSpPr/>
              <p:nvPr/>
            </p:nvSpPr>
            <p:spPr>
              <a:xfrm>
                <a:off x="4255379" y="1595587"/>
                <a:ext cx="633837" cy="93883"/>
              </a:xfrm>
              <a:custGeom>
                <a:avLst/>
                <a:gdLst/>
                <a:ahLst/>
                <a:cxnLst/>
                <a:rect l="l" t="t" r="r" b="b"/>
                <a:pathLst>
                  <a:path w="12463" h="1846" extrusionOk="0">
                    <a:moveTo>
                      <a:pt x="1704" y="1"/>
                    </a:moveTo>
                    <a:lnTo>
                      <a:pt x="1538" y="14"/>
                    </a:lnTo>
                    <a:lnTo>
                      <a:pt x="1358" y="39"/>
                    </a:lnTo>
                    <a:lnTo>
                      <a:pt x="1205" y="78"/>
                    </a:lnTo>
                    <a:lnTo>
                      <a:pt x="1038" y="142"/>
                    </a:lnTo>
                    <a:lnTo>
                      <a:pt x="897" y="206"/>
                    </a:lnTo>
                    <a:lnTo>
                      <a:pt x="756" y="295"/>
                    </a:lnTo>
                    <a:lnTo>
                      <a:pt x="615" y="398"/>
                    </a:lnTo>
                    <a:lnTo>
                      <a:pt x="500" y="500"/>
                    </a:lnTo>
                    <a:lnTo>
                      <a:pt x="385" y="628"/>
                    </a:lnTo>
                    <a:lnTo>
                      <a:pt x="295" y="756"/>
                    </a:lnTo>
                    <a:lnTo>
                      <a:pt x="206" y="897"/>
                    </a:lnTo>
                    <a:lnTo>
                      <a:pt x="129" y="1051"/>
                    </a:lnTo>
                    <a:lnTo>
                      <a:pt x="78" y="1205"/>
                    </a:lnTo>
                    <a:lnTo>
                      <a:pt x="39" y="1371"/>
                    </a:lnTo>
                    <a:lnTo>
                      <a:pt x="13" y="1538"/>
                    </a:lnTo>
                    <a:lnTo>
                      <a:pt x="1" y="1717"/>
                    </a:lnTo>
                    <a:lnTo>
                      <a:pt x="1" y="1845"/>
                    </a:lnTo>
                    <a:lnTo>
                      <a:pt x="12463" y="1845"/>
                    </a:lnTo>
                    <a:lnTo>
                      <a:pt x="12463" y="1717"/>
                    </a:lnTo>
                    <a:lnTo>
                      <a:pt x="12450" y="1538"/>
                    </a:lnTo>
                    <a:lnTo>
                      <a:pt x="12424" y="1371"/>
                    </a:lnTo>
                    <a:lnTo>
                      <a:pt x="12386" y="1205"/>
                    </a:lnTo>
                    <a:lnTo>
                      <a:pt x="12322" y="1051"/>
                    </a:lnTo>
                    <a:lnTo>
                      <a:pt x="12258" y="897"/>
                    </a:lnTo>
                    <a:lnTo>
                      <a:pt x="12168" y="756"/>
                    </a:lnTo>
                    <a:lnTo>
                      <a:pt x="12066" y="628"/>
                    </a:lnTo>
                    <a:lnTo>
                      <a:pt x="11963" y="500"/>
                    </a:lnTo>
                    <a:lnTo>
                      <a:pt x="11835" y="398"/>
                    </a:lnTo>
                    <a:lnTo>
                      <a:pt x="11707" y="295"/>
                    </a:lnTo>
                    <a:lnTo>
                      <a:pt x="11566" y="206"/>
                    </a:lnTo>
                    <a:lnTo>
                      <a:pt x="11412" y="142"/>
                    </a:lnTo>
                    <a:lnTo>
                      <a:pt x="11259" y="78"/>
                    </a:lnTo>
                    <a:lnTo>
                      <a:pt x="11092" y="39"/>
                    </a:lnTo>
                    <a:lnTo>
                      <a:pt x="10926" y="14"/>
                    </a:lnTo>
                    <a:lnTo>
                      <a:pt x="10746"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4" name="Google Shape;1804;p36"/>
              <p:cNvSpPr/>
              <p:nvPr/>
            </p:nvSpPr>
            <p:spPr>
              <a:xfrm>
                <a:off x="4714614" y="2808470"/>
                <a:ext cx="323759" cy="233232"/>
              </a:xfrm>
              <a:custGeom>
                <a:avLst/>
                <a:gdLst/>
                <a:ahLst/>
                <a:cxnLst/>
                <a:rect l="l" t="t" r="r" b="b"/>
                <a:pathLst>
                  <a:path w="6366" h="4586" extrusionOk="0">
                    <a:moveTo>
                      <a:pt x="487" y="0"/>
                    </a:moveTo>
                    <a:lnTo>
                      <a:pt x="384" y="13"/>
                    </a:lnTo>
                    <a:lnTo>
                      <a:pt x="295" y="39"/>
                    </a:lnTo>
                    <a:lnTo>
                      <a:pt x="218" y="90"/>
                    </a:lnTo>
                    <a:lnTo>
                      <a:pt x="141" y="141"/>
                    </a:lnTo>
                    <a:lnTo>
                      <a:pt x="90" y="218"/>
                    </a:lnTo>
                    <a:lnTo>
                      <a:pt x="39" y="295"/>
                    </a:lnTo>
                    <a:lnTo>
                      <a:pt x="13" y="397"/>
                    </a:lnTo>
                    <a:lnTo>
                      <a:pt x="0" y="487"/>
                    </a:lnTo>
                    <a:lnTo>
                      <a:pt x="0" y="4099"/>
                    </a:lnTo>
                    <a:lnTo>
                      <a:pt x="13" y="4201"/>
                    </a:lnTo>
                    <a:lnTo>
                      <a:pt x="39" y="4291"/>
                    </a:lnTo>
                    <a:lnTo>
                      <a:pt x="90" y="4368"/>
                    </a:lnTo>
                    <a:lnTo>
                      <a:pt x="141" y="4444"/>
                    </a:lnTo>
                    <a:lnTo>
                      <a:pt x="218" y="4496"/>
                    </a:lnTo>
                    <a:lnTo>
                      <a:pt x="295" y="4547"/>
                    </a:lnTo>
                    <a:lnTo>
                      <a:pt x="384" y="4573"/>
                    </a:lnTo>
                    <a:lnTo>
                      <a:pt x="487" y="4585"/>
                    </a:lnTo>
                    <a:lnTo>
                      <a:pt x="5879" y="4585"/>
                    </a:lnTo>
                    <a:lnTo>
                      <a:pt x="5981" y="4573"/>
                    </a:lnTo>
                    <a:lnTo>
                      <a:pt x="6071" y="4547"/>
                    </a:lnTo>
                    <a:lnTo>
                      <a:pt x="6148" y="4496"/>
                    </a:lnTo>
                    <a:lnTo>
                      <a:pt x="6225" y="4444"/>
                    </a:lnTo>
                    <a:lnTo>
                      <a:pt x="6289" y="4368"/>
                    </a:lnTo>
                    <a:lnTo>
                      <a:pt x="6327" y="4291"/>
                    </a:lnTo>
                    <a:lnTo>
                      <a:pt x="6353" y="4201"/>
                    </a:lnTo>
                    <a:lnTo>
                      <a:pt x="6366" y="4099"/>
                    </a:lnTo>
                    <a:lnTo>
                      <a:pt x="6353" y="3996"/>
                    </a:lnTo>
                    <a:lnTo>
                      <a:pt x="6327" y="3907"/>
                    </a:lnTo>
                    <a:lnTo>
                      <a:pt x="6289" y="3830"/>
                    </a:lnTo>
                    <a:lnTo>
                      <a:pt x="6225" y="3753"/>
                    </a:lnTo>
                    <a:lnTo>
                      <a:pt x="6148" y="3689"/>
                    </a:lnTo>
                    <a:lnTo>
                      <a:pt x="6071" y="3650"/>
                    </a:lnTo>
                    <a:lnTo>
                      <a:pt x="5981" y="3625"/>
                    </a:lnTo>
                    <a:lnTo>
                      <a:pt x="5879" y="3612"/>
                    </a:lnTo>
                    <a:lnTo>
                      <a:pt x="974" y="3612"/>
                    </a:lnTo>
                    <a:lnTo>
                      <a:pt x="974" y="487"/>
                    </a:lnTo>
                    <a:lnTo>
                      <a:pt x="961" y="397"/>
                    </a:lnTo>
                    <a:lnTo>
                      <a:pt x="935" y="295"/>
                    </a:lnTo>
                    <a:lnTo>
                      <a:pt x="897" y="218"/>
                    </a:lnTo>
                    <a:lnTo>
                      <a:pt x="833" y="141"/>
                    </a:lnTo>
                    <a:lnTo>
                      <a:pt x="756" y="90"/>
                    </a:lnTo>
                    <a:lnTo>
                      <a:pt x="679" y="39"/>
                    </a:lnTo>
                    <a:lnTo>
                      <a:pt x="589" y="13"/>
                    </a:lnTo>
                    <a:lnTo>
                      <a:pt x="487"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5" name="Google Shape;1805;p36"/>
              <p:cNvSpPr/>
              <p:nvPr/>
            </p:nvSpPr>
            <p:spPr>
              <a:xfrm>
                <a:off x="4691169" y="2173370"/>
                <a:ext cx="356359" cy="147232"/>
              </a:xfrm>
              <a:custGeom>
                <a:avLst/>
                <a:gdLst/>
                <a:ahLst/>
                <a:cxnLst/>
                <a:rect l="l" t="t" r="r" b="b"/>
                <a:pathLst>
                  <a:path w="7007" h="2895" extrusionOk="0">
                    <a:moveTo>
                      <a:pt x="2318" y="0"/>
                    </a:moveTo>
                    <a:lnTo>
                      <a:pt x="2229" y="26"/>
                    </a:lnTo>
                    <a:lnTo>
                      <a:pt x="2139" y="77"/>
                    </a:lnTo>
                    <a:lnTo>
                      <a:pt x="2075" y="141"/>
                    </a:lnTo>
                    <a:lnTo>
                      <a:pt x="141" y="2062"/>
                    </a:lnTo>
                    <a:lnTo>
                      <a:pt x="77" y="2139"/>
                    </a:lnTo>
                    <a:lnTo>
                      <a:pt x="39" y="2229"/>
                    </a:lnTo>
                    <a:lnTo>
                      <a:pt x="0" y="2319"/>
                    </a:lnTo>
                    <a:lnTo>
                      <a:pt x="0" y="2408"/>
                    </a:lnTo>
                    <a:lnTo>
                      <a:pt x="0" y="2498"/>
                    </a:lnTo>
                    <a:lnTo>
                      <a:pt x="39" y="2588"/>
                    </a:lnTo>
                    <a:lnTo>
                      <a:pt x="77" y="2677"/>
                    </a:lnTo>
                    <a:lnTo>
                      <a:pt x="141" y="2754"/>
                    </a:lnTo>
                    <a:lnTo>
                      <a:pt x="218" y="2818"/>
                    </a:lnTo>
                    <a:lnTo>
                      <a:pt x="295" y="2857"/>
                    </a:lnTo>
                    <a:lnTo>
                      <a:pt x="384" y="2882"/>
                    </a:lnTo>
                    <a:lnTo>
                      <a:pt x="487" y="2895"/>
                    </a:lnTo>
                    <a:lnTo>
                      <a:pt x="576" y="2882"/>
                    </a:lnTo>
                    <a:lnTo>
                      <a:pt x="666" y="2857"/>
                    </a:lnTo>
                    <a:lnTo>
                      <a:pt x="743" y="2818"/>
                    </a:lnTo>
                    <a:lnTo>
                      <a:pt x="820" y="2754"/>
                    </a:lnTo>
                    <a:lnTo>
                      <a:pt x="2613" y="961"/>
                    </a:lnTo>
                    <a:lnTo>
                      <a:pt x="6609" y="961"/>
                    </a:lnTo>
                    <a:lnTo>
                      <a:pt x="6699" y="923"/>
                    </a:lnTo>
                    <a:lnTo>
                      <a:pt x="6788" y="884"/>
                    </a:lnTo>
                    <a:lnTo>
                      <a:pt x="6852" y="820"/>
                    </a:lnTo>
                    <a:lnTo>
                      <a:pt x="6916" y="756"/>
                    </a:lnTo>
                    <a:lnTo>
                      <a:pt x="6968" y="666"/>
                    </a:lnTo>
                    <a:lnTo>
                      <a:pt x="6993" y="577"/>
                    </a:lnTo>
                    <a:lnTo>
                      <a:pt x="7006" y="487"/>
                    </a:lnTo>
                    <a:lnTo>
                      <a:pt x="6993" y="385"/>
                    </a:lnTo>
                    <a:lnTo>
                      <a:pt x="6968" y="295"/>
                    </a:lnTo>
                    <a:lnTo>
                      <a:pt x="6916" y="205"/>
                    </a:lnTo>
                    <a:lnTo>
                      <a:pt x="6852" y="141"/>
                    </a:lnTo>
                    <a:lnTo>
                      <a:pt x="6788" y="77"/>
                    </a:lnTo>
                    <a:lnTo>
                      <a:pt x="6699" y="39"/>
                    </a:lnTo>
                    <a:lnTo>
                      <a:pt x="660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6" name="Google Shape;1806;p36"/>
              <p:cNvSpPr/>
              <p:nvPr/>
            </p:nvSpPr>
            <p:spPr>
              <a:xfrm>
                <a:off x="3827420" y="2347911"/>
                <a:ext cx="323810" cy="313384"/>
              </a:xfrm>
              <a:custGeom>
                <a:avLst/>
                <a:gdLst/>
                <a:ahLst/>
                <a:cxnLst/>
                <a:rect l="l" t="t" r="r" b="b"/>
                <a:pathLst>
                  <a:path w="6367" h="6162" extrusionOk="0">
                    <a:moveTo>
                      <a:pt x="3088" y="1"/>
                    </a:moveTo>
                    <a:lnTo>
                      <a:pt x="2985" y="14"/>
                    </a:lnTo>
                    <a:lnTo>
                      <a:pt x="2896" y="39"/>
                    </a:lnTo>
                    <a:lnTo>
                      <a:pt x="2819" y="91"/>
                    </a:lnTo>
                    <a:lnTo>
                      <a:pt x="2742" y="155"/>
                    </a:lnTo>
                    <a:lnTo>
                      <a:pt x="2678" y="219"/>
                    </a:lnTo>
                    <a:lnTo>
                      <a:pt x="2639" y="308"/>
                    </a:lnTo>
                    <a:lnTo>
                      <a:pt x="2614" y="398"/>
                    </a:lnTo>
                    <a:lnTo>
                      <a:pt x="2601" y="488"/>
                    </a:lnTo>
                    <a:lnTo>
                      <a:pt x="2601" y="1320"/>
                    </a:lnTo>
                    <a:lnTo>
                      <a:pt x="488" y="1320"/>
                    </a:lnTo>
                    <a:lnTo>
                      <a:pt x="385" y="1333"/>
                    </a:lnTo>
                    <a:lnTo>
                      <a:pt x="296" y="1359"/>
                    </a:lnTo>
                    <a:lnTo>
                      <a:pt x="206" y="1410"/>
                    </a:lnTo>
                    <a:lnTo>
                      <a:pt x="142" y="1461"/>
                    </a:lnTo>
                    <a:lnTo>
                      <a:pt x="78" y="1538"/>
                    </a:lnTo>
                    <a:lnTo>
                      <a:pt x="39" y="1615"/>
                    </a:lnTo>
                    <a:lnTo>
                      <a:pt x="1" y="1717"/>
                    </a:lnTo>
                    <a:lnTo>
                      <a:pt x="1" y="1807"/>
                    </a:lnTo>
                    <a:lnTo>
                      <a:pt x="1" y="4163"/>
                    </a:lnTo>
                    <a:lnTo>
                      <a:pt x="1" y="4253"/>
                    </a:lnTo>
                    <a:lnTo>
                      <a:pt x="39" y="4343"/>
                    </a:lnTo>
                    <a:lnTo>
                      <a:pt x="78" y="4432"/>
                    </a:lnTo>
                    <a:lnTo>
                      <a:pt x="142" y="4496"/>
                    </a:lnTo>
                    <a:lnTo>
                      <a:pt x="206" y="4561"/>
                    </a:lnTo>
                    <a:lnTo>
                      <a:pt x="296" y="4599"/>
                    </a:lnTo>
                    <a:lnTo>
                      <a:pt x="385" y="4637"/>
                    </a:lnTo>
                    <a:lnTo>
                      <a:pt x="1141" y="4637"/>
                    </a:lnTo>
                    <a:lnTo>
                      <a:pt x="1141" y="5675"/>
                    </a:lnTo>
                    <a:lnTo>
                      <a:pt x="1154" y="5777"/>
                    </a:lnTo>
                    <a:lnTo>
                      <a:pt x="1179" y="5867"/>
                    </a:lnTo>
                    <a:lnTo>
                      <a:pt x="1218" y="5957"/>
                    </a:lnTo>
                    <a:lnTo>
                      <a:pt x="1282" y="6021"/>
                    </a:lnTo>
                    <a:lnTo>
                      <a:pt x="1359" y="6085"/>
                    </a:lnTo>
                    <a:lnTo>
                      <a:pt x="1435" y="6123"/>
                    </a:lnTo>
                    <a:lnTo>
                      <a:pt x="1525" y="6162"/>
                    </a:lnTo>
                    <a:lnTo>
                      <a:pt x="5982" y="6162"/>
                    </a:lnTo>
                    <a:lnTo>
                      <a:pt x="6072" y="6123"/>
                    </a:lnTo>
                    <a:lnTo>
                      <a:pt x="6162" y="6085"/>
                    </a:lnTo>
                    <a:lnTo>
                      <a:pt x="6226" y="6021"/>
                    </a:lnTo>
                    <a:lnTo>
                      <a:pt x="6290" y="5957"/>
                    </a:lnTo>
                    <a:lnTo>
                      <a:pt x="6328" y="5867"/>
                    </a:lnTo>
                    <a:lnTo>
                      <a:pt x="6354" y="5777"/>
                    </a:lnTo>
                    <a:lnTo>
                      <a:pt x="6366" y="5675"/>
                    </a:lnTo>
                    <a:lnTo>
                      <a:pt x="6354" y="5585"/>
                    </a:lnTo>
                    <a:lnTo>
                      <a:pt x="6328" y="5496"/>
                    </a:lnTo>
                    <a:lnTo>
                      <a:pt x="6290" y="5406"/>
                    </a:lnTo>
                    <a:lnTo>
                      <a:pt x="6226" y="5342"/>
                    </a:lnTo>
                    <a:lnTo>
                      <a:pt x="6162" y="5278"/>
                    </a:lnTo>
                    <a:lnTo>
                      <a:pt x="6072" y="5239"/>
                    </a:lnTo>
                    <a:lnTo>
                      <a:pt x="5982" y="5201"/>
                    </a:lnTo>
                    <a:lnTo>
                      <a:pt x="2114" y="5201"/>
                    </a:lnTo>
                    <a:lnTo>
                      <a:pt x="2114" y="4163"/>
                    </a:lnTo>
                    <a:lnTo>
                      <a:pt x="2101" y="4061"/>
                    </a:lnTo>
                    <a:lnTo>
                      <a:pt x="2076" y="3971"/>
                    </a:lnTo>
                    <a:lnTo>
                      <a:pt x="2025" y="3882"/>
                    </a:lnTo>
                    <a:lnTo>
                      <a:pt x="1973" y="3818"/>
                    </a:lnTo>
                    <a:lnTo>
                      <a:pt x="1896" y="3754"/>
                    </a:lnTo>
                    <a:lnTo>
                      <a:pt x="1820" y="3715"/>
                    </a:lnTo>
                    <a:lnTo>
                      <a:pt x="1717" y="3677"/>
                    </a:lnTo>
                    <a:lnTo>
                      <a:pt x="962" y="3677"/>
                    </a:lnTo>
                    <a:lnTo>
                      <a:pt x="962" y="2294"/>
                    </a:lnTo>
                    <a:lnTo>
                      <a:pt x="3088" y="2294"/>
                    </a:lnTo>
                    <a:lnTo>
                      <a:pt x="3177" y="2281"/>
                    </a:lnTo>
                    <a:lnTo>
                      <a:pt x="3280" y="2255"/>
                    </a:lnTo>
                    <a:lnTo>
                      <a:pt x="3357" y="2217"/>
                    </a:lnTo>
                    <a:lnTo>
                      <a:pt x="3433" y="2153"/>
                    </a:lnTo>
                    <a:lnTo>
                      <a:pt x="3485" y="2076"/>
                    </a:lnTo>
                    <a:lnTo>
                      <a:pt x="3536" y="1999"/>
                    </a:lnTo>
                    <a:lnTo>
                      <a:pt x="3562" y="1909"/>
                    </a:lnTo>
                    <a:lnTo>
                      <a:pt x="3574" y="1807"/>
                    </a:lnTo>
                    <a:lnTo>
                      <a:pt x="3574" y="488"/>
                    </a:lnTo>
                    <a:lnTo>
                      <a:pt x="3562" y="398"/>
                    </a:lnTo>
                    <a:lnTo>
                      <a:pt x="3536" y="308"/>
                    </a:lnTo>
                    <a:lnTo>
                      <a:pt x="3485" y="219"/>
                    </a:lnTo>
                    <a:lnTo>
                      <a:pt x="3433" y="155"/>
                    </a:lnTo>
                    <a:lnTo>
                      <a:pt x="3357" y="91"/>
                    </a:lnTo>
                    <a:lnTo>
                      <a:pt x="3280" y="39"/>
                    </a:lnTo>
                    <a:lnTo>
                      <a:pt x="3177" y="14"/>
                    </a:lnTo>
                    <a:lnTo>
                      <a:pt x="308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7" name="Google Shape;1807;p36"/>
              <p:cNvSpPr/>
              <p:nvPr/>
            </p:nvSpPr>
            <p:spPr>
              <a:xfrm>
                <a:off x="4130322" y="1079085"/>
                <a:ext cx="142045" cy="142706"/>
              </a:xfrm>
              <a:custGeom>
                <a:avLst/>
                <a:gdLst/>
                <a:ahLst/>
                <a:cxnLst/>
                <a:rect l="l" t="t" r="r" b="b"/>
                <a:pathLst>
                  <a:path w="2793" h="2806" extrusionOk="0">
                    <a:moveTo>
                      <a:pt x="1397" y="0"/>
                    </a:moveTo>
                    <a:lnTo>
                      <a:pt x="1256" y="13"/>
                    </a:lnTo>
                    <a:lnTo>
                      <a:pt x="1115" y="26"/>
                    </a:lnTo>
                    <a:lnTo>
                      <a:pt x="987" y="64"/>
                    </a:lnTo>
                    <a:lnTo>
                      <a:pt x="859" y="115"/>
                    </a:lnTo>
                    <a:lnTo>
                      <a:pt x="731" y="167"/>
                    </a:lnTo>
                    <a:lnTo>
                      <a:pt x="615" y="243"/>
                    </a:lnTo>
                    <a:lnTo>
                      <a:pt x="513" y="320"/>
                    </a:lnTo>
                    <a:lnTo>
                      <a:pt x="410" y="410"/>
                    </a:lnTo>
                    <a:lnTo>
                      <a:pt x="321" y="512"/>
                    </a:lnTo>
                    <a:lnTo>
                      <a:pt x="231" y="615"/>
                    </a:lnTo>
                    <a:lnTo>
                      <a:pt x="167" y="730"/>
                    </a:lnTo>
                    <a:lnTo>
                      <a:pt x="103" y="858"/>
                    </a:lnTo>
                    <a:lnTo>
                      <a:pt x="65" y="986"/>
                    </a:lnTo>
                    <a:lnTo>
                      <a:pt x="26" y="1114"/>
                    </a:lnTo>
                    <a:lnTo>
                      <a:pt x="1" y="1255"/>
                    </a:lnTo>
                    <a:lnTo>
                      <a:pt x="1" y="1409"/>
                    </a:lnTo>
                    <a:lnTo>
                      <a:pt x="1" y="1550"/>
                    </a:lnTo>
                    <a:lnTo>
                      <a:pt x="26" y="1691"/>
                    </a:lnTo>
                    <a:lnTo>
                      <a:pt x="65" y="1819"/>
                    </a:lnTo>
                    <a:lnTo>
                      <a:pt x="103" y="1947"/>
                    </a:lnTo>
                    <a:lnTo>
                      <a:pt x="167" y="2075"/>
                    </a:lnTo>
                    <a:lnTo>
                      <a:pt x="231" y="2190"/>
                    </a:lnTo>
                    <a:lnTo>
                      <a:pt x="321" y="2293"/>
                    </a:lnTo>
                    <a:lnTo>
                      <a:pt x="410" y="2395"/>
                    </a:lnTo>
                    <a:lnTo>
                      <a:pt x="513" y="2485"/>
                    </a:lnTo>
                    <a:lnTo>
                      <a:pt x="615" y="2562"/>
                    </a:lnTo>
                    <a:lnTo>
                      <a:pt x="731" y="2639"/>
                    </a:lnTo>
                    <a:lnTo>
                      <a:pt x="859" y="2690"/>
                    </a:lnTo>
                    <a:lnTo>
                      <a:pt x="987" y="2741"/>
                    </a:lnTo>
                    <a:lnTo>
                      <a:pt x="1115" y="2779"/>
                    </a:lnTo>
                    <a:lnTo>
                      <a:pt x="1256" y="2792"/>
                    </a:lnTo>
                    <a:lnTo>
                      <a:pt x="1397" y="2805"/>
                    </a:lnTo>
                    <a:lnTo>
                      <a:pt x="1538" y="2792"/>
                    </a:lnTo>
                    <a:lnTo>
                      <a:pt x="1678" y="2779"/>
                    </a:lnTo>
                    <a:lnTo>
                      <a:pt x="1819" y="2741"/>
                    </a:lnTo>
                    <a:lnTo>
                      <a:pt x="1947" y="2690"/>
                    </a:lnTo>
                    <a:lnTo>
                      <a:pt x="2063" y="2639"/>
                    </a:lnTo>
                    <a:lnTo>
                      <a:pt x="2178" y="2562"/>
                    </a:lnTo>
                    <a:lnTo>
                      <a:pt x="2293" y="2485"/>
                    </a:lnTo>
                    <a:lnTo>
                      <a:pt x="2383" y="2395"/>
                    </a:lnTo>
                    <a:lnTo>
                      <a:pt x="2472" y="2293"/>
                    </a:lnTo>
                    <a:lnTo>
                      <a:pt x="2562" y="2190"/>
                    </a:lnTo>
                    <a:lnTo>
                      <a:pt x="2626" y="2075"/>
                    </a:lnTo>
                    <a:lnTo>
                      <a:pt x="2690" y="1947"/>
                    </a:lnTo>
                    <a:lnTo>
                      <a:pt x="2741" y="1819"/>
                    </a:lnTo>
                    <a:lnTo>
                      <a:pt x="2767" y="1691"/>
                    </a:lnTo>
                    <a:lnTo>
                      <a:pt x="2793" y="1550"/>
                    </a:lnTo>
                    <a:lnTo>
                      <a:pt x="2793" y="1409"/>
                    </a:lnTo>
                    <a:lnTo>
                      <a:pt x="2793" y="1255"/>
                    </a:lnTo>
                    <a:lnTo>
                      <a:pt x="2767" y="1114"/>
                    </a:lnTo>
                    <a:lnTo>
                      <a:pt x="2741" y="986"/>
                    </a:lnTo>
                    <a:lnTo>
                      <a:pt x="2690" y="858"/>
                    </a:lnTo>
                    <a:lnTo>
                      <a:pt x="2626" y="730"/>
                    </a:lnTo>
                    <a:lnTo>
                      <a:pt x="2562" y="615"/>
                    </a:lnTo>
                    <a:lnTo>
                      <a:pt x="2472" y="512"/>
                    </a:lnTo>
                    <a:lnTo>
                      <a:pt x="2383" y="410"/>
                    </a:lnTo>
                    <a:lnTo>
                      <a:pt x="2293" y="320"/>
                    </a:lnTo>
                    <a:lnTo>
                      <a:pt x="2178" y="243"/>
                    </a:lnTo>
                    <a:lnTo>
                      <a:pt x="2063" y="167"/>
                    </a:lnTo>
                    <a:lnTo>
                      <a:pt x="1947" y="115"/>
                    </a:lnTo>
                    <a:lnTo>
                      <a:pt x="1819" y="64"/>
                    </a:lnTo>
                    <a:lnTo>
                      <a:pt x="1678" y="26"/>
                    </a:lnTo>
                    <a:lnTo>
                      <a:pt x="1538" y="13"/>
                    </a:lnTo>
                    <a:lnTo>
                      <a:pt x="139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8" name="Google Shape;1808;p36"/>
              <p:cNvSpPr/>
              <p:nvPr/>
            </p:nvSpPr>
            <p:spPr>
              <a:xfrm>
                <a:off x="4500965" y="1190461"/>
                <a:ext cx="142706" cy="142706"/>
              </a:xfrm>
              <a:custGeom>
                <a:avLst/>
                <a:gdLst/>
                <a:ahLst/>
                <a:cxnLst/>
                <a:rect l="l" t="t" r="r" b="b"/>
                <a:pathLst>
                  <a:path w="2806" h="2806" extrusionOk="0">
                    <a:moveTo>
                      <a:pt x="1396" y="0"/>
                    </a:moveTo>
                    <a:lnTo>
                      <a:pt x="1255" y="13"/>
                    </a:lnTo>
                    <a:lnTo>
                      <a:pt x="1115" y="26"/>
                    </a:lnTo>
                    <a:lnTo>
                      <a:pt x="986" y="64"/>
                    </a:lnTo>
                    <a:lnTo>
                      <a:pt x="858" y="116"/>
                    </a:lnTo>
                    <a:lnTo>
                      <a:pt x="730" y="167"/>
                    </a:lnTo>
                    <a:lnTo>
                      <a:pt x="615" y="244"/>
                    </a:lnTo>
                    <a:lnTo>
                      <a:pt x="513" y="320"/>
                    </a:lnTo>
                    <a:lnTo>
                      <a:pt x="410" y="410"/>
                    </a:lnTo>
                    <a:lnTo>
                      <a:pt x="320" y="513"/>
                    </a:lnTo>
                    <a:lnTo>
                      <a:pt x="244" y="615"/>
                    </a:lnTo>
                    <a:lnTo>
                      <a:pt x="167" y="730"/>
                    </a:lnTo>
                    <a:lnTo>
                      <a:pt x="116" y="858"/>
                    </a:lnTo>
                    <a:lnTo>
                      <a:pt x="64" y="986"/>
                    </a:lnTo>
                    <a:lnTo>
                      <a:pt x="26" y="1115"/>
                    </a:lnTo>
                    <a:lnTo>
                      <a:pt x="13" y="1255"/>
                    </a:lnTo>
                    <a:lnTo>
                      <a:pt x="0" y="1396"/>
                    </a:lnTo>
                    <a:lnTo>
                      <a:pt x="13" y="1550"/>
                    </a:lnTo>
                    <a:lnTo>
                      <a:pt x="26" y="1691"/>
                    </a:lnTo>
                    <a:lnTo>
                      <a:pt x="64" y="1819"/>
                    </a:lnTo>
                    <a:lnTo>
                      <a:pt x="116" y="1947"/>
                    </a:lnTo>
                    <a:lnTo>
                      <a:pt x="167" y="2075"/>
                    </a:lnTo>
                    <a:lnTo>
                      <a:pt x="244" y="2190"/>
                    </a:lnTo>
                    <a:lnTo>
                      <a:pt x="320" y="2293"/>
                    </a:lnTo>
                    <a:lnTo>
                      <a:pt x="410" y="2395"/>
                    </a:lnTo>
                    <a:lnTo>
                      <a:pt x="513" y="2485"/>
                    </a:lnTo>
                    <a:lnTo>
                      <a:pt x="615" y="2562"/>
                    </a:lnTo>
                    <a:lnTo>
                      <a:pt x="730" y="2639"/>
                    </a:lnTo>
                    <a:lnTo>
                      <a:pt x="858" y="2690"/>
                    </a:lnTo>
                    <a:lnTo>
                      <a:pt x="986" y="2741"/>
                    </a:lnTo>
                    <a:lnTo>
                      <a:pt x="1115" y="2780"/>
                    </a:lnTo>
                    <a:lnTo>
                      <a:pt x="1255" y="2792"/>
                    </a:lnTo>
                    <a:lnTo>
                      <a:pt x="1396" y="2805"/>
                    </a:lnTo>
                    <a:lnTo>
                      <a:pt x="1550" y="2792"/>
                    </a:lnTo>
                    <a:lnTo>
                      <a:pt x="1678" y="2780"/>
                    </a:lnTo>
                    <a:lnTo>
                      <a:pt x="1819" y="2741"/>
                    </a:lnTo>
                    <a:lnTo>
                      <a:pt x="1947" y="2690"/>
                    </a:lnTo>
                    <a:lnTo>
                      <a:pt x="2075" y="2639"/>
                    </a:lnTo>
                    <a:lnTo>
                      <a:pt x="2190" y="2562"/>
                    </a:lnTo>
                    <a:lnTo>
                      <a:pt x="2293" y="2485"/>
                    </a:lnTo>
                    <a:lnTo>
                      <a:pt x="2395" y="2395"/>
                    </a:lnTo>
                    <a:lnTo>
                      <a:pt x="2485" y="2293"/>
                    </a:lnTo>
                    <a:lnTo>
                      <a:pt x="2562" y="2190"/>
                    </a:lnTo>
                    <a:lnTo>
                      <a:pt x="2639" y="2075"/>
                    </a:lnTo>
                    <a:lnTo>
                      <a:pt x="2690" y="1947"/>
                    </a:lnTo>
                    <a:lnTo>
                      <a:pt x="2741" y="1819"/>
                    </a:lnTo>
                    <a:lnTo>
                      <a:pt x="2780" y="1691"/>
                    </a:lnTo>
                    <a:lnTo>
                      <a:pt x="2792" y="1550"/>
                    </a:lnTo>
                    <a:lnTo>
                      <a:pt x="2805" y="1396"/>
                    </a:lnTo>
                    <a:lnTo>
                      <a:pt x="2792" y="1255"/>
                    </a:lnTo>
                    <a:lnTo>
                      <a:pt x="2780" y="1115"/>
                    </a:lnTo>
                    <a:lnTo>
                      <a:pt x="2741" y="986"/>
                    </a:lnTo>
                    <a:lnTo>
                      <a:pt x="2690" y="858"/>
                    </a:lnTo>
                    <a:lnTo>
                      <a:pt x="2639" y="730"/>
                    </a:lnTo>
                    <a:lnTo>
                      <a:pt x="2562" y="615"/>
                    </a:lnTo>
                    <a:lnTo>
                      <a:pt x="2485" y="513"/>
                    </a:lnTo>
                    <a:lnTo>
                      <a:pt x="2395" y="410"/>
                    </a:lnTo>
                    <a:lnTo>
                      <a:pt x="2293" y="320"/>
                    </a:lnTo>
                    <a:lnTo>
                      <a:pt x="2190" y="244"/>
                    </a:lnTo>
                    <a:lnTo>
                      <a:pt x="2075" y="167"/>
                    </a:lnTo>
                    <a:lnTo>
                      <a:pt x="1947" y="116"/>
                    </a:lnTo>
                    <a:lnTo>
                      <a:pt x="1819" y="64"/>
                    </a:lnTo>
                    <a:lnTo>
                      <a:pt x="1678" y="26"/>
                    </a:lnTo>
                    <a:lnTo>
                      <a:pt x="1550" y="13"/>
                    </a:lnTo>
                    <a:lnTo>
                      <a:pt x="1396"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9" name="Google Shape;1809;p36"/>
              <p:cNvSpPr/>
              <p:nvPr/>
            </p:nvSpPr>
            <p:spPr>
              <a:xfrm>
                <a:off x="4818158" y="1035450"/>
                <a:ext cx="142045" cy="142655"/>
              </a:xfrm>
              <a:custGeom>
                <a:avLst/>
                <a:gdLst/>
                <a:ahLst/>
                <a:cxnLst/>
                <a:rect l="l" t="t" r="r" b="b"/>
                <a:pathLst>
                  <a:path w="2793" h="2805" extrusionOk="0">
                    <a:moveTo>
                      <a:pt x="1397" y="0"/>
                    </a:moveTo>
                    <a:lnTo>
                      <a:pt x="1256" y="13"/>
                    </a:lnTo>
                    <a:lnTo>
                      <a:pt x="1115" y="26"/>
                    </a:lnTo>
                    <a:lnTo>
                      <a:pt x="974" y="64"/>
                    </a:lnTo>
                    <a:lnTo>
                      <a:pt x="846" y="115"/>
                    </a:lnTo>
                    <a:lnTo>
                      <a:pt x="731" y="167"/>
                    </a:lnTo>
                    <a:lnTo>
                      <a:pt x="615" y="243"/>
                    </a:lnTo>
                    <a:lnTo>
                      <a:pt x="500" y="320"/>
                    </a:lnTo>
                    <a:lnTo>
                      <a:pt x="411" y="410"/>
                    </a:lnTo>
                    <a:lnTo>
                      <a:pt x="321" y="512"/>
                    </a:lnTo>
                    <a:lnTo>
                      <a:pt x="231" y="615"/>
                    </a:lnTo>
                    <a:lnTo>
                      <a:pt x="167" y="730"/>
                    </a:lnTo>
                    <a:lnTo>
                      <a:pt x="103" y="858"/>
                    </a:lnTo>
                    <a:lnTo>
                      <a:pt x="65" y="986"/>
                    </a:lnTo>
                    <a:lnTo>
                      <a:pt x="26" y="1127"/>
                    </a:lnTo>
                    <a:lnTo>
                      <a:pt x="1" y="1255"/>
                    </a:lnTo>
                    <a:lnTo>
                      <a:pt x="1" y="1409"/>
                    </a:lnTo>
                    <a:lnTo>
                      <a:pt x="1" y="1550"/>
                    </a:lnTo>
                    <a:lnTo>
                      <a:pt x="26" y="1691"/>
                    </a:lnTo>
                    <a:lnTo>
                      <a:pt x="65" y="1819"/>
                    </a:lnTo>
                    <a:lnTo>
                      <a:pt x="103" y="1947"/>
                    </a:lnTo>
                    <a:lnTo>
                      <a:pt x="167" y="2075"/>
                    </a:lnTo>
                    <a:lnTo>
                      <a:pt x="231" y="2190"/>
                    </a:lnTo>
                    <a:lnTo>
                      <a:pt x="321" y="2293"/>
                    </a:lnTo>
                    <a:lnTo>
                      <a:pt x="411" y="2395"/>
                    </a:lnTo>
                    <a:lnTo>
                      <a:pt x="500" y="2485"/>
                    </a:lnTo>
                    <a:lnTo>
                      <a:pt x="615" y="2562"/>
                    </a:lnTo>
                    <a:lnTo>
                      <a:pt x="731" y="2638"/>
                    </a:lnTo>
                    <a:lnTo>
                      <a:pt x="846" y="2690"/>
                    </a:lnTo>
                    <a:lnTo>
                      <a:pt x="974" y="2741"/>
                    </a:lnTo>
                    <a:lnTo>
                      <a:pt x="1115" y="2779"/>
                    </a:lnTo>
                    <a:lnTo>
                      <a:pt x="1256" y="2792"/>
                    </a:lnTo>
                    <a:lnTo>
                      <a:pt x="1397" y="2805"/>
                    </a:lnTo>
                    <a:lnTo>
                      <a:pt x="1538" y="2792"/>
                    </a:lnTo>
                    <a:lnTo>
                      <a:pt x="1678" y="2779"/>
                    </a:lnTo>
                    <a:lnTo>
                      <a:pt x="1807" y="2741"/>
                    </a:lnTo>
                    <a:lnTo>
                      <a:pt x="1947" y="2690"/>
                    </a:lnTo>
                    <a:lnTo>
                      <a:pt x="2063" y="2638"/>
                    </a:lnTo>
                    <a:lnTo>
                      <a:pt x="2178" y="2562"/>
                    </a:lnTo>
                    <a:lnTo>
                      <a:pt x="2293" y="2485"/>
                    </a:lnTo>
                    <a:lnTo>
                      <a:pt x="2383" y="2395"/>
                    </a:lnTo>
                    <a:lnTo>
                      <a:pt x="2473" y="2293"/>
                    </a:lnTo>
                    <a:lnTo>
                      <a:pt x="2562" y="2190"/>
                    </a:lnTo>
                    <a:lnTo>
                      <a:pt x="2626" y="2075"/>
                    </a:lnTo>
                    <a:lnTo>
                      <a:pt x="2690" y="1947"/>
                    </a:lnTo>
                    <a:lnTo>
                      <a:pt x="2729" y="1819"/>
                    </a:lnTo>
                    <a:lnTo>
                      <a:pt x="2767" y="1691"/>
                    </a:lnTo>
                    <a:lnTo>
                      <a:pt x="2793" y="1550"/>
                    </a:lnTo>
                    <a:lnTo>
                      <a:pt x="2793" y="1409"/>
                    </a:lnTo>
                    <a:lnTo>
                      <a:pt x="2793" y="1255"/>
                    </a:lnTo>
                    <a:lnTo>
                      <a:pt x="2767" y="1127"/>
                    </a:lnTo>
                    <a:lnTo>
                      <a:pt x="2729" y="986"/>
                    </a:lnTo>
                    <a:lnTo>
                      <a:pt x="2690" y="858"/>
                    </a:lnTo>
                    <a:lnTo>
                      <a:pt x="2626" y="730"/>
                    </a:lnTo>
                    <a:lnTo>
                      <a:pt x="2562" y="615"/>
                    </a:lnTo>
                    <a:lnTo>
                      <a:pt x="2473" y="512"/>
                    </a:lnTo>
                    <a:lnTo>
                      <a:pt x="2383" y="410"/>
                    </a:lnTo>
                    <a:lnTo>
                      <a:pt x="2293" y="320"/>
                    </a:lnTo>
                    <a:lnTo>
                      <a:pt x="2178" y="243"/>
                    </a:lnTo>
                    <a:lnTo>
                      <a:pt x="2063" y="167"/>
                    </a:lnTo>
                    <a:lnTo>
                      <a:pt x="1947" y="115"/>
                    </a:lnTo>
                    <a:lnTo>
                      <a:pt x="1807" y="64"/>
                    </a:lnTo>
                    <a:lnTo>
                      <a:pt x="1678" y="26"/>
                    </a:lnTo>
                    <a:lnTo>
                      <a:pt x="1538" y="13"/>
                    </a:lnTo>
                    <a:lnTo>
                      <a:pt x="1397"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0" name="Google Shape;1810;p36"/>
              <p:cNvSpPr/>
              <p:nvPr/>
            </p:nvSpPr>
            <p:spPr>
              <a:xfrm>
                <a:off x="5542510" y="3991348"/>
                <a:ext cx="142655" cy="142706"/>
              </a:xfrm>
              <a:custGeom>
                <a:avLst/>
                <a:gdLst/>
                <a:ahLst/>
                <a:cxnLst/>
                <a:rect l="l" t="t" r="r" b="b"/>
                <a:pathLst>
                  <a:path w="2805" h="2806" extrusionOk="0">
                    <a:moveTo>
                      <a:pt x="1409" y="0"/>
                    </a:moveTo>
                    <a:lnTo>
                      <a:pt x="1268" y="13"/>
                    </a:lnTo>
                    <a:lnTo>
                      <a:pt x="1127" y="39"/>
                    </a:lnTo>
                    <a:lnTo>
                      <a:pt x="986" y="64"/>
                    </a:lnTo>
                    <a:lnTo>
                      <a:pt x="858" y="116"/>
                    </a:lnTo>
                    <a:lnTo>
                      <a:pt x="743" y="180"/>
                    </a:lnTo>
                    <a:lnTo>
                      <a:pt x="628" y="244"/>
                    </a:lnTo>
                    <a:lnTo>
                      <a:pt x="512" y="320"/>
                    </a:lnTo>
                    <a:lnTo>
                      <a:pt x="410" y="423"/>
                    </a:lnTo>
                    <a:lnTo>
                      <a:pt x="320" y="513"/>
                    </a:lnTo>
                    <a:lnTo>
                      <a:pt x="243" y="628"/>
                    </a:lnTo>
                    <a:lnTo>
                      <a:pt x="179" y="743"/>
                    </a:lnTo>
                    <a:lnTo>
                      <a:pt x="115" y="858"/>
                    </a:lnTo>
                    <a:lnTo>
                      <a:pt x="64" y="986"/>
                    </a:lnTo>
                    <a:lnTo>
                      <a:pt x="38" y="1127"/>
                    </a:lnTo>
                    <a:lnTo>
                      <a:pt x="13" y="1268"/>
                    </a:lnTo>
                    <a:lnTo>
                      <a:pt x="0" y="1409"/>
                    </a:lnTo>
                    <a:lnTo>
                      <a:pt x="13" y="1550"/>
                    </a:lnTo>
                    <a:lnTo>
                      <a:pt x="38" y="1691"/>
                    </a:lnTo>
                    <a:lnTo>
                      <a:pt x="64" y="1819"/>
                    </a:lnTo>
                    <a:lnTo>
                      <a:pt x="115" y="1947"/>
                    </a:lnTo>
                    <a:lnTo>
                      <a:pt x="179" y="2075"/>
                    </a:lnTo>
                    <a:lnTo>
                      <a:pt x="243" y="2190"/>
                    </a:lnTo>
                    <a:lnTo>
                      <a:pt x="320" y="2293"/>
                    </a:lnTo>
                    <a:lnTo>
                      <a:pt x="410" y="2395"/>
                    </a:lnTo>
                    <a:lnTo>
                      <a:pt x="512" y="2485"/>
                    </a:lnTo>
                    <a:lnTo>
                      <a:pt x="628" y="2575"/>
                    </a:lnTo>
                    <a:lnTo>
                      <a:pt x="743" y="2639"/>
                    </a:lnTo>
                    <a:lnTo>
                      <a:pt x="858" y="2703"/>
                    </a:lnTo>
                    <a:lnTo>
                      <a:pt x="986" y="2741"/>
                    </a:lnTo>
                    <a:lnTo>
                      <a:pt x="1127" y="2780"/>
                    </a:lnTo>
                    <a:lnTo>
                      <a:pt x="1268" y="2805"/>
                    </a:lnTo>
                    <a:lnTo>
                      <a:pt x="1550" y="2805"/>
                    </a:lnTo>
                    <a:lnTo>
                      <a:pt x="1691" y="2780"/>
                    </a:lnTo>
                    <a:lnTo>
                      <a:pt x="1819" y="2741"/>
                    </a:lnTo>
                    <a:lnTo>
                      <a:pt x="1947" y="2703"/>
                    </a:lnTo>
                    <a:lnTo>
                      <a:pt x="2075" y="2639"/>
                    </a:lnTo>
                    <a:lnTo>
                      <a:pt x="2190" y="2575"/>
                    </a:lnTo>
                    <a:lnTo>
                      <a:pt x="2293" y="2485"/>
                    </a:lnTo>
                    <a:lnTo>
                      <a:pt x="2395" y="2395"/>
                    </a:lnTo>
                    <a:lnTo>
                      <a:pt x="2485" y="2293"/>
                    </a:lnTo>
                    <a:lnTo>
                      <a:pt x="2562" y="2190"/>
                    </a:lnTo>
                    <a:lnTo>
                      <a:pt x="2638" y="2075"/>
                    </a:lnTo>
                    <a:lnTo>
                      <a:pt x="2702" y="1947"/>
                    </a:lnTo>
                    <a:lnTo>
                      <a:pt x="2741" y="1819"/>
                    </a:lnTo>
                    <a:lnTo>
                      <a:pt x="2779" y="1691"/>
                    </a:lnTo>
                    <a:lnTo>
                      <a:pt x="2805" y="1550"/>
                    </a:lnTo>
                    <a:lnTo>
                      <a:pt x="2805" y="1409"/>
                    </a:lnTo>
                    <a:lnTo>
                      <a:pt x="2805" y="1268"/>
                    </a:lnTo>
                    <a:lnTo>
                      <a:pt x="2779" y="1127"/>
                    </a:lnTo>
                    <a:lnTo>
                      <a:pt x="2741" y="986"/>
                    </a:lnTo>
                    <a:lnTo>
                      <a:pt x="2702" y="858"/>
                    </a:lnTo>
                    <a:lnTo>
                      <a:pt x="2638" y="743"/>
                    </a:lnTo>
                    <a:lnTo>
                      <a:pt x="2562" y="628"/>
                    </a:lnTo>
                    <a:lnTo>
                      <a:pt x="2485" y="513"/>
                    </a:lnTo>
                    <a:lnTo>
                      <a:pt x="2395" y="423"/>
                    </a:lnTo>
                    <a:lnTo>
                      <a:pt x="2293" y="320"/>
                    </a:lnTo>
                    <a:lnTo>
                      <a:pt x="2190" y="244"/>
                    </a:lnTo>
                    <a:lnTo>
                      <a:pt x="2075" y="180"/>
                    </a:lnTo>
                    <a:lnTo>
                      <a:pt x="1947" y="116"/>
                    </a:lnTo>
                    <a:lnTo>
                      <a:pt x="1819" y="64"/>
                    </a:lnTo>
                    <a:lnTo>
                      <a:pt x="1691" y="39"/>
                    </a:lnTo>
                    <a:lnTo>
                      <a:pt x="1550" y="13"/>
                    </a:lnTo>
                    <a:lnTo>
                      <a:pt x="140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1" name="Google Shape;1811;p36"/>
              <p:cNvSpPr/>
              <p:nvPr/>
            </p:nvSpPr>
            <p:spPr>
              <a:xfrm>
                <a:off x="5542510" y="4191317"/>
                <a:ext cx="142655" cy="142045"/>
              </a:xfrm>
              <a:custGeom>
                <a:avLst/>
                <a:gdLst/>
                <a:ahLst/>
                <a:cxnLst/>
                <a:rect l="l" t="t" r="r" b="b"/>
                <a:pathLst>
                  <a:path w="2805" h="2793" extrusionOk="0">
                    <a:moveTo>
                      <a:pt x="1268" y="0"/>
                    </a:moveTo>
                    <a:lnTo>
                      <a:pt x="1127" y="26"/>
                    </a:lnTo>
                    <a:lnTo>
                      <a:pt x="986" y="51"/>
                    </a:lnTo>
                    <a:lnTo>
                      <a:pt x="858" y="103"/>
                    </a:lnTo>
                    <a:lnTo>
                      <a:pt x="743" y="167"/>
                    </a:lnTo>
                    <a:lnTo>
                      <a:pt x="628" y="231"/>
                    </a:lnTo>
                    <a:lnTo>
                      <a:pt x="512" y="308"/>
                    </a:lnTo>
                    <a:lnTo>
                      <a:pt x="410" y="410"/>
                    </a:lnTo>
                    <a:lnTo>
                      <a:pt x="320" y="500"/>
                    </a:lnTo>
                    <a:lnTo>
                      <a:pt x="243" y="615"/>
                    </a:lnTo>
                    <a:lnTo>
                      <a:pt x="179" y="730"/>
                    </a:lnTo>
                    <a:lnTo>
                      <a:pt x="115" y="846"/>
                    </a:lnTo>
                    <a:lnTo>
                      <a:pt x="64" y="974"/>
                    </a:lnTo>
                    <a:lnTo>
                      <a:pt x="38" y="1115"/>
                    </a:lnTo>
                    <a:lnTo>
                      <a:pt x="13" y="1255"/>
                    </a:lnTo>
                    <a:lnTo>
                      <a:pt x="0" y="1396"/>
                    </a:lnTo>
                    <a:lnTo>
                      <a:pt x="13" y="1537"/>
                    </a:lnTo>
                    <a:lnTo>
                      <a:pt x="38" y="1678"/>
                    </a:lnTo>
                    <a:lnTo>
                      <a:pt x="64" y="1806"/>
                    </a:lnTo>
                    <a:lnTo>
                      <a:pt x="115" y="1934"/>
                    </a:lnTo>
                    <a:lnTo>
                      <a:pt x="179" y="2062"/>
                    </a:lnTo>
                    <a:lnTo>
                      <a:pt x="243" y="2178"/>
                    </a:lnTo>
                    <a:lnTo>
                      <a:pt x="320" y="2280"/>
                    </a:lnTo>
                    <a:lnTo>
                      <a:pt x="410" y="2383"/>
                    </a:lnTo>
                    <a:lnTo>
                      <a:pt x="512" y="2472"/>
                    </a:lnTo>
                    <a:lnTo>
                      <a:pt x="628" y="2562"/>
                    </a:lnTo>
                    <a:lnTo>
                      <a:pt x="743" y="2626"/>
                    </a:lnTo>
                    <a:lnTo>
                      <a:pt x="858" y="2690"/>
                    </a:lnTo>
                    <a:lnTo>
                      <a:pt x="986" y="2728"/>
                    </a:lnTo>
                    <a:lnTo>
                      <a:pt x="1127" y="2767"/>
                    </a:lnTo>
                    <a:lnTo>
                      <a:pt x="1268" y="2792"/>
                    </a:lnTo>
                    <a:lnTo>
                      <a:pt x="1550" y="2792"/>
                    </a:lnTo>
                    <a:lnTo>
                      <a:pt x="1691" y="2767"/>
                    </a:lnTo>
                    <a:lnTo>
                      <a:pt x="1819" y="2728"/>
                    </a:lnTo>
                    <a:lnTo>
                      <a:pt x="1947" y="2690"/>
                    </a:lnTo>
                    <a:lnTo>
                      <a:pt x="2075" y="2626"/>
                    </a:lnTo>
                    <a:lnTo>
                      <a:pt x="2190" y="2562"/>
                    </a:lnTo>
                    <a:lnTo>
                      <a:pt x="2293" y="2472"/>
                    </a:lnTo>
                    <a:lnTo>
                      <a:pt x="2395" y="2383"/>
                    </a:lnTo>
                    <a:lnTo>
                      <a:pt x="2485" y="2280"/>
                    </a:lnTo>
                    <a:lnTo>
                      <a:pt x="2562" y="2178"/>
                    </a:lnTo>
                    <a:lnTo>
                      <a:pt x="2638" y="2062"/>
                    </a:lnTo>
                    <a:lnTo>
                      <a:pt x="2702" y="1934"/>
                    </a:lnTo>
                    <a:lnTo>
                      <a:pt x="2741" y="1806"/>
                    </a:lnTo>
                    <a:lnTo>
                      <a:pt x="2779" y="1678"/>
                    </a:lnTo>
                    <a:lnTo>
                      <a:pt x="2805" y="1537"/>
                    </a:lnTo>
                    <a:lnTo>
                      <a:pt x="2805" y="1396"/>
                    </a:lnTo>
                    <a:lnTo>
                      <a:pt x="2805" y="1255"/>
                    </a:lnTo>
                    <a:lnTo>
                      <a:pt x="2779" y="1115"/>
                    </a:lnTo>
                    <a:lnTo>
                      <a:pt x="2741" y="974"/>
                    </a:lnTo>
                    <a:lnTo>
                      <a:pt x="2702" y="846"/>
                    </a:lnTo>
                    <a:lnTo>
                      <a:pt x="2638" y="730"/>
                    </a:lnTo>
                    <a:lnTo>
                      <a:pt x="2562" y="615"/>
                    </a:lnTo>
                    <a:lnTo>
                      <a:pt x="2485" y="500"/>
                    </a:lnTo>
                    <a:lnTo>
                      <a:pt x="2395" y="410"/>
                    </a:lnTo>
                    <a:lnTo>
                      <a:pt x="2293" y="308"/>
                    </a:lnTo>
                    <a:lnTo>
                      <a:pt x="2190" y="231"/>
                    </a:lnTo>
                    <a:lnTo>
                      <a:pt x="2075" y="167"/>
                    </a:lnTo>
                    <a:lnTo>
                      <a:pt x="1947" y="103"/>
                    </a:lnTo>
                    <a:lnTo>
                      <a:pt x="1819" y="51"/>
                    </a:lnTo>
                    <a:lnTo>
                      <a:pt x="1691" y="26"/>
                    </a:lnTo>
                    <a:lnTo>
                      <a:pt x="155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2" name="Google Shape;1812;p36"/>
              <p:cNvSpPr/>
              <p:nvPr/>
            </p:nvSpPr>
            <p:spPr>
              <a:xfrm>
                <a:off x="5542510" y="4390624"/>
                <a:ext cx="142655" cy="142045"/>
              </a:xfrm>
              <a:custGeom>
                <a:avLst/>
                <a:gdLst/>
                <a:ahLst/>
                <a:cxnLst/>
                <a:rect l="l" t="t" r="r" b="b"/>
                <a:pathLst>
                  <a:path w="2805" h="2793" extrusionOk="0">
                    <a:moveTo>
                      <a:pt x="1268" y="0"/>
                    </a:moveTo>
                    <a:lnTo>
                      <a:pt x="1127" y="26"/>
                    </a:lnTo>
                    <a:lnTo>
                      <a:pt x="986" y="52"/>
                    </a:lnTo>
                    <a:lnTo>
                      <a:pt x="858" y="103"/>
                    </a:lnTo>
                    <a:lnTo>
                      <a:pt x="743" y="167"/>
                    </a:lnTo>
                    <a:lnTo>
                      <a:pt x="628" y="231"/>
                    </a:lnTo>
                    <a:lnTo>
                      <a:pt x="512" y="308"/>
                    </a:lnTo>
                    <a:lnTo>
                      <a:pt x="410" y="410"/>
                    </a:lnTo>
                    <a:lnTo>
                      <a:pt x="320" y="500"/>
                    </a:lnTo>
                    <a:lnTo>
                      <a:pt x="243" y="615"/>
                    </a:lnTo>
                    <a:lnTo>
                      <a:pt x="179" y="731"/>
                    </a:lnTo>
                    <a:lnTo>
                      <a:pt x="115" y="846"/>
                    </a:lnTo>
                    <a:lnTo>
                      <a:pt x="64" y="974"/>
                    </a:lnTo>
                    <a:lnTo>
                      <a:pt x="38" y="1115"/>
                    </a:lnTo>
                    <a:lnTo>
                      <a:pt x="13" y="1256"/>
                    </a:lnTo>
                    <a:lnTo>
                      <a:pt x="0" y="1397"/>
                    </a:lnTo>
                    <a:lnTo>
                      <a:pt x="13" y="1537"/>
                    </a:lnTo>
                    <a:lnTo>
                      <a:pt x="38" y="1678"/>
                    </a:lnTo>
                    <a:lnTo>
                      <a:pt x="64" y="1806"/>
                    </a:lnTo>
                    <a:lnTo>
                      <a:pt x="115" y="1934"/>
                    </a:lnTo>
                    <a:lnTo>
                      <a:pt x="179" y="2063"/>
                    </a:lnTo>
                    <a:lnTo>
                      <a:pt x="243" y="2178"/>
                    </a:lnTo>
                    <a:lnTo>
                      <a:pt x="320" y="2280"/>
                    </a:lnTo>
                    <a:lnTo>
                      <a:pt x="410" y="2383"/>
                    </a:lnTo>
                    <a:lnTo>
                      <a:pt x="512" y="2472"/>
                    </a:lnTo>
                    <a:lnTo>
                      <a:pt x="628" y="2562"/>
                    </a:lnTo>
                    <a:lnTo>
                      <a:pt x="743" y="2626"/>
                    </a:lnTo>
                    <a:lnTo>
                      <a:pt x="858" y="2690"/>
                    </a:lnTo>
                    <a:lnTo>
                      <a:pt x="986" y="2729"/>
                    </a:lnTo>
                    <a:lnTo>
                      <a:pt x="1127" y="2767"/>
                    </a:lnTo>
                    <a:lnTo>
                      <a:pt x="1268" y="2793"/>
                    </a:lnTo>
                    <a:lnTo>
                      <a:pt x="1550" y="2793"/>
                    </a:lnTo>
                    <a:lnTo>
                      <a:pt x="1691" y="2767"/>
                    </a:lnTo>
                    <a:lnTo>
                      <a:pt x="1819" y="2729"/>
                    </a:lnTo>
                    <a:lnTo>
                      <a:pt x="1947" y="2690"/>
                    </a:lnTo>
                    <a:lnTo>
                      <a:pt x="2075" y="2626"/>
                    </a:lnTo>
                    <a:lnTo>
                      <a:pt x="2190" y="2562"/>
                    </a:lnTo>
                    <a:lnTo>
                      <a:pt x="2293" y="2472"/>
                    </a:lnTo>
                    <a:lnTo>
                      <a:pt x="2395" y="2383"/>
                    </a:lnTo>
                    <a:lnTo>
                      <a:pt x="2485" y="2280"/>
                    </a:lnTo>
                    <a:lnTo>
                      <a:pt x="2562" y="2178"/>
                    </a:lnTo>
                    <a:lnTo>
                      <a:pt x="2638" y="2063"/>
                    </a:lnTo>
                    <a:lnTo>
                      <a:pt x="2702" y="1934"/>
                    </a:lnTo>
                    <a:lnTo>
                      <a:pt x="2741" y="1806"/>
                    </a:lnTo>
                    <a:lnTo>
                      <a:pt x="2779" y="1678"/>
                    </a:lnTo>
                    <a:lnTo>
                      <a:pt x="2805" y="1537"/>
                    </a:lnTo>
                    <a:lnTo>
                      <a:pt x="2805" y="1397"/>
                    </a:lnTo>
                    <a:lnTo>
                      <a:pt x="2805" y="1256"/>
                    </a:lnTo>
                    <a:lnTo>
                      <a:pt x="2779" y="1115"/>
                    </a:lnTo>
                    <a:lnTo>
                      <a:pt x="2741" y="974"/>
                    </a:lnTo>
                    <a:lnTo>
                      <a:pt x="2702" y="846"/>
                    </a:lnTo>
                    <a:lnTo>
                      <a:pt x="2638" y="731"/>
                    </a:lnTo>
                    <a:lnTo>
                      <a:pt x="2562" y="615"/>
                    </a:lnTo>
                    <a:lnTo>
                      <a:pt x="2485" y="500"/>
                    </a:lnTo>
                    <a:lnTo>
                      <a:pt x="2395" y="410"/>
                    </a:lnTo>
                    <a:lnTo>
                      <a:pt x="2293" y="308"/>
                    </a:lnTo>
                    <a:lnTo>
                      <a:pt x="2190" y="231"/>
                    </a:lnTo>
                    <a:lnTo>
                      <a:pt x="2075" y="167"/>
                    </a:lnTo>
                    <a:lnTo>
                      <a:pt x="1947" y="103"/>
                    </a:lnTo>
                    <a:lnTo>
                      <a:pt x="1819" y="52"/>
                    </a:lnTo>
                    <a:lnTo>
                      <a:pt x="1691" y="26"/>
                    </a:lnTo>
                    <a:lnTo>
                      <a:pt x="1550"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3" name="Google Shape;1813;p36"/>
              <p:cNvSpPr/>
              <p:nvPr/>
            </p:nvSpPr>
            <p:spPr>
              <a:xfrm>
                <a:off x="3805297" y="2157096"/>
                <a:ext cx="282768" cy="215636"/>
              </a:xfrm>
              <a:custGeom>
                <a:avLst/>
                <a:gdLst/>
                <a:ahLst/>
                <a:cxnLst/>
                <a:rect l="l" t="t" r="r" b="b"/>
                <a:pathLst>
                  <a:path w="5560" h="4240" extrusionOk="0">
                    <a:moveTo>
                      <a:pt x="0" y="0"/>
                    </a:moveTo>
                    <a:lnTo>
                      <a:pt x="0" y="4240"/>
                    </a:lnTo>
                    <a:lnTo>
                      <a:pt x="5559" y="4240"/>
                    </a:lnTo>
                    <a:lnTo>
                      <a:pt x="5559" y="0"/>
                    </a:lnTo>
                    <a:close/>
                  </a:path>
                </a:pathLst>
              </a:custGeom>
              <a:solidFill>
                <a:srgbClr val="70FFD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4" name="Google Shape;1814;p36"/>
              <p:cNvSpPr/>
              <p:nvPr/>
            </p:nvSpPr>
            <p:spPr>
              <a:xfrm>
                <a:off x="4126406" y="2230686"/>
                <a:ext cx="891125" cy="756963"/>
              </a:xfrm>
              <a:custGeom>
                <a:avLst/>
                <a:gdLst/>
                <a:ahLst/>
                <a:cxnLst/>
                <a:rect l="l" t="t" r="r" b="b"/>
                <a:pathLst>
                  <a:path w="17522" h="14884" extrusionOk="0">
                    <a:moveTo>
                      <a:pt x="8684" y="0"/>
                    </a:moveTo>
                    <a:lnTo>
                      <a:pt x="8377" y="13"/>
                    </a:lnTo>
                    <a:lnTo>
                      <a:pt x="8082" y="52"/>
                    </a:lnTo>
                    <a:lnTo>
                      <a:pt x="7788" y="103"/>
                    </a:lnTo>
                    <a:lnTo>
                      <a:pt x="7506" y="180"/>
                    </a:lnTo>
                    <a:lnTo>
                      <a:pt x="7224" y="282"/>
                    </a:lnTo>
                    <a:lnTo>
                      <a:pt x="6955" y="398"/>
                    </a:lnTo>
                    <a:lnTo>
                      <a:pt x="6712" y="538"/>
                    </a:lnTo>
                    <a:lnTo>
                      <a:pt x="6469" y="692"/>
                    </a:lnTo>
                    <a:lnTo>
                      <a:pt x="6238" y="859"/>
                    </a:lnTo>
                    <a:lnTo>
                      <a:pt x="6020" y="1038"/>
                    </a:lnTo>
                    <a:lnTo>
                      <a:pt x="5815" y="1243"/>
                    </a:lnTo>
                    <a:lnTo>
                      <a:pt x="5623" y="1461"/>
                    </a:lnTo>
                    <a:lnTo>
                      <a:pt x="5444" y="1691"/>
                    </a:lnTo>
                    <a:lnTo>
                      <a:pt x="5290" y="1934"/>
                    </a:lnTo>
                    <a:lnTo>
                      <a:pt x="5149" y="2178"/>
                    </a:lnTo>
                    <a:lnTo>
                      <a:pt x="5034" y="2447"/>
                    </a:lnTo>
                    <a:lnTo>
                      <a:pt x="4906" y="2370"/>
                    </a:lnTo>
                    <a:lnTo>
                      <a:pt x="4778" y="2293"/>
                    </a:lnTo>
                    <a:lnTo>
                      <a:pt x="4637" y="2229"/>
                    </a:lnTo>
                    <a:lnTo>
                      <a:pt x="4483" y="2178"/>
                    </a:lnTo>
                    <a:lnTo>
                      <a:pt x="4343" y="2139"/>
                    </a:lnTo>
                    <a:lnTo>
                      <a:pt x="4189" y="2101"/>
                    </a:lnTo>
                    <a:lnTo>
                      <a:pt x="4022" y="2088"/>
                    </a:lnTo>
                    <a:lnTo>
                      <a:pt x="3869" y="2075"/>
                    </a:lnTo>
                    <a:lnTo>
                      <a:pt x="3651" y="2088"/>
                    </a:lnTo>
                    <a:lnTo>
                      <a:pt x="3446" y="2127"/>
                    </a:lnTo>
                    <a:lnTo>
                      <a:pt x="3254" y="2178"/>
                    </a:lnTo>
                    <a:lnTo>
                      <a:pt x="3062" y="2242"/>
                    </a:lnTo>
                    <a:lnTo>
                      <a:pt x="2882" y="2332"/>
                    </a:lnTo>
                    <a:lnTo>
                      <a:pt x="2716" y="2434"/>
                    </a:lnTo>
                    <a:lnTo>
                      <a:pt x="2562" y="2549"/>
                    </a:lnTo>
                    <a:lnTo>
                      <a:pt x="2409" y="2690"/>
                    </a:lnTo>
                    <a:lnTo>
                      <a:pt x="2281" y="2831"/>
                    </a:lnTo>
                    <a:lnTo>
                      <a:pt x="2165" y="2985"/>
                    </a:lnTo>
                    <a:lnTo>
                      <a:pt x="2050" y="3164"/>
                    </a:lnTo>
                    <a:lnTo>
                      <a:pt x="1973" y="3343"/>
                    </a:lnTo>
                    <a:lnTo>
                      <a:pt x="1896" y="3523"/>
                    </a:lnTo>
                    <a:lnTo>
                      <a:pt x="1845" y="3728"/>
                    </a:lnTo>
                    <a:lnTo>
                      <a:pt x="1819" y="3933"/>
                    </a:lnTo>
                    <a:lnTo>
                      <a:pt x="1807" y="4137"/>
                    </a:lnTo>
                    <a:lnTo>
                      <a:pt x="1819" y="4317"/>
                    </a:lnTo>
                    <a:lnTo>
                      <a:pt x="1845" y="4483"/>
                    </a:lnTo>
                    <a:lnTo>
                      <a:pt x="1883" y="4650"/>
                    </a:lnTo>
                    <a:lnTo>
                      <a:pt x="1922" y="4803"/>
                    </a:lnTo>
                    <a:lnTo>
                      <a:pt x="1717" y="4893"/>
                    </a:lnTo>
                    <a:lnTo>
                      <a:pt x="1525" y="5008"/>
                    </a:lnTo>
                    <a:lnTo>
                      <a:pt x="1333" y="5136"/>
                    </a:lnTo>
                    <a:lnTo>
                      <a:pt x="1153" y="5265"/>
                    </a:lnTo>
                    <a:lnTo>
                      <a:pt x="987" y="5418"/>
                    </a:lnTo>
                    <a:lnTo>
                      <a:pt x="820" y="5572"/>
                    </a:lnTo>
                    <a:lnTo>
                      <a:pt x="680" y="5751"/>
                    </a:lnTo>
                    <a:lnTo>
                      <a:pt x="539" y="5931"/>
                    </a:lnTo>
                    <a:lnTo>
                      <a:pt x="423" y="6123"/>
                    </a:lnTo>
                    <a:lnTo>
                      <a:pt x="321" y="6328"/>
                    </a:lnTo>
                    <a:lnTo>
                      <a:pt x="218" y="6533"/>
                    </a:lnTo>
                    <a:lnTo>
                      <a:pt x="142" y="6750"/>
                    </a:lnTo>
                    <a:lnTo>
                      <a:pt x="90" y="6981"/>
                    </a:lnTo>
                    <a:lnTo>
                      <a:pt x="39" y="7211"/>
                    </a:lnTo>
                    <a:lnTo>
                      <a:pt x="14" y="7442"/>
                    </a:lnTo>
                    <a:lnTo>
                      <a:pt x="1" y="7685"/>
                    </a:lnTo>
                    <a:lnTo>
                      <a:pt x="14" y="7916"/>
                    </a:lnTo>
                    <a:lnTo>
                      <a:pt x="39" y="8159"/>
                    </a:lnTo>
                    <a:lnTo>
                      <a:pt x="78" y="8377"/>
                    </a:lnTo>
                    <a:lnTo>
                      <a:pt x="142" y="8607"/>
                    </a:lnTo>
                    <a:lnTo>
                      <a:pt x="218" y="8812"/>
                    </a:lnTo>
                    <a:lnTo>
                      <a:pt x="308" y="9030"/>
                    </a:lnTo>
                    <a:lnTo>
                      <a:pt x="411" y="9222"/>
                    </a:lnTo>
                    <a:lnTo>
                      <a:pt x="526" y="9414"/>
                    </a:lnTo>
                    <a:lnTo>
                      <a:pt x="667" y="9594"/>
                    </a:lnTo>
                    <a:lnTo>
                      <a:pt x="808" y="9760"/>
                    </a:lnTo>
                    <a:lnTo>
                      <a:pt x="961" y="9927"/>
                    </a:lnTo>
                    <a:lnTo>
                      <a:pt x="1128" y="10080"/>
                    </a:lnTo>
                    <a:lnTo>
                      <a:pt x="1307" y="10208"/>
                    </a:lnTo>
                    <a:lnTo>
                      <a:pt x="1486" y="10336"/>
                    </a:lnTo>
                    <a:lnTo>
                      <a:pt x="1679" y="10452"/>
                    </a:lnTo>
                    <a:lnTo>
                      <a:pt x="1883" y="10541"/>
                    </a:lnTo>
                    <a:lnTo>
                      <a:pt x="1858" y="10669"/>
                    </a:lnTo>
                    <a:lnTo>
                      <a:pt x="1832" y="10810"/>
                    </a:lnTo>
                    <a:lnTo>
                      <a:pt x="1819" y="10938"/>
                    </a:lnTo>
                    <a:lnTo>
                      <a:pt x="1807" y="11079"/>
                    </a:lnTo>
                    <a:lnTo>
                      <a:pt x="1819" y="11284"/>
                    </a:lnTo>
                    <a:lnTo>
                      <a:pt x="1845" y="11489"/>
                    </a:lnTo>
                    <a:lnTo>
                      <a:pt x="1896" y="11694"/>
                    </a:lnTo>
                    <a:lnTo>
                      <a:pt x="1973" y="11873"/>
                    </a:lnTo>
                    <a:lnTo>
                      <a:pt x="2050" y="12066"/>
                    </a:lnTo>
                    <a:lnTo>
                      <a:pt x="2165" y="12232"/>
                    </a:lnTo>
                    <a:lnTo>
                      <a:pt x="2281" y="12386"/>
                    </a:lnTo>
                    <a:lnTo>
                      <a:pt x="2409" y="12539"/>
                    </a:lnTo>
                    <a:lnTo>
                      <a:pt x="2562" y="12668"/>
                    </a:lnTo>
                    <a:lnTo>
                      <a:pt x="2716" y="12783"/>
                    </a:lnTo>
                    <a:lnTo>
                      <a:pt x="2882" y="12885"/>
                    </a:lnTo>
                    <a:lnTo>
                      <a:pt x="3062" y="12975"/>
                    </a:lnTo>
                    <a:lnTo>
                      <a:pt x="3254" y="13039"/>
                    </a:lnTo>
                    <a:lnTo>
                      <a:pt x="3446" y="13090"/>
                    </a:lnTo>
                    <a:lnTo>
                      <a:pt x="3651" y="13129"/>
                    </a:lnTo>
                    <a:lnTo>
                      <a:pt x="3869" y="13141"/>
                    </a:lnTo>
                    <a:lnTo>
                      <a:pt x="4022" y="13129"/>
                    </a:lnTo>
                    <a:lnTo>
                      <a:pt x="4176" y="13103"/>
                    </a:lnTo>
                    <a:lnTo>
                      <a:pt x="4330" y="13077"/>
                    </a:lnTo>
                    <a:lnTo>
                      <a:pt x="4471" y="13039"/>
                    </a:lnTo>
                    <a:lnTo>
                      <a:pt x="4548" y="13231"/>
                    </a:lnTo>
                    <a:lnTo>
                      <a:pt x="4637" y="13423"/>
                    </a:lnTo>
                    <a:lnTo>
                      <a:pt x="4752" y="13602"/>
                    </a:lnTo>
                    <a:lnTo>
                      <a:pt x="4868" y="13782"/>
                    </a:lnTo>
                    <a:lnTo>
                      <a:pt x="4996" y="13935"/>
                    </a:lnTo>
                    <a:lnTo>
                      <a:pt x="5137" y="14089"/>
                    </a:lnTo>
                    <a:lnTo>
                      <a:pt x="5290" y="14230"/>
                    </a:lnTo>
                    <a:lnTo>
                      <a:pt x="5457" y="14358"/>
                    </a:lnTo>
                    <a:lnTo>
                      <a:pt x="5623" y="14473"/>
                    </a:lnTo>
                    <a:lnTo>
                      <a:pt x="5815" y="14576"/>
                    </a:lnTo>
                    <a:lnTo>
                      <a:pt x="6008" y="14666"/>
                    </a:lnTo>
                    <a:lnTo>
                      <a:pt x="6200" y="14742"/>
                    </a:lnTo>
                    <a:lnTo>
                      <a:pt x="6405" y="14806"/>
                    </a:lnTo>
                    <a:lnTo>
                      <a:pt x="6622" y="14845"/>
                    </a:lnTo>
                    <a:lnTo>
                      <a:pt x="6840" y="14870"/>
                    </a:lnTo>
                    <a:lnTo>
                      <a:pt x="7058" y="14883"/>
                    </a:lnTo>
                    <a:lnTo>
                      <a:pt x="7327" y="14870"/>
                    </a:lnTo>
                    <a:lnTo>
                      <a:pt x="7596" y="14832"/>
                    </a:lnTo>
                    <a:lnTo>
                      <a:pt x="7852" y="14768"/>
                    </a:lnTo>
                    <a:lnTo>
                      <a:pt x="8108" y="14678"/>
                    </a:lnTo>
                    <a:lnTo>
                      <a:pt x="8339" y="14563"/>
                    </a:lnTo>
                    <a:lnTo>
                      <a:pt x="8556" y="14435"/>
                    </a:lnTo>
                    <a:lnTo>
                      <a:pt x="8761" y="14281"/>
                    </a:lnTo>
                    <a:lnTo>
                      <a:pt x="8966" y="14102"/>
                    </a:lnTo>
                    <a:lnTo>
                      <a:pt x="9133" y="13923"/>
                    </a:lnTo>
                    <a:lnTo>
                      <a:pt x="9299" y="13718"/>
                    </a:lnTo>
                    <a:lnTo>
                      <a:pt x="9427" y="13500"/>
                    </a:lnTo>
                    <a:lnTo>
                      <a:pt x="9543" y="13269"/>
                    </a:lnTo>
                    <a:lnTo>
                      <a:pt x="9645" y="13026"/>
                    </a:lnTo>
                    <a:lnTo>
                      <a:pt x="9722" y="12770"/>
                    </a:lnTo>
                    <a:lnTo>
                      <a:pt x="9760" y="12501"/>
                    </a:lnTo>
                    <a:lnTo>
                      <a:pt x="9786" y="12232"/>
                    </a:lnTo>
                    <a:lnTo>
                      <a:pt x="9888" y="12296"/>
                    </a:lnTo>
                    <a:lnTo>
                      <a:pt x="9991" y="12347"/>
                    </a:lnTo>
                    <a:lnTo>
                      <a:pt x="10106" y="12386"/>
                    </a:lnTo>
                    <a:lnTo>
                      <a:pt x="10221" y="12424"/>
                    </a:lnTo>
                    <a:lnTo>
                      <a:pt x="10337" y="12463"/>
                    </a:lnTo>
                    <a:lnTo>
                      <a:pt x="10452" y="12488"/>
                    </a:lnTo>
                    <a:lnTo>
                      <a:pt x="10580" y="12501"/>
                    </a:lnTo>
                    <a:lnTo>
                      <a:pt x="10708" y="12501"/>
                    </a:lnTo>
                    <a:lnTo>
                      <a:pt x="10913" y="12488"/>
                    </a:lnTo>
                    <a:lnTo>
                      <a:pt x="11105" y="12450"/>
                    </a:lnTo>
                    <a:lnTo>
                      <a:pt x="11284" y="12399"/>
                    </a:lnTo>
                    <a:lnTo>
                      <a:pt x="11464" y="12322"/>
                    </a:lnTo>
                    <a:lnTo>
                      <a:pt x="11630" y="12232"/>
                    </a:lnTo>
                    <a:lnTo>
                      <a:pt x="11784" y="12117"/>
                    </a:lnTo>
                    <a:lnTo>
                      <a:pt x="11925" y="11989"/>
                    </a:lnTo>
                    <a:lnTo>
                      <a:pt x="12053" y="11848"/>
                    </a:lnTo>
                    <a:lnTo>
                      <a:pt x="12168" y="11950"/>
                    </a:lnTo>
                    <a:lnTo>
                      <a:pt x="12283" y="12027"/>
                    </a:lnTo>
                    <a:lnTo>
                      <a:pt x="12412" y="12104"/>
                    </a:lnTo>
                    <a:lnTo>
                      <a:pt x="12552" y="12168"/>
                    </a:lnTo>
                    <a:lnTo>
                      <a:pt x="12693" y="12206"/>
                    </a:lnTo>
                    <a:lnTo>
                      <a:pt x="12834" y="12245"/>
                    </a:lnTo>
                    <a:lnTo>
                      <a:pt x="12988" y="12270"/>
                    </a:lnTo>
                    <a:lnTo>
                      <a:pt x="13308" y="12270"/>
                    </a:lnTo>
                    <a:lnTo>
                      <a:pt x="13462" y="12245"/>
                    </a:lnTo>
                    <a:lnTo>
                      <a:pt x="13603" y="12206"/>
                    </a:lnTo>
                    <a:lnTo>
                      <a:pt x="13744" y="12155"/>
                    </a:lnTo>
                    <a:lnTo>
                      <a:pt x="13884" y="12104"/>
                    </a:lnTo>
                    <a:lnTo>
                      <a:pt x="14013" y="12027"/>
                    </a:lnTo>
                    <a:lnTo>
                      <a:pt x="14128" y="11937"/>
                    </a:lnTo>
                    <a:lnTo>
                      <a:pt x="14243" y="11848"/>
                    </a:lnTo>
                    <a:lnTo>
                      <a:pt x="14346" y="11733"/>
                    </a:lnTo>
                    <a:lnTo>
                      <a:pt x="14448" y="11617"/>
                    </a:lnTo>
                    <a:lnTo>
                      <a:pt x="14525" y="11502"/>
                    </a:lnTo>
                    <a:lnTo>
                      <a:pt x="14602" y="11361"/>
                    </a:lnTo>
                    <a:lnTo>
                      <a:pt x="14653" y="11233"/>
                    </a:lnTo>
                    <a:lnTo>
                      <a:pt x="14704" y="11079"/>
                    </a:lnTo>
                    <a:lnTo>
                      <a:pt x="14743" y="10938"/>
                    </a:lnTo>
                    <a:lnTo>
                      <a:pt x="14755" y="10785"/>
                    </a:lnTo>
                    <a:lnTo>
                      <a:pt x="15050" y="10734"/>
                    </a:lnTo>
                    <a:lnTo>
                      <a:pt x="15319" y="10657"/>
                    </a:lnTo>
                    <a:lnTo>
                      <a:pt x="15588" y="10567"/>
                    </a:lnTo>
                    <a:lnTo>
                      <a:pt x="15844" y="10452"/>
                    </a:lnTo>
                    <a:lnTo>
                      <a:pt x="16087" y="10311"/>
                    </a:lnTo>
                    <a:lnTo>
                      <a:pt x="16318" y="10144"/>
                    </a:lnTo>
                    <a:lnTo>
                      <a:pt x="16536" y="9965"/>
                    </a:lnTo>
                    <a:lnTo>
                      <a:pt x="16728" y="9773"/>
                    </a:lnTo>
                    <a:lnTo>
                      <a:pt x="16907" y="9555"/>
                    </a:lnTo>
                    <a:lnTo>
                      <a:pt x="17061" y="9325"/>
                    </a:lnTo>
                    <a:lnTo>
                      <a:pt x="17202" y="9081"/>
                    </a:lnTo>
                    <a:lnTo>
                      <a:pt x="17317" y="8812"/>
                    </a:lnTo>
                    <a:lnTo>
                      <a:pt x="17407" y="8543"/>
                    </a:lnTo>
                    <a:lnTo>
                      <a:pt x="17471" y="8274"/>
                    </a:lnTo>
                    <a:lnTo>
                      <a:pt x="17509" y="7980"/>
                    </a:lnTo>
                    <a:lnTo>
                      <a:pt x="17522" y="7685"/>
                    </a:lnTo>
                    <a:lnTo>
                      <a:pt x="17522" y="7429"/>
                    </a:lnTo>
                    <a:lnTo>
                      <a:pt x="17483" y="7186"/>
                    </a:lnTo>
                    <a:lnTo>
                      <a:pt x="17445" y="6955"/>
                    </a:lnTo>
                    <a:lnTo>
                      <a:pt x="17381" y="6725"/>
                    </a:lnTo>
                    <a:lnTo>
                      <a:pt x="17291" y="6494"/>
                    </a:lnTo>
                    <a:lnTo>
                      <a:pt x="17202" y="6289"/>
                    </a:lnTo>
                    <a:lnTo>
                      <a:pt x="17086" y="6084"/>
                    </a:lnTo>
                    <a:lnTo>
                      <a:pt x="16958" y="5879"/>
                    </a:lnTo>
                    <a:lnTo>
                      <a:pt x="16817" y="5700"/>
                    </a:lnTo>
                    <a:lnTo>
                      <a:pt x="16664" y="5521"/>
                    </a:lnTo>
                    <a:lnTo>
                      <a:pt x="16497" y="5367"/>
                    </a:lnTo>
                    <a:lnTo>
                      <a:pt x="16318" y="5213"/>
                    </a:lnTo>
                    <a:lnTo>
                      <a:pt x="16126" y="5085"/>
                    </a:lnTo>
                    <a:lnTo>
                      <a:pt x="15921" y="4957"/>
                    </a:lnTo>
                    <a:lnTo>
                      <a:pt x="15716" y="4855"/>
                    </a:lnTo>
                    <a:lnTo>
                      <a:pt x="15498" y="4765"/>
                    </a:lnTo>
                    <a:lnTo>
                      <a:pt x="15549" y="4509"/>
                    </a:lnTo>
                    <a:lnTo>
                      <a:pt x="15562" y="4368"/>
                    </a:lnTo>
                    <a:lnTo>
                      <a:pt x="15575" y="4240"/>
                    </a:lnTo>
                    <a:lnTo>
                      <a:pt x="15562" y="4022"/>
                    </a:lnTo>
                    <a:lnTo>
                      <a:pt x="15524" y="3817"/>
                    </a:lnTo>
                    <a:lnTo>
                      <a:pt x="15473" y="3625"/>
                    </a:lnTo>
                    <a:lnTo>
                      <a:pt x="15409" y="3433"/>
                    </a:lnTo>
                    <a:lnTo>
                      <a:pt x="15319" y="3254"/>
                    </a:lnTo>
                    <a:lnTo>
                      <a:pt x="15216" y="3087"/>
                    </a:lnTo>
                    <a:lnTo>
                      <a:pt x="15101" y="2921"/>
                    </a:lnTo>
                    <a:lnTo>
                      <a:pt x="14973" y="2780"/>
                    </a:lnTo>
                    <a:lnTo>
                      <a:pt x="14819" y="2652"/>
                    </a:lnTo>
                    <a:lnTo>
                      <a:pt x="14666" y="2524"/>
                    </a:lnTo>
                    <a:lnTo>
                      <a:pt x="14499" y="2421"/>
                    </a:lnTo>
                    <a:lnTo>
                      <a:pt x="14307" y="2332"/>
                    </a:lnTo>
                    <a:lnTo>
                      <a:pt x="14128" y="2267"/>
                    </a:lnTo>
                    <a:lnTo>
                      <a:pt x="13923" y="2216"/>
                    </a:lnTo>
                    <a:lnTo>
                      <a:pt x="13718" y="2191"/>
                    </a:lnTo>
                    <a:lnTo>
                      <a:pt x="13513" y="2178"/>
                    </a:lnTo>
                    <a:lnTo>
                      <a:pt x="13359" y="2178"/>
                    </a:lnTo>
                    <a:lnTo>
                      <a:pt x="13193" y="2203"/>
                    </a:lnTo>
                    <a:lnTo>
                      <a:pt x="13052" y="2229"/>
                    </a:lnTo>
                    <a:lnTo>
                      <a:pt x="12898" y="2267"/>
                    </a:lnTo>
                    <a:lnTo>
                      <a:pt x="12757" y="2319"/>
                    </a:lnTo>
                    <a:lnTo>
                      <a:pt x="12616" y="2383"/>
                    </a:lnTo>
                    <a:lnTo>
                      <a:pt x="12488" y="2447"/>
                    </a:lnTo>
                    <a:lnTo>
                      <a:pt x="12360" y="2524"/>
                    </a:lnTo>
                    <a:lnTo>
                      <a:pt x="12245" y="2255"/>
                    </a:lnTo>
                    <a:lnTo>
                      <a:pt x="12104" y="1999"/>
                    </a:lnTo>
                    <a:lnTo>
                      <a:pt x="11950" y="1742"/>
                    </a:lnTo>
                    <a:lnTo>
                      <a:pt x="11784" y="1512"/>
                    </a:lnTo>
                    <a:lnTo>
                      <a:pt x="11592" y="1281"/>
                    </a:lnTo>
                    <a:lnTo>
                      <a:pt x="11387" y="1076"/>
                    </a:lnTo>
                    <a:lnTo>
                      <a:pt x="11169" y="884"/>
                    </a:lnTo>
                    <a:lnTo>
                      <a:pt x="10939" y="705"/>
                    </a:lnTo>
                    <a:lnTo>
                      <a:pt x="10695" y="551"/>
                    </a:lnTo>
                    <a:lnTo>
                      <a:pt x="10439" y="410"/>
                    </a:lnTo>
                    <a:lnTo>
                      <a:pt x="10170" y="295"/>
                    </a:lnTo>
                    <a:lnTo>
                      <a:pt x="9888" y="193"/>
                    </a:lnTo>
                    <a:lnTo>
                      <a:pt x="9594" y="103"/>
                    </a:lnTo>
                    <a:lnTo>
                      <a:pt x="9299" y="52"/>
                    </a:lnTo>
                    <a:lnTo>
                      <a:pt x="8992" y="13"/>
                    </a:lnTo>
                    <a:lnTo>
                      <a:pt x="8684" y="0"/>
                    </a:lnTo>
                    <a:close/>
                  </a:path>
                </a:pathLst>
              </a:custGeom>
              <a:solidFill>
                <a:srgbClr val="EA4827">
                  <a:alpha val="376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5" name="Google Shape;1815;p36"/>
              <p:cNvSpPr/>
              <p:nvPr/>
            </p:nvSpPr>
            <p:spPr>
              <a:xfrm>
                <a:off x="5022704" y="2108884"/>
                <a:ext cx="341356" cy="237149"/>
              </a:xfrm>
              <a:custGeom>
                <a:avLst/>
                <a:gdLst/>
                <a:ahLst/>
                <a:cxnLst/>
                <a:rect l="l" t="t" r="r" b="b"/>
                <a:pathLst>
                  <a:path w="6712" h="4663" extrusionOk="0">
                    <a:moveTo>
                      <a:pt x="0" y="0"/>
                    </a:moveTo>
                    <a:lnTo>
                      <a:pt x="0" y="4662"/>
                    </a:lnTo>
                    <a:lnTo>
                      <a:pt x="6712" y="4662"/>
                    </a:lnTo>
                    <a:lnTo>
                      <a:pt x="6712" y="0"/>
                    </a:lnTo>
                    <a:close/>
                  </a:path>
                </a:pathLst>
              </a:custGeom>
              <a:solidFill>
                <a:srgbClr val="FFA59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6" name="Google Shape;1816;p36"/>
              <p:cNvSpPr/>
              <p:nvPr/>
            </p:nvSpPr>
            <p:spPr>
              <a:xfrm>
                <a:off x="5022704" y="2108884"/>
                <a:ext cx="341356" cy="58028"/>
              </a:xfrm>
              <a:custGeom>
                <a:avLst/>
                <a:gdLst/>
                <a:ahLst/>
                <a:cxnLst/>
                <a:rect l="l" t="t" r="r" b="b"/>
                <a:pathLst>
                  <a:path w="6712" h="1141" extrusionOk="0">
                    <a:moveTo>
                      <a:pt x="0" y="0"/>
                    </a:moveTo>
                    <a:lnTo>
                      <a:pt x="0" y="1140"/>
                    </a:lnTo>
                    <a:lnTo>
                      <a:pt x="6712" y="1140"/>
                    </a:lnTo>
                    <a:lnTo>
                      <a:pt x="6712"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7" name="Google Shape;1817;p36"/>
              <p:cNvSpPr/>
              <p:nvPr/>
            </p:nvSpPr>
            <p:spPr>
              <a:xfrm>
                <a:off x="5013601" y="2917863"/>
                <a:ext cx="308146" cy="198090"/>
              </a:xfrm>
              <a:custGeom>
                <a:avLst/>
                <a:gdLst/>
                <a:ahLst/>
                <a:cxnLst/>
                <a:rect l="l" t="t" r="r" b="b"/>
                <a:pathLst>
                  <a:path w="6059" h="3895" extrusionOk="0">
                    <a:moveTo>
                      <a:pt x="0" y="1"/>
                    </a:moveTo>
                    <a:lnTo>
                      <a:pt x="0" y="3894"/>
                    </a:lnTo>
                    <a:lnTo>
                      <a:pt x="6058" y="3894"/>
                    </a:lnTo>
                    <a:lnTo>
                      <a:pt x="6058" y="1"/>
                    </a:lnTo>
                    <a:close/>
                  </a:path>
                </a:pathLst>
              </a:custGeom>
              <a:solidFill>
                <a:srgbClr val="C99B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8" name="Google Shape;1818;p36"/>
              <p:cNvSpPr/>
              <p:nvPr/>
            </p:nvSpPr>
            <p:spPr>
              <a:xfrm>
                <a:off x="5013601" y="2917863"/>
                <a:ext cx="308146" cy="69776"/>
              </a:xfrm>
              <a:custGeom>
                <a:avLst/>
                <a:gdLst/>
                <a:ahLst/>
                <a:cxnLst/>
                <a:rect l="l" t="t" r="r" b="b"/>
                <a:pathLst>
                  <a:path w="6059" h="1372" extrusionOk="0">
                    <a:moveTo>
                      <a:pt x="0" y="1"/>
                    </a:moveTo>
                    <a:lnTo>
                      <a:pt x="0" y="1371"/>
                    </a:lnTo>
                    <a:lnTo>
                      <a:pt x="6058" y="1371"/>
                    </a:lnTo>
                    <a:lnTo>
                      <a:pt x="605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9" name="Google Shape;1819;p36"/>
              <p:cNvSpPr/>
              <p:nvPr/>
            </p:nvSpPr>
            <p:spPr>
              <a:xfrm>
                <a:off x="4490540" y="2398717"/>
                <a:ext cx="148555" cy="53502"/>
              </a:xfrm>
              <a:custGeom>
                <a:avLst/>
                <a:gdLst/>
                <a:ahLst/>
                <a:cxnLst/>
                <a:rect l="l" t="t" r="r" b="b"/>
                <a:pathLst>
                  <a:path w="2921" h="1052" extrusionOk="0">
                    <a:moveTo>
                      <a:pt x="1460" y="1"/>
                    </a:moveTo>
                    <a:lnTo>
                      <a:pt x="1268" y="14"/>
                    </a:lnTo>
                    <a:lnTo>
                      <a:pt x="1076" y="52"/>
                    </a:lnTo>
                    <a:lnTo>
                      <a:pt x="884" y="116"/>
                    </a:lnTo>
                    <a:lnTo>
                      <a:pt x="705" y="206"/>
                    </a:lnTo>
                    <a:lnTo>
                      <a:pt x="525" y="308"/>
                    </a:lnTo>
                    <a:lnTo>
                      <a:pt x="359" y="436"/>
                    </a:lnTo>
                    <a:lnTo>
                      <a:pt x="192" y="590"/>
                    </a:lnTo>
                    <a:lnTo>
                      <a:pt x="39" y="757"/>
                    </a:lnTo>
                    <a:lnTo>
                      <a:pt x="13" y="821"/>
                    </a:lnTo>
                    <a:lnTo>
                      <a:pt x="0" y="897"/>
                    </a:lnTo>
                    <a:lnTo>
                      <a:pt x="26" y="962"/>
                    </a:lnTo>
                    <a:lnTo>
                      <a:pt x="77" y="1013"/>
                    </a:lnTo>
                    <a:lnTo>
                      <a:pt x="141" y="1051"/>
                    </a:lnTo>
                    <a:lnTo>
                      <a:pt x="205" y="1051"/>
                    </a:lnTo>
                    <a:lnTo>
                      <a:pt x="269" y="1038"/>
                    </a:lnTo>
                    <a:lnTo>
                      <a:pt x="333" y="987"/>
                    </a:lnTo>
                    <a:lnTo>
                      <a:pt x="449" y="846"/>
                    </a:lnTo>
                    <a:lnTo>
                      <a:pt x="577" y="731"/>
                    </a:lnTo>
                    <a:lnTo>
                      <a:pt x="718" y="629"/>
                    </a:lnTo>
                    <a:lnTo>
                      <a:pt x="858" y="539"/>
                    </a:lnTo>
                    <a:lnTo>
                      <a:pt x="1012" y="475"/>
                    </a:lnTo>
                    <a:lnTo>
                      <a:pt x="1153" y="424"/>
                    </a:lnTo>
                    <a:lnTo>
                      <a:pt x="1307" y="398"/>
                    </a:lnTo>
                    <a:lnTo>
                      <a:pt x="1460" y="385"/>
                    </a:lnTo>
                    <a:lnTo>
                      <a:pt x="1614" y="398"/>
                    </a:lnTo>
                    <a:lnTo>
                      <a:pt x="1768" y="424"/>
                    </a:lnTo>
                    <a:lnTo>
                      <a:pt x="1921" y="475"/>
                    </a:lnTo>
                    <a:lnTo>
                      <a:pt x="2062" y="539"/>
                    </a:lnTo>
                    <a:lnTo>
                      <a:pt x="2203" y="629"/>
                    </a:lnTo>
                    <a:lnTo>
                      <a:pt x="2344" y="731"/>
                    </a:lnTo>
                    <a:lnTo>
                      <a:pt x="2472" y="846"/>
                    </a:lnTo>
                    <a:lnTo>
                      <a:pt x="2588" y="987"/>
                    </a:lnTo>
                    <a:lnTo>
                      <a:pt x="2626" y="1013"/>
                    </a:lnTo>
                    <a:lnTo>
                      <a:pt x="2664" y="1038"/>
                    </a:lnTo>
                    <a:lnTo>
                      <a:pt x="2690" y="1051"/>
                    </a:lnTo>
                    <a:lnTo>
                      <a:pt x="2792" y="1051"/>
                    </a:lnTo>
                    <a:lnTo>
                      <a:pt x="2844" y="1013"/>
                    </a:lnTo>
                    <a:lnTo>
                      <a:pt x="2895" y="962"/>
                    </a:lnTo>
                    <a:lnTo>
                      <a:pt x="2921" y="897"/>
                    </a:lnTo>
                    <a:lnTo>
                      <a:pt x="2908" y="821"/>
                    </a:lnTo>
                    <a:lnTo>
                      <a:pt x="2882" y="757"/>
                    </a:lnTo>
                    <a:lnTo>
                      <a:pt x="2728" y="590"/>
                    </a:lnTo>
                    <a:lnTo>
                      <a:pt x="2575" y="436"/>
                    </a:lnTo>
                    <a:lnTo>
                      <a:pt x="2395" y="308"/>
                    </a:lnTo>
                    <a:lnTo>
                      <a:pt x="2229" y="206"/>
                    </a:lnTo>
                    <a:lnTo>
                      <a:pt x="2037" y="116"/>
                    </a:lnTo>
                    <a:lnTo>
                      <a:pt x="1857" y="52"/>
                    </a:lnTo>
                    <a:lnTo>
                      <a:pt x="1653" y="14"/>
                    </a:lnTo>
                    <a:lnTo>
                      <a:pt x="14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0" name="Google Shape;1820;p36"/>
              <p:cNvSpPr/>
              <p:nvPr/>
            </p:nvSpPr>
            <p:spPr>
              <a:xfrm>
                <a:off x="4670318" y="2510144"/>
                <a:ext cx="147894" cy="53451"/>
              </a:xfrm>
              <a:custGeom>
                <a:avLst/>
                <a:gdLst/>
                <a:ahLst/>
                <a:cxnLst/>
                <a:rect l="l" t="t" r="r" b="b"/>
                <a:pathLst>
                  <a:path w="2908" h="1051" extrusionOk="0">
                    <a:moveTo>
                      <a:pt x="1460" y="0"/>
                    </a:moveTo>
                    <a:lnTo>
                      <a:pt x="1255" y="13"/>
                    </a:lnTo>
                    <a:lnTo>
                      <a:pt x="1063" y="51"/>
                    </a:lnTo>
                    <a:lnTo>
                      <a:pt x="884" y="115"/>
                    </a:lnTo>
                    <a:lnTo>
                      <a:pt x="692" y="192"/>
                    </a:lnTo>
                    <a:lnTo>
                      <a:pt x="513" y="307"/>
                    </a:lnTo>
                    <a:lnTo>
                      <a:pt x="346" y="436"/>
                    </a:lnTo>
                    <a:lnTo>
                      <a:pt x="192" y="589"/>
                    </a:lnTo>
                    <a:lnTo>
                      <a:pt x="39" y="756"/>
                    </a:lnTo>
                    <a:lnTo>
                      <a:pt x="0" y="820"/>
                    </a:lnTo>
                    <a:lnTo>
                      <a:pt x="0" y="884"/>
                    </a:lnTo>
                    <a:lnTo>
                      <a:pt x="26" y="961"/>
                    </a:lnTo>
                    <a:lnTo>
                      <a:pt x="64" y="1012"/>
                    </a:lnTo>
                    <a:lnTo>
                      <a:pt x="128" y="1050"/>
                    </a:lnTo>
                    <a:lnTo>
                      <a:pt x="205" y="1050"/>
                    </a:lnTo>
                    <a:lnTo>
                      <a:pt x="269" y="1025"/>
                    </a:lnTo>
                    <a:lnTo>
                      <a:pt x="320" y="986"/>
                    </a:lnTo>
                    <a:lnTo>
                      <a:pt x="449" y="845"/>
                    </a:lnTo>
                    <a:lnTo>
                      <a:pt x="577" y="717"/>
                    </a:lnTo>
                    <a:lnTo>
                      <a:pt x="718" y="615"/>
                    </a:lnTo>
                    <a:lnTo>
                      <a:pt x="858" y="538"/>
                    </a:lnTo>
                    <a:lnTo>
                      <a:pt x="999" y="474"/>
                    </a:lnTo>
                    <a:lnTo>
                      <a:pt x="1153" y="423"/>
                    </a:lnTo>
                    <a:lnTo>
                      <a:pt x="1307" y="397"/>
                    </a:lnTo>
                    <a:lnTo>
                      <a:pt x="1460" y="384"/>
                    </a:lnTo>
                    <a:lnTo>
                      <a:pt x="1614" y="397"/>
                    </a:lnTo>
                    <a:lnTo>
                      <a:pt x="1768" y="423"/>
                    </a:lnTo>
                    <a:lnTo>
                      <a:pt x="1909" y="474"/>
                    </a:lnTo>
                    <a:lnTo>
                      <a:pt x="2062" y="538"/>
                    </a:lnTo>
                    <a:lnTo>
                      <a:pt x="2203" y="615"/>
                    </a:lnTo>
                    <a:lnTo>
                      <a:pt x="2331" y="717"/>
                    </a:lnTo>
                    <a:lnTo>
                      <a:pt x="2472" y="845"/>
                    </a:lnTo>
                    <a:lnTo>
                      <a:pt x="2587" y="986"/>
                    </a:lnTo>
                    <a:lnTo>
                      <a:pt x="2613" y="1012"/>
                    </a:lnTo>
                    <a:lnTo>
                      <a:pt x="2652" y="1038"/>
                    </a:lnTo>
                    <a:lnTo>
                      <a:pt x="2690" y="1050"/>
                    </a:lnTo>
                    <a:lnTo>
                      <a:pt x="2728" y="1050"/>
                    </a:lnTo>
                    <a:lnTo>
                      <a:pt x="2792" y="1038"/>
                    </a:lnTo>
                    <a:lnTo>
                      <a:pt x="2844" y="1012"/>
                    </a:lnTo>
                    <a:lnTo>
                      <a:pt x="2895" y="961"/>
                    </a:lnTo>
                    <a:lnTo>
                      <a:pt x="2908" y="884"/>
                    </a:lnTo>
                    <a:lnTo>
                      <a:pt x="2908" y="820"/>
                    </a:lnTo>
                    <a:lnTo>
                      <a:pt x="2869" y="756"/>
                    </a:lnTo>
                    <a:lnTo>
                      <a:pt x="2728" y="589"/>
                    </a:lnTo>
                    <a:lnTo>
                      <a:pt x="2562" y="436"/>
                    </a:lnTo>
                    <a:lnTo>
                      <a:pt x="2395" y="307"/>
                    </a:lnTo>
                    <a:lnTo>
                      <a:pt x="2216" y="192"/>
                    </a:lnTo>
                    <a:lnTo>
                      <a:pt x="2037" y="115"/>
                    </a:lnTo>
                    <a:lnTo>
                      <a:pt x="1845" y="51"/>
                    </a:lnTo>
                    <a:lnTo>
                      <a:pt x="1653" y="13"/>
                    </a:lnTo>
                    <a:lnTo>
                      <a:pt x="146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1" name="Google Shape;1821;p36"/>
              <p:cNvSpPr/>
              <p:nvPr/>
            </p:nvSpPr>
            <p:spPr>
              <a:xfrm>
                <a:off x="4280146" y="2495802"/>
                <a:ext cx="147894" cy="53451"/>
              </a:xfrm>
              <a:custGeom>
                <a:avLst/>
                <a:gdLst/>
                <a:ahLst/>
                <a:cxnLst/>
                <a:rect l="l" t="t" r="r" b="b"/>
                <a:pathLst>
                  <a:path w="2908" h="1051" extrusionOk="0">
                    <a:moveTo>
                      <a:pt x="1448" y="0"/>
                    </a:moveTo>
                    <a:lnTo>
                      <a:pt x="1256" y="13"/>
                    </a:lnTo>
                    <a:lnTo>
                      <a:pt x="1063" y="52"/>
                    </a:lnTo>
                    <a:lnTo>
                      <a:pt x="871" y="116"/>
                    </a:lnTo>
                    <a:lnTo>
                      <a:pt x="692" y="192"/>
                    </a:lnTo>
                    <a:lnTo>
                      <a:pt x="513" y="308"/>
                    </a:lnTo>
                    <a:lnTo>
                      <a:pt x="346" y="436"/>
                    </a:lnTo>
                    <a:lnTo>
                      <a:pt x="180" y="589"/>
                    </a:lnTo>
                    <a:lnTo>
                      <a:pt x="39" y="756"/>
                    </a:lnTo>
                    <a:lnTo>
                      <a:pt x="0" y="820"/>
                    </a:lnTo>
                    <a:lnTo>
                      <a:pt x="0" y="897"/>
                    </a:lnTo>
                    <a:lnTo>
                      <a:pt x="13" y="961"/>
                    </a:lnTo>
                    <a:lnTo>
                      <a:pt x="64" y="1012"/>
                    </a:lnTo>
                    <a:lnTo>
                      <a:pt x="128" y="1051"/>
                    </a:lnTo>
                    <a:lnTo>
                      <a:pt x="193" y="1051"/>
                    </a:lnTo>
                    <a:lnTo>
                      <a:pt x="269" y="1025"/>
                    </a:lnTo>
                    <a:lnTo>
                      <a:pt x="321" y="987"/>
                    </a:lnTo>
                    <a:lnTo>
                      <a:pt x="436" y="846"/>
                    </a:lnTo>
                    <a:lnTo>
                      <a:pt x="577" y="718"/>
                    </a:lnTo>
                    <a:lnTo>
                      <a:pt x="705" y="615"/>
                    </a:lnTo>
                    <a:lnTo>
                      <a:pt x="846" y="538"/>
                    </a:lnTo>
                    <a:lnTo>
                      <a:pt x="999" y="474"/>
                    </a:lnTo>
                    <a:lnTo>
                      <a:pt x="1140" y="423"/>
                    </a:lnTo>
                    <a:lnTo>
                      <a:pt x="1294" y="397"/>
                    </a:lnTo>
                    <a:lnTo>
                      <a:pt x="1448" y="385"/>
                    </a:lnTo>
                    <a:lnTo>
                      <a:pt x="1601" y="397"/>
                    </a:lnTo>
                    <a:lnTo>
                      <a:pt x="1755" y="423"/>
                    </a:lnTo>
                    <a:lnTo>
                      <a:pt x="1909" y="474"/>
                    </a:lnTo>
                    <a:lnTo>
                      <a:pt x="2050" y="538"/>
                    </a:lnTo>
                    <a:lnTo>
                      <a:pt x="2191" y="615"/>
                    </a:lnTo>
                    <a:lnTo>
                      <a:pt x="2331" y="718"/>
                    </a:lnTo>
                    <a:lnTo>
                      <a:pt x="2459" y="846"/>
                    </a:lnTo>
                    <a:lnTo>
                      <a:pt x="2588" y="987"/>
                    </a:lnTo>
                    <a:lnTo>
                      <a:pt x="2613" y="1012"/>
                    </a:lnTo>
                    <a:lnTo>
                      <a:pt x="2652" y="1038"/>
                    </a:lnTo>
                    <a:lnTo>
                      <a:pt x="2690" y="1051"/>
                    </a:lnTo>
                    <a:lnTo>
                      <a:pt x="2728" y="1051"/>
                    </a:lnTo>
                    <a:lnTo>
                      <a:pt x="2780" y="1038"/>
                    </a:lnTo>
                    <a:lnTo>
                      <a:pt x="2844" y="1012"/>
                    </a:lnTo>
                    <a:lnTo>
                      <a:pt x="2882" y="961"/>
                    </a:lnTo>
                    <a:lnTo>
                      <a:pt x="2908" y="897"/>
                    </a:lnTo>
                    <a:lnTo>
                      <a:pt x="2908" y="820"/>
                    </a:lnTo>
                    <a:lnTo>
                      <a:pt x="2869" y="756"/>
                    </a:lnTo>
                    <a:lnTo>
                      <a:pt x="2716" y="589"/>
                    </a:lnTo>
                    <a:lnTo>
                      <a:pt x="2562" y="436"/>
                    </a:lnTo>
                    <a:lnTo>
                      <a:pt x="2395" y="308"/>
                    </a:lnTo>
                    <a:lnTo>
                      <a:pt x="2216" y="192"/>
                    </a:lnTo>
                    <a:lnTo>
                      <a:pt x="2024" y="116"/>
                    </a:lnTo>
                    <a:lnTo>
                      <a:pt x="1845" y="52"/>
                    </a:lnTo>
                    <a:lnTo>
                      <a:pt x="1653" y="13"/>
                    </a:lnTo>
                    <a:lnTo>
                      <a:pt x="1448"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2" name="Google Shape;1822;p36"/>
              <p:cNvSpPr/>
              <p:nvPr/>
            </p:nvSpPr>
            <p:spPr>
              <a:xfrm>
                <a:off x="4353735" y="2661239"/>
                <a:ext cx="148555" cy="53451"/>
              </a:xfrm>
              <a:custGeom>
                <a:avLst/>
                <a:gdLst/>
                <a:ahLst/>
                <a:cxnLst/>
                <a:rect l="l" t="t" r="r" b="b"/>
                <a:pathLst>
                  <a:path w="2921" h="1051" extrusionOk="0">
                    <a:moveTo>
                      <a:pt x="1461" y="1"/>
                    </a:moveTo>
                    <a:lnTo>
                      <a:pt x="1269" y="13"/>
                    </a:lnTo>
                    <a:lnTo>
                      <a:pt x="1077" y="52"/>
                    </a:lnTo>
                    <a:lnTo>
                      <a:pt x="884" y="116"/>
                    </a:lnTo>
                    <a:lnTo>
                      <a:pt x="705" y="205"/>
                    </a:lnTo>
                    <a:lnTo>
                      <a:pt x="526" y="308"/>
                    </a:lnTo>
                    <a:lnTo>
                      <a:pt x="359" y="436"/>
                    </a:lnTo>
                    <a:lnTo>
                      <a:pt x="193" y="590"/>
                    </a:lnTo>
                    <a:lnTo>
                      <a:pt x="39" y="756"/>
                    </a:lnTo>
                    <a:lnTo>
                      <a:pt x="13" y="820"/>
                    </a:lnTo>
                    <a:lnTo>
                      <a:pt x="1" y="897"/>
                    </a:lnTo>
                    <a:lnTo>
                      <a:pt x="26" y="961"/>
                    </a:lnTo>
                    <a:lnTo>
                      <a:pt x="78" y="1012"/>
                    </a:lnTo>
                    <a:lnTo>
                      <a:pt x="142" y="1051"/>
                    </a:lnTo>
                    <a:lnTo>
                      <a:pt x="206" y="1051"/>
                    </a:lnTo>
                    <a:lnTo>
                      <a:pt x="270" y="1038"/>
                    </a:lnTo>
                    <a:lnTo>
                      <a:pt x="334" y="987"/>
                    </a:lnTo>
                    <a:lnTo>
                      <a:pt x="449" y="846"/>
                    </a:lnTo>
                    <a:lnTo>
                      <a:pt x="577" y="731"/>
                    </a:lnTo>
                    <a:lnTo>
                      <a:pt x="718" y="628"/>
                    </a:lnTo>
                    <a:lnTo>
                      <a:pt x="859" y="538"/>
                    </a:lnTo>
                    <a:lnTo>
                      <a:pt x="1012" y="474"/>
                    </a:lnTo>
                    <a:lnTo>
                      <a:pt x="1153" y="423"/>
                    </a:lnTo>
                    <a:lnTo>
                      <a:pt x="1307" y="398"/>
                    </a:lnTo>
                    <a:lnTo>
                      <a:pt x="1461" y="385"/>
                    </a:lnTo>
                    <a:lnTo>
                      <a:pt x="1614" y="398"/>
                    </a:lnTo>
                    <a:lnTo>
                      <a:pt x="1768" y="423"/>
                    </a:lnTo>
                    <a:lnTo>
                      <a:pt x="1922" y="474"/>
                    </a:lnTo>
                    <a:lnTo>
                      <a:pt x="2063" y="538"/>
                    </a:lnTo>
                    <a:lnTo>
                      <a:pt x="2204" y="628"/>
                    </a:lnTo>
                    <a:lnTo>
                      <a:pt x="2345" y="731"/>
                    </a:lnTo>
                    <a:lnTo>
                      <a:pt x="2473" y="846"/>
                    </a:lnTo>
                    <a:lnTo>
                      <a:pt x="2588" y="987"/>
                    </a:lnTo>
                    <a:lnTo>
                      <a:pt x="2626" y="1012"/>
                    </a:lnTo>
                    <a:lnTo>
                      <a:pt x="2652" y="1038"/>
                    </a:lnTo>
                    <a:lnTo>
                      <a:pt x="2690" y="1051"/>
                    </a:lnTo>
                    <a:lnTo>
                      <a:pt x="2793" y="1051"/>
                    </a:lnTo>
                    <a:lnTo>
                      <a:pt x="2844" y="1012"/>
                    </a:lnTo>
                    <a:lnTo>
                      <a:pt x="2895" y="961"/>
                    </a:lnTo>
                    <a:lnTo>
                      <a:pt x="2921" y="897"/>
                    </a:lnTo>
                    <a:lnTo>
                      <a:pt x="2908" y="820"/>
                    </a:lnTo>
                    <a:lnTo>
                      <a:pt x="2882" y="756"/>
                    </a:lnTo>
                    <a:lnTo>
                      <a:pt x="2729" y="590"/>
                    </a:lnTo>
                    <a:lnTo>
                      <a:pt x="2562" y="436"/>
                    </a:lnTo>
                    <a:lnTo>
                      <a:pt x="2396" y="308"/>
                    </a:lnTo>
                    <a:lnTo>
                      <a:pt x="2229" y="205"/>
                    </a:lnTo>
                    <a:lnTo>
                      <a:pt x="2037" y="116"/>
                    </a:lnTo>
                    <a:lnTo>
                      <a:pt x="1845" y="52"/>
                    </a:lnTo>
                    <a:lnTo>
                      <a:pt x="1653" y="13"/>
                    </a:lnTo>
                    <a:lnTo>
                      <a:pt x="1461"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3" name="Google Shape;1823;p36"/>
              <p:cNvSpPr/>
              <p:nvPr/>
            </p:nvSpPr>
            <p:spPr>
              <a:xfrm>
                <a:off x="4596067" y="2661239"/>
                <a:ext cx="148555" cy="53451"/>
              </a:xfrm>
              <a:custGeom>
                <a:avLst/>
                <a:gdLst/>
                <a:ahLst/>
                <a:cxnLst/>
                <a:rect l="l" t="t" r="r" b="b"/>
                <a:pathLst>
                  <a:path w="2921" h="1051" extrusionOk="0">
                    <a:moveTo>
                      <a:pt x="1460" y="1"/>
                    </a:moveTo>
                    <a:lnTo>
                      <a:pt x="1268" y="13"/>
                    </a:lnTo>
                    <a:lnTo>
                      <a:pt x="1076" y="52"/>
                    </a:lnTo>
                    <a:lnTo>
                      <a:pt x="884" y="116"/>
                    </a:lnTo>
                    <a:lnTo>
                      <a:pt x="692" y="205"/>
                    </a:lnTo>
                    <a:lnTo>
                      <a:pt x="525" y="308"/>
                    </a:lnTo>
                    <a:lnTo>
                      <a:pt x="346" y="436"/>
                    </a:lnTo>
                    <a:lnTo>
                      <a:pt x="192" y="590"/>
                    </a:lnTo>
                    <a:lnTo>
                      <a:pt x="39" y="756"/>
                    </a:lnTo>
                    <a:lnTo>
                      <a:pt x="13" y="820"/>
                    </a:lnTo>
                    <a:lnTo>
                      <a:pt x="0" y="897"/>
                    </a:lnTo>
                    <a:lnTo>
                      <a:pt x="26" y="961"/>
                    </a:lnTo>
                    <a:lnTo>
                      <a:pt x="77" y="1012"/>
                    </a:lnTo>
                    <a:lnTo>
                      <a:pt x="141" y="1051"/>
                    </a:lnTo>
                    <a:lnTo>
                      <a:pt x="205" y="1051"/>
                    </a:lnTo>
                    <a:lnTo>
                      <a:pt x="269" y="1038"/>
                    </a:lnTo>
                    <a:lnTo>
                      <a:pt x="333" y="987"/>
                    </a:lnTo>
                    <a:lnTo>
                      <a:pt x="448" y="846"/>
                    </a:lnTo>
                    <a:lnTo>
                      <a:pt x="577" y="731"/>
                    </a:lnTo>
                    <a:lnTo>
                      <a:pt x="717" y="628"/>
                    </a:lnTo>
                    <a:lnTo>
                      <a:pt x="858" y="538"/>
                    </a:lnTo>
                    <a:lnTo>
                      <a:pt x="999" y="474"/>
                    </a:lnTo>
                    <a:lnTo>
                      <a:pt x="1153" y="423"/>
                    </a:lnTo>
                    <a:lnTo>
                      <a:pt x="1307" y="398"/>
                    </a:lnTo>
                    <a:lnTo>
                      <a:pt x="1460" y="385"/>
                    </a:lnTo>
                    <a:lnTo>
                      <a:pt x="1614" y="398"/>
                    </a:lnTo>
                    <a:lnTo>
                      <a:pt x="1768" y="423"/>
                    </a:lnTo>
                    <a:lnTo>
                      <a:pt x="1909" y="474"/>
                    </a:lnTo>
                    <a:lnTo>
                      <a:pt x="2062" y="538"/>
                    </a:lnTo>
                    <a:lnTo>
                      <a:pt x="2203" y="628"/>
                    </a:lnTo>
                    <a:lnTo>
                      <a:pt x="2344" y="731"/>
                    </a:lnTo>
                    <a:lnTo>
                      <a:pt x="2472" y="846"/>
                    </a:lnTo>
                    <a:lnTo>
                      <a:pt x="2587" y="987"/>
                    </a:lnTo>
                    <a:lnTo>
                      <a:pt x="2626" y="1012"/>
                    </a:lnTo>
                    <a:lnTo>
                      <a:pt x="2651" y="1038"/>
                    </a:lnTo>
                    <a:lnTo>
                      <a:pt x="2690" y="1051"/>
                    </a:lnTo>
                    <a:lnTo>
                      <a:pt x="2792" y="1051"/>
                    </a:lnTo>
                    <a:lnTo>
                      <a:pt x="2844" y="1012"/>
                    </a:lnTo>
                    <a:lnTo>
                      <a:pt x="2895" y="961"/>
                    </a:lnTo>
                    <a:lnTo>
                      <a:pt x="2920" y="897"/>
                    </a:lnTo>
                    <a:lnTo>
                      <a:pt x="2908" y="820"/>
                    </a:lnTo>
                    <a:lnTo>
                      <a:pt x="2882" y="756"/>
                    </a:lnTo>
                    <a:lnTo>
                      <a:pt x="2728" y="590"/>
                    </a:lnTo>
                    <a:lnTo>
                      <a:pt x="2562" y="436"/>
                    </a:lnTo>
                    <a:lnTo>
                      <a:pt x="2395" y="308"/>
                    </a:lnTo>
                    <a:lnTo>
                      <a:pt x="2216" y="205"/>
                    </a:lnTo>
                    <a:lnTo>
                      <a:pt x="2037" y="116"/>
                    </a:lnTo>
                    <a:lnTo>
                      <a:pt x="1845" y="52"/>
                    </a:lnTo>
                    <a:lnTo>
                      <a:pt x="1652" y="13"/>
                    </a:lnTo>
                    <a:lnTo>
                      <a:pt x="146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4" name="Google Shape;1824;p36"/>
              <p:cNvSpPr/>
              <p:nvPr/>
            </p:nvSpPr>
            <p:spPr>
              <a:xfrm>
                <a:off x="3805297" y="2135584"/>
                <a:ext cx="282768" cy="62606"/>
              </a:xfrm>
              <a:custGeom>
                <a:avLst/>
                <a:gdLst/>
                <a:ahLst/>
                <a:cxnLst/>
                <a:rect l="l" t="t" r="r" b="b"/>
                <a:pathLst>
                  <a:path w="5560" h="1231" extrusionOk="0">
                    <a:moveTo>
                      <a:pt x="0" y="1"/>
                    </a:moveTo>
                    <a:lnTo>
                      <a:pt x="0" y="1230"/>
                    </a:lnTo>
                    <a:lnTo>
                      <a:pt x="5559" y="1230"/>
                    </a:lnTo>
                    <a:lnTo>
                      <a:pt x="555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5" name="Google Shape;1825;p36"/>
              <p:cNvSpPr/>
              <p:nvPr/>
            </p:nvSpPr>
            <p:spPr>
              <a:xfrm>
                <a:off x="3976582" y="3788734"/>
                <a:ext cx="1190778" cy="100393"/>
              </a:xfrm>
              <a:custGeom>
                <a:avLst/>
                <a:gdLst/>
                <a:ahLst/>
                <a:cxnLst/>
                <a:rect l="l" t="t" r="r" b="b"/>
                <a:pathLst>
                  <a:path w="23414" h="1974" extrusionOk="0">
                    <a:moveTo>
                      <a:pt x="1551" y="1"/>
                    </a:moveTo>
                    <a:lnTo>
                      <a:pt x="1371" y="27"/>
                    </a:lnTo>
                    <a:lnTo>
                      <a:pt x="1218" y="78"/>
                    </a:lnTo>
                    <a:lnTo>
                      <a:pt x="1051" y="129"/>
                    </a:lnTo>
                    <a:lnTo>
                      <a:pt x="910" y="206"/>
                    </a:lnTo>
                    <a:lnTo>
                      <a:pt x="769" y="296"/>
                    </a:lnTo>
                    <a:lnTo>
                      <a:pt x="629" y="385"/>
                    </a:lnTo>
                    <a:lnTo>
                      <a:pt x="513" y="500"/>
                    </a:lnTo>
                    <a:lnTo>
                      <a:pt x="398" y="616"/>
                    </a:lnTo>
                    <a:lnTo>
                      <a:pt x="296" y="757"/>
                    </a:lnTo>
                    <a:lnTo>
                      <a:pt x="219" y="898"/>
                    </a:lnTo>
                    <a:lnTo>
                      <a:pt x="142" y="1038"/>
                    </a:lnTo>
                    <a:lnTo>
                      <a:pt x="78" y="1205"/>
                    </a:lnTo>
                    <a:lnTo>
                      <a:pt x="39" y="1371"/>
                    </a:lnTo>
                    <a:lnTo>
                      <a:pt x="14" y="1538"/>
                    </a:lnTo>
                    <a:lnTo>
                      <a:pt x="1" y="1717"/>
                    </a:lnTo>
                    <a:lnTo>
                      <a:pt x="1" y="1973"/>
                    </a:lnTo>
                    <a:lnTo>
                      <a:pt x="23414" y="1973"/>
                    </a:lnTo>
                    <a:lnTo>
                      <a:pt x="23414" y="1717"/>
                    </a:lnTo>
                    <a:lnTo>
                      <a:pt x="23414" y="1538"/>
                    </a:lnTo>
                    <a:lnTo>
                      <a:pt x="23388" y="1371"/>
                    </a:lnTo>
                    <a:lnTo>
                      <a:pt x="23337" y="1205"/>
                    </a:lnTo>
                    <a:lnTo>
                      <a:pt x="23286" y="1038"/>
                    </a:lnTo>
                    <a:lnTo>
                      <a:pt x="23209" y="898"/>
                    </a:lnTo>
                    <a:lnTo>
                      <a:pt x="23119" y="757"/>
                    </a:lnTo>
                    <a:lnTo>
                      <a:pt x="23029" y="616"/>
                    </a:lnTo>
                    <a:lnTo>
                      <a:pt x="22914" y="500"/>
                    </a:lnTo>
                    <a:lnTo>
                      <a:pt x="22799" y="385"/>
                    </a:lnTo>
                    <a:lnTo>
                      <a:pt x="22658" y="296"/>
                    </a:lnTo>
                    <a:lnTo>
                      <a:pt x="22517" y="206"/>
                    </a:lnTo>
                    <a:lnTo>
                      <a:pt x="22376" y="129"/>
                    </a:lnTo>
                    <a:lnTo>
                      <a:pt x="22210" y="78"/>
                    </a:lnTo>
                    <a:lnTo>
                      <a:pt x="22043" y="27"/>
                    </a:lnTo>
                    <a:lnTo>
                      <a:pt x="21877"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26" name="Google Shape;1826;p36"/>
            <p:cNvSpPr/>
            <p:nvPr/>
          </p:nvSpPr>
          <p:spPr>
            <a:xfrm>
              <a:off x="3954300" y="2808350"/>
              <a:ext cx="142200" cy="1422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7" name="Google Shape;1827;p36"/>
            <p:cNvSpPr/>
            <p:nvPr/>
          </p:nvSpPr>
          <p:spPr>
            <a:xfrm>
              <a:off x="5754525" y="4370450"/>
              <a:ext cx="142200" cy="142200"/>
            </a:xfrm>
            <a:prstGeom prst="ellipse">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6" name="Rectangle 45">
            <a:extLst>
              <a:ext uri="{FF2B5EF4-FFF2-40B4-BE49-F238E27FC236}">
                <a16:creationId xmlns:a16="http://schemas.microsoft.com/office/drawing/2014/main" id="{186FFAC6-75CC-4D80-A137-88F820B3841F}"/>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67" name="Google Shape;412;p18">
            <a:extLst>
              <a:ext uri="{FF2B5EF4-FFF2-40B4-BE49-F238E27FC236}">
                <a16:creationId xmlns:a16="http://schemas.microsoft.com/office/drawing/2014/main" id="{2E5464D3-80E1-4DA7-B9C2-1CB6DBC734BC}"/>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KẾT LUẬN</a:t>
            </a:r>
            <a:endParaRPr lang="en-US" dirty="0">
              <a:solidFill>
                <a:schemeClr val="bg1"/>
              </a:solidFill>
            </a:endParaRPr>
          </a:p>
        </p:txBody>
      </p:sp>
      <p:sp>
        <p:nvSpPr>
          <p:cNvPr id="68" name="Rectangle 67">
            <a:extLst>
              <a:ext uri="{FF2B5EF4-FFF2-40B4-BE49-F238E27FC236}">
                <a16:creationId xmlns:a16="http://schemas.microsoft.com/office/drawing/2014/main" id="{5562BDCC-20EF-4036-8E5C-AA26224E6498}"/>
              </a:ext>
            </a:extLst>
          </p:cNvPr>
          <p:cNvSpPr/>
          <p:nvPr/>
        </p:nvSpPr>
        <p:spPr>
          <a:xfrm flipH="1">
            <a:off x="144203" y="3688853"/>
            <a:ext cx="2778243" cy="787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Cao hơn nếu không tối ưu tham số</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69" name="Rectangle 68">
            <a:extLst>
              <a:ext uri="{FF2B5EF4-FFF2-40B4-BE49-F238E27FC236}">
                <a16:creationId xmlns:a16="http://schemas.microsoft.com/office/drawing/2014/main" id="{5EF98DCC-A774-4297-A93E-121B126F7409}"/>
              </a:ext>
            </a:extLst>
          </p:cNvPr>
          <p:cNvSpPr/>
          <p:nvPr/>
        </p:nvSpPr>
        <p:spPr>
          <a:xfrm flipH="1">
            <a:off x="144203" y="2052280"/>
            <a:ext cx="2778243" cy="787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Dựa trên nhiều cây quyết định, dễ học cả nhiễu</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70" name="Rectangle 69">
            <a:extLst>
              <a:ext uri="{FF2B5EF4-FFF2-40B4-BE49-F238E27FC236}">
                <a16:creationId xmlns:a16="http://schemas.microsoft.com/office/drawing/2014/main" id="{674F5AB0-0887-4B82-AC7B-1248BCD15036}"/>
              </a:ext>
            </a:extLst>
          </p:cNvPr>
          <p:cNvSpPr/>
          <p:nvPr/>
        </p:nvSpPr>
        <p:spPr>
          <a:xfrm flipH="1">
            <a:off x="144203" y="2870282"/>
            <a:ext cx="2778243" cy="787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Yếu hơn, cần điều chỉnh tham số thủ công</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71" name="Freeform 33">
            <a:extLst>
              <a:ext uri="{FF2B5EF4-FFF2-40B4-BE49-F238E27FC236}">
                <a16:creationId xmlns:a16="http://schemas.microsoft.com/office/drawing/2014/main" id="{8A38E7B8-A40D-4530-87EF-E9668269A903}"/>
              </a:ext>
            </a:extLst>
          </p:cNvPr>
          <p:cNvSpPr/>
          <p:nvPr/>
        </p:nvSpPr>
        <p:spPr>
          <a:xfrm flipH="1" flipV="1">
            <a:off x="2933312" y="3688851"/>
            <a:ext cx="768821" cy="78536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72" name="Freeform 38">
            <a:extLst>
              <a:ext uri="{FF2B5EF4-FFF2-40B4-BE49-F238E27FC236}">
                <a16:creationId xmlns:a16="http://schemas.microsoft.com/office/drawing/2014/main" id="{3E33265E-774A-4735-A0AD-AC72633AC777}"/>
              </a:ext>
            </a:extLst>
          </p:cNvPr>
          <p:cNvSpPr/>
          <p:nvPr/>
        </p:nvSpPr>
        <p:spPr>
          <a:xfrm flipH="1">
            <a:off x="2933313" y="2051981"/>
            <a:ext cx="768821" cy="1239313"/>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73" name="Freeform 39">
            <a:extLst>
              <a:ext uri="{FF2B5EF4-FFF2-40B4-BE49-F238E27FC236}">
                <a16:creationId xmlns:a16="http://schemas.microsoft.com/office/drawing/2014/main" id="{674E509D-FDDA-4A3A-8618-54557D479D24}"/>
              </a:ext>
            </a:extLst>
          </p:cNvPr>
          <p:cNvSpPr/>
          <p:nvPr/>
        </p:nvSpPr>
        <p:spPr>
          <a:xfrm flipH="1">
            <a:off x="2933311" y="2870282"/>
            <a:ext cx="768821" cy="787320"/>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74" name="Rectangle 73">
            <a:extLst>
              <a:ext uri="{FF2B5EF4-FFF2-40B4-BE49-F238E27FC236}">
                <a16:creationId xmlns:a16="http://schemas.microsoft.com/office/drawing/2014/main" id="{295B6849-964A-4B64-88F0-E7DC29ED051A}"/>
              </a:ext>
            </a:extLst>
          </p:cNvPr>
          <p:cNvSpPr/>
          <p:nvPr/>
        </p:nvSpPr>
        <p:spPr>
          <a:xfrm>
            <a:off x="144202" y="2052280"/>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75" name="Rectangle 74">
            <a:extLst>
              <a:ext uri="{FF2B5EF4-FFF2-40B4-BE49-F238E27FC236}">
                <a16:creationId xmlns:a16="http://schemas.microsoft.com/office/drawing/2014/main" id="{EB298028-D60C-400E-86F1-32DD3EF67F68}"/>
              </a:ext>
            </a:extLst>
          </p:cNvPr>
          <p:cNvSpPr/>
          <p:nvPr/>
        </p:nvSpPr>
        <p:spPr>
          <a:xfrm>
            <a:off x="144202" y="2877242"/>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76" name="Rectangle 75">
            <a:extLst>
              <a:ext uri="{FF2B5EF4-FFF2-40B4-BE49-F238E27FC236}">
                <a16:creationId xmlns:a16="http://schemas.microsoft.com/office/drawing/2014/main" id="{4595C6E6-E679-4D06-A4E2-DB4685E5B816}"/>
              </a:ext>
            </a:extLst>
          </p:cNvPr>
          <p:cNvSpPr/>
          <p:nvPr/>
        </p:nvSpPr>
        <p:spPr>
          <a:xfrm>
            <a:off x="144202" y="3688853"/>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grpSp>
        <p:nvGrpSpPr>
          <p:cNvPr id="77" name="Accounting2" descr="{&quot;Key&quot;:&quot;POWER_USER_SHAPE_ICON&quot;,&quot;Value&quot;:&quot;POWER_USER_SHAPE_ICON_STYLE_1&quot;}">
            <a:extLst>
              <a:ext uri="{FF2B5EF4-FFF2-40B4-BE49-F238E27FC236}">
                <a16:creationId xmlns:a16="http://schemas.microsoft.com/office/drawing/2014/main" id="{FA923625-B9D5-4A0E-818C-02AEF1329E95}"/>
              </a:ext>
            </a:extLst>
          </p:cNvPr>
          <p:cNvGrpSpPr>
            <a:grpSpLocks noChangeAspect="1"/>
          </p:cNvGrpSpPr>
          <p:nvPr/>
        </p:nvGrpSpPr>
        <p:grpSpPr>
          <a:xfrm>
            <a:off x="210267" y="2307076"/>
            <a:ext cx="378572" cy="305930"/>
            <a:chOff x="2951163" y="365125"/>
            <a:chExt cx="860425" cy="695325"/>
          </a:xfrm>
        </p:grpSpPr>
        <p:sp>
          <p:nvSpPr>
            <p:cNvPr id="78" name="Freeform 140">
              <a:extLst>
                <a:ext uri="{FF2B5EF4-FFF2-40B4-BE49-F238E27FC236}">
                  <a16:creationId xmlns:a16="http://schemas.microsoft.com/office/drawing/2014/main" id="{AEEC0373-5300-4DC1-9949-48138B67D62D}"/>
                </a:ext>
              </a:extLst>
            </p:cNvPr>
            <p:cNvSpPr>
              <a:spLocks/>
            </p:cNvSpPr>
            <p:nvPr/>
          </p:nvSpPr>
          <p:spPr bwMode="auto">
            <a:xfrm>
              <a:off x="2968625" y="365125"/>
              <a:ext cx="842963" cy="446088"/>
            </a:xfrm>
            <a:custGeom>
              <a:avLst/>
              <a:gdLst>
                <a:gd name="T0" fmla="*/ 245 w 1122"/>
                <a:gd name="T1" fmla="*/ 439 h 594"/>
                <a:gd name="T2" fmla="*/ 0 w 1122"/>
                <a:gd name="T3" fmla="*/ 299 h 594"/>
                <a:gd name="T4" fmla="*/ 519 w 1122"/>
                <a:gd name="T5" fmla="*/ 0 h 594"/>
                <a:gd name="T6" fmla="*/ 1122 w 1122"/>
                <a:gd name="T7" fmla="*/ 348 h 594"/>
                <a:gd name="T8" fmla="*/ 693 w 1122"/>
                <a:gd name="T9" fmla="*/ 594 h 594"/>
              </a:gdLst>
              <a:ahLst/>
              <a:cxnLst>
                <a:cxn ang="0">
                  <a:pos x="T0" y="T1"/>
                </a:cxn>
                <a:cxn ang="0">
                  <a:pos x="T2" y="T3"/>
                </a:cxn>
                <a:cxn ang="0">
                  <a:pos x="T4" y="T5"/>
                </a:cxn>
                <a:cxn ang="0">
                  <a:pos x="T6" y="T7"/>
                </a:cxn>
                <a:cxn ang="0">
                  <a:pos x="T8" y="T9"/>
                </a:cxn>
              </a:cxnLst>
              <a:rect l="0" t="0" r="r" b="b"/>
              <a:pathLst>
                <a:path w="1122" h="594">
                  <a:moveTo>
                    <a:pt x="245" y="439"/>
                  </a:moveTo>
                  <a:lnTo>
                    <a:pt x="0" y="299"/>
                  </a:lnTo>
                  <a:lnTo>
                    <a:pt x="519" y="0"/>
                  </a:lnTo>
                  <a:lnTo>
                    <a:pt x="1122" y="348"/>
                  </a:lnTo>
                  <a:lnTo>
                    <a:pt x="693" y="594"/>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79" name="Freeform 141">
              <a:extLst>
                <a:ext uri="{FF2B5EF4-FFF2-40B4-BE49-F238E27FC236}">
                  <a16:creationId xmlns:a16="http://schemas.microsoft.com/office/drawing/2014/main" id="{EFC562DD-BDA9-4FB2-B3D5-B1FCB62B992F}"/>
                </a:ext>
              </a:extLst>
            </p:cNvPr>
            <p:cNvSpPr>
              <a:spLocks/>
            </p:cNvSpPr>
            <p:nvPr/>
          </p:nvSpPr>
          <p:spPr bwMode="auto">
            <a:xfrm>
              <a:off x="2951163" y="647700"/>
              <a:ext cx="609600" cy="412750"/>
            </a:xfrm>
            <a:custGeom>
              <a:avLst/>
              <a:gdLst>
                <a:gd name="T0" fmla="*/ 0 w 811"/>
                <a:gd name="T1" fmla="*/ 269 h 550"/>
                <a:gd name="T2" fmla="*/ 0 w 811"/>
                <a:gd name="T3" fmla="*/ 229 h 550"/>
                <a:gd name="T4" fmla="*/ 9 w 811"/>
                <a:gd name="T5" fmla="*/ 215 h 550"/>
                <a:gd name="T6" fmla="*/ 372 w 811"/>
                <a:gd name="T7" fmla="*/ 5 h 550"/>
                <a:gd name="T8" fmla="*/ 406 w 811"/>
                <a:gd name="T9" fmla="*/ 5 h 550"/>
                <a:gd name="T10" fmla="*/ 558 w 811"/>
                <a:gd name="T11" fmla="*/ 127 h 550"/>
                <a:gd name="T12" fmla="*/ 802 w 811"/>
                <a:gd name="T13" fmla="*/ 268 h 550"/>
                <a:gd name="T14" fmla="*/ 811 w 811"/>
                <a:gd name="T15" fmla="*/ 281 h 550"/>
                <a:gd name="T16" fmla="*/ 811 w 811"/>
                <a:gd name="T17" fmla="*/ 322 h 550"/>
                <a:gd name="T18" fmla="*/ 802 w 811"/>
                <a:gd name="T19" fmla="*/ 335 h 550"/>
                <a:gd name="T20" fmla="*/ 439 w 811"/>
                <a:gd name="T21" fmla="*/ 545 h 550"/>
                <a:gd name="T22" fmla="*/ 404 w 811"/>
                <a:gd name="T23" fmla="*/ 545 h 550"/>
                <a:gd name="T24" fmla="*/ 151 w 811"/>
                <a:gd name="T25" fmla="*/ 399 h 550"/>
                <a:gd name="T26" fmla="*/ 6 w 811"/>
                <a:gd name="T27" fmla="*/ 279 h 550"/>
                <a:gd name="T28" fmla="*/ 0 w 811"/>
                <a:gd name="T29" fmla="*/ 26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1" h="550">
                  <a:moveTo>
                    <a:pt x="0" y="269"/>
                  </a:moveTo>
                  <a:lnTo>
                    <a:pt x="0" y="229"/>
                  </a:lnTo>
                  <a:cubicBezTo>
                    <a:pt x="0" y="223"/>
                    <a:pt x="3" y="218"/>
                    <a:pt x="9" y="215"/>
                  </a:cubicBezTo>
                  <a:lnTo>
                    <a:pt x="372" y="5"/>
                  </a:lnTo>
                  <a:cubicBezTo>
                    <a:pt x="381" y="0"/>
                    <a:pt x="397" y="0"/>
                    <a:pt x="406" y="5"/>
                  </a:cubicBezTo>
                  <a:lnTo>
                    <a:pt x="558" y="127"/>
                  </a:lnTo>
                  <a:lnTo>
                    <a:pt x="802" y="268"/>
                  </a:lnTo>
                  <a:cubicBezTo>
                    <a:pt x="805" y="270"/>
                    <a:pt x="811" y="274"/>
                    <a:pt x="811" y="281"/>
                  </a:cubicBezTo>
                  <a:lnTo>
                    <a:pt x="811" y="322"/>
                  </a:lnTo>
                  <a:cubicBezTo>
                    <a:pt x="811" y="329"/>
                    <a:pt x="805" y="333"/>
                    <a:pt x="802" y="335"/>
                  </a:cubicBezTo>
                  <a:lnTo>
                    <a:pt x="439" y="545"/>
                  </a:lnTo>
                  <a:cubicBezTo>
                    <a:pt x="429" y="550"/>
                    <a:pt x="413" y="550"/>
                    <a:pt x="404" y="545"/>
                  </a:cubicBezTo>
                  <a:lnTo>
                    <a:pt x="151" y="399"/>
                  </a:lnTo>
                  <a:cubicBezTo>
                    <a:pt x="141" y="390"/>
                    <a:pt x="33" y="303"/>
                    <a:pt x="6" y="279"/>
                  </a:cubicBezTo>
                  <a:cubicBezTo>
                    <a:pt x="2" y="276"/>
                    <a:pt x="0" y="273"/>
                    <a:pt x="0" y="269"/>
                  </a:cubicBezTo>
                  <a:close/>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0" name="Freeform 142">
              <a:extLst>
                <a:ext uri="{FF2B5EF4-FFF2-40B4-BE49-F238E27FC236}">
                  <a16:creationId xmlns:a16="http://schemas.microsoft.com/office/drawing/2014/main" id="{C850ACF4-94AF-4597-B652-56C122B98E39}"/>
                </a:ext>
              </a:extLst>
            </p:cNvPr>
            <p:cNvSpPr>
              <a:spLocks/>
            </p:cNvSpPr>
            <p:nvPr/>
          </p:nvSpPr>
          <p:spPr bwMode="auto">
            <a:xfrm>
              <a:off x="3028950" y="703263"/>
              <a:ext cx="273050" cy="173038"/>
            </a:xfrm>
            <a:custGeom>
              <a:avLst/>
              <a:gdLst>
                <a:gd name="T0" fmla="*/ 95 w 364"/>
                <a:gd name="T1" fmla="*/ 232 h 232"/>
                <a:gd name="T2" fmla="*/ 364 w 364"/>
                <a:gd name="T3" fmla="*/ 77 h 232"/>
                <a:gd name="T4" fmla="*/ 269 w 364"/>
                <a:gd name="T5" fmla="*/ 0 h 232"/>
                <a:gd name="T6" fmla="*/ 0 w 364"/>
                <a:gd name="T7" fmla="*/ 154 h 232"/>
                <a:gd name="T8" fmla="*/ 95 w 364"/>
                <a:gd name="T9" fmla="*/ 232 h 232"/>
              </a:gdLst>
              <a:ahLst/>
              <a:cxnLst>
                <a:cxn ang="0">
                  <a:pos x="T0" y="T1"/>
                </a:cxn>
                <a:cxn ang="0">
                  <a:pos x="T2" y="T3"/>
                </a:cxn>
                <a:cxn ang="0">
                  <a:pos x="T4" y="T5"/>
                </a:cxn>
                <a:cxn ang="0">
                  <a:pos x="T6" y="T7"/>
                </a:cxn>
                <a:cxn ang="0">
                  <a:pos x="T8" y="T9"/>
                </a:cxn>
              </a:cxnLst>
              <a:rect l="0" t="0" r="r" b="b"/>
              <a:pathLst>
                <a:path w="364" h="232">
                  <a:moveTo>
                    <a:pt x="95" y="232"/>
                  </a:moveTo>
                  <a:lnTo>
                    <a:pt x="364" y="77"/>
                  </a:lnTo>
                  <a:lnTo>
                    <a:pt x="269" y="0"/>
                  </a:lnTo>
                  <a:lnTo>
                    <a:pt x="0" y="154"/>
                  </a:lnTo>
                  <a:lnTo>
                    <a:pt x="95" y="232"/>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1" name="Line 143">
              <a:extLst>
                <a:ext uri="{FF2B5EF4-FFF2-40B4-BE49-F238E27FC236}">
                  <a16:creationId xmlns:a16="http://schemas.microsoft.com/office/drawing/2014/main" id="{18CE145B-84D9-469B-8578-DF7D5DE24039}"/>
                </a:ext>
              </a:extLst>
            </p:cNvPr>
            <p:cNvSpPr>
              <a:spLocks noChangeShapeType="1"/>
            </p:cNvSpPr>
            <p:nvPr/>
          </p:nvSpPr>
          <p:spPr bwMode="auto">
            <a:xfrm flipH="1">
              <a:off x="3313113" y="831850"/>
              <a:ext cx="11113" cy="4763"/>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2" name="Line 144">
              <a:extLst>
                <a:ext uri="{FF2B5EF4-FFF2-40B4-BE49-F238E27FC236}">
                  <a16:creationId xmlns:a16="http://schemas.microsoft.com/office/drawing/2014/main" id="{23BFB076-8D6F-40F4-8580-8BDB462B1FE9}"/>
                </a:ext>
              </a:extLst>
            </p:cNvPr>
            <p:cNvSpPr>
              <a:spLocks noChangeShapeType="1"/>
            </p:cNvSpPr>
            <p:nvPr/>
          </p:nvSpPr>
          <p:spPr bwMode="auto">
            <a:xfrm flipH="1">
              <a:off x="3208338" y="890588"/>
              <a:ext cx="9525" cy="6350"/>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3" name="Line 145">
              <a:extLst>
                <a:ext uri="{FF2B5EF4-FFF2-40B4-BE49-F238E27FC236}">
                  <a16:creationId xmlns:a16="http://schemas.microsoft.com/office/drawing/2014/main" id="{D4E47EF5-281A-41AC-B330-66B5894BCC16}"/>
                </a:ext>
              </a:extLst>
            </p:cNvPr>
            <p:cNvSpPr>
              <a:spLocks noChangeShapeType="1"/>
            </p:cNvSpPr>
            <p:nvPr/>
          </p:nvSpPr>
          <p:spPr bwMode="auto">
            <a:xfrm flipH="1">
              <a:off x="3389313" y="869950"/>
              <a:ext cx="11113" cy="6350"/>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4" name="Line 146">
              <a:extLst>
                <a:ext uri="{FF2B5EF4-FFF2-40B4-BE49-F238E27FC236}">
                  <a16:creationId xmlns:a16="http://schemas.microsoft.com/office/drawing/2014/main" id="{1BD8E767-BC4B-4F49-9969-A6690A65A075}"/>
                </a:ext>
              </a:extLst>
            </p:cNvPr>
            <p:cNvSpPr>
              <a:spLocks noChangeShapeType="1"/>
            </p:cNvSpPr>
            <p:nvPr/>
          </p:nvSpPr>
          <p:spPr bwMode="auto">
            <a:xfrm flipH="1">
              <a:off x="3284538" y="930275"/>
              <a:ext cx="11113" cy="6350"/>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5" name="Freeform 147">
              <a:extLst>
                <a:ext uri="{FF2B5EF4-FFF2-40B4-BE49-F238E27FC236}">
                  <a16:creationId xmlns:a16="http://schemas.microsoft.com/office/drawing/2014/main" id="{D9F35493-AD61-4084-AD7A-2F1A622632A7}"/>
                </a:ext>
              </a:extLst>
            </p:cNvPr>
            <p:cNvSpPr>
              <a:spLocks/>
            </p:cNvSpPr>
            <p:nvPr/>
          </p:nvSpPr>
          <p:spPr bwMode="auto">
            <a:xfrm>
              <a:off x="3209925" y="514350"/>
              <a:ext cx="180975" cy="211138"/>
            </a:xfrm>
            <a:custGeom>
              <a:avLst/>
              <a:gdLst>
                <a:gd name="T0" fmla="*/ 11 w 241"/>
                <a:gd name="T1" fmla="*/ 192 h 282"/>
                <a:gd name="T2" fmla="*/ 13 w 241"/>
                <a:gd name="T3" fmla="*/ 99 h 282"/>
                <a:gd name="T4" fmla="*/ 112 w 241"/>
                <a:gd name="T5" fmla="*/ 0 h 282"/>
                <a:gd name="T6" fmla="*/ 241 w 241"/>
                <a:gd name="T7" fmla="*/ 145 h 282"/>
                <a:gd name="T8" fmla="*/ 187 w 241"/>
                <a:gd name="T9" fmla="*/ 282 h 282"/>
              </a:gdLst>
              <a:ahLst/>
              <a:cxnLst>
                <a:cxn ang="0">
                  <a:pos x="T0" y="T1"/>
                </a:cxn>
                <a:cxn ang="0">
                  <a:pos x="T2" y="T3"/>
                </a:cxn>
                <a:cxn ang="0">
                  <a:pos x="T4" y="T5"/>
                </a:cxn>
                <a:cxn ang="0">
                  <a:pos x="T6" y="T7"/>
                </a:cxn>
                <a:cxn ang="0">
                  <a:pos x="T8" y="T9"/>
                </a:cxn>
              </a:cxnLst>
              <a:rect l="0" t="0" r="r" b="b"/>
              <a:pathLst>
                <a:path w="241" h="282">
                  <a:moveTo>
                    <a:pt x="11" y="192"/>
                  </a:moveTo>
                  <a:cubicBezTo>
                    <a:pt x="0" y="162"/>
                    <a:pt x="0" y="131"/>
                    <a:pt x="13" y="99"/>
                  </a:cubicBezTo>
                  <a:cubicBezTo>
                    <a:pt x="29" y="57"/>
                    <a:pt x="62" y="24"/>
                    <a:pt x="112" y="0"/>
                  </a:cubicBezTo>
                  <a:lnTo>
                    <a:pt x="241" y="145"/>
                  </a:lnTo>
                  <a:lnTo>
                    <a:pt x="187" y="282"/>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6" name="Freeform 148">
              <a:extLst>
                <a:ext uri="{FF2B5EF4-FFF2-40B4-BE49-F238E27FC236}">
                  <a16:creationId xmlns:a16="http://schemas.microsoft.com/office/drawing/2014/main" id="{4B4A0BB1-AFEF-442D-864B-733B8A21A34B}"/>
                </a:ext>
              </a:extLst>
            </p:cNvPr>
            <p:cNvSpPr>
              <a:spLocks/>
            </p:cNvSpPr>
            <p:nvPr/>
          </p:nvSpPr>
          <p:spPr bwMode="auto">
            <a:xfrm>
              <a:off x="3390900" y="565150"/>
              <a:ext cx="203200" cy="188913"/>
            </a:xfrm>
            <a:custGeom>
              <a:avLst/>
              <a:gdLst>
                <a:gd name="T0" fmla="*/ 0 w 271"/>
                <a:gd name="T1" fmla="*/ 76 h 251"/>
                <a:gd name="T2" fmla="*/ 216 w 271"/>
                <a:gd name="T3" fmla="*/ 0 h 251"/>
                <a:gd name="T4" fmla="*/ 100 w 271"/>
                <a:gd name="T5" fmla="*/ 234 h 251"/>
                <a:gd name="T6" fmla="*/ 0 w 271"/>
                <a:gd name="T7" fmla="*/ 251 h 251"/>
              </a:gdLst>
              <a:ahLst/>
              <a:cxnLst>
                <a:cxn ang="0">
                  <a:pos x="T0" y="T1"/>
                </a:cxn>
                <a:cxn ang="0">
                  <a:pos x="T2" y="T3"/>
                </a:cxn>
                <a:cxn ang="0">
                  <a:pos x="T4" y="T5"/>
                </a:cxn>
                <a:cxn ang="0">
                  <a:pos x="T6" y="T7"/>
                </a:cxn>
              </a:cxnLst>
              <a:rect l="0" t="0" r="r" b="b"/>
              <a:pathLst>
                <a:path w="271" h="251">
                  <a:moveTo>
                    <a:pt x="0" y="76"/>
                  </a:moveTo>
                  <a:lnTo>
                    <a:pt x="216" y="0"/>
                  </a:lnTo>
                  <a:cubicBezTo>
                    <a:pt x="271" y="87"/>
                    <a:pt x="219" y="192"/>
                    <a:pt x="100" y="234"/>
                  </a:cubicBezTo>
                  <a:cubicBezTo>
                    <a:pt x="67" y="245"/>
                    <a:pt x="34" y="251"/>
                    <a:pt x="0" y="251"/>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87" name="Freeform 149">
              <a:extLst>
                <a:ext uri="{FF2B5EF4-FFF2-40B4-BE49-F238E27FC236}">
                  <a16:creationId xmlns:a16="http://schemas.microsoft.com/office/drawing/2014/main" id="{270672F7-9441-4B23-9AC0-FC3A6CEC8285}"/>
                </a:ext>
              </a:extLst>
            </p:cNvPr>
            <p:cNvSpPr>
              <a:spLocks/>
            </p:cNvSpPr>
            <p:nvPr/>
          </p:nvSpPr>
          <p:spPr bwMode="auto">
            <a:xfrm>
              <a:off x="3294063" y="473075"/>
              <a:ext cx="258763" cy="149225"/>
            </a:xfrm>
            <a:custGeom>
              <a:avLst/>
              <a:gdLst>
                <a:gd name="T0" fmla="*/ 129 w 345"/>
                <a:gd name="T1" fmla="*/ 199 h 199"/>
                <a:gd name="T2" fmla="*/ 0 w 345"/>
                <a:gd name="T3" fmla="*/ 54 h 199"/>
                <a:gd name="T4" fmla="*/ 329 w 345"/>
                <a:gd name="T5" fmla="*/ 102 h 199"/>
                <a:gd name="T6" fmla="*/ 345 w 345"/>
                <a:gd name="T7" fmla="*/ 123 h 199"/>
                <a:gd name="T8" fmla="*/ 129 w 345"/>
                <a:gd name="T9" fmla="*/ 199 h 199"/>
              </a:gdLst>
              <a:ahLst/>
              <a:cxnLst>
                <a:cxn ang="0">
                  <a:pos x="T0" y="T1"/>
                </a:cxn>
                <a:cxn ang="0">
                  <a:pos x="T2" y="T3"/>
                </a:cxn>
                <a:cxn ang="0">
                  <a:pos x="T4" y="T5"/>
                </a:cxn>
                <a:cxn ang="0">
                  <a:pos x="T6" y="T7"/>
                </a:cxn>
                <a:cxn ang="0">
                  <a:pos x="T8" y="T9"/>
                </a:cxn>
              </a:cxnLst>
              <a:rect l="0" t="0" r="r" b="b"/>
              <a:pathLst>
                <a:path w="345" h="199">
                  <a:moveTo>
                    <a:pt x="129" y="199"/>
                  </a:moveTo>
                  <a:lnTo>
                    <a:pt x="0" y="54"/>
                  </a:lnTo>
                  <a:cubicBezTo>
                    <a:pt x="110" y="0"/>
                    <a:pt x="258" y="22"/>
                    <a:pt x="329" y="102"/>
                  </a:cubicBezTo>
                  <a:cubicBezTo>
                    <a:pt x="335" y="109"/>
                    <a:pt x="340" y="116"/>
                    <a:pt x="345" y="123"/>
                  </a:cubicBezTo>
                  <a:lnTo>
                    <a:pt x="129" y="199"/>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grpSp>
        <p:nvGrpSpPr>
          <p:cNvPr id="88" name="Agriculture6" descr="{&quot;Key&quot;:&quot;POWER_USER_SHAPE_ICON&quot;,&quot;Value&quot;:&quot;POWER_USER_SHAPE_ICON_STYLE_1&quot;}">
            <a:extLst>
              <a:ext uri="{FF2B5EF4-FFF2-40B4-BE49-F238E27FC236}">
                <a16:creationId xmlns:a16="http://schemas.microsoft.com/office/drawing/2014/main" id="{D2EC99E9-1C90-4D03-87C7-C195F60AC701}"/>
              </a:ext>
            </a:extLst>
          </p:cNvPr>
          <p:cNvGrpSpPr>
            <a:grpSpLocks noChangeAspect="1"/>
          </p:cNvGrpSpPr>
          <p:nvPr>
            <p:custDataLst>
              <p:tags r:id="rId1"/>
            </p:custDataLst>
          </p:nvPr>
        </p:nvGrpSpPr>
        <p:grpSpPr>
          <a:xfrm>
            <a:off x="246634" y="3143039"/>
            <a:ext cx="294383" cy="300076"/>
            <a:chOff x="3398839" y="258763"/>
            <a:chExt cx="574675" cy="585787"/>
          </a:xfrm>
          <a:solidFill>
            <a:schemeClr val="lt1"/>
          </a:solidFill>
        </p:grpSpPr>
        <p:sp>
          <p:nvSpPr>
            <p:cNvPr id="89" name="Freeform 121">
              <a:extLst>
                <a:ext uri="{FF2B5EF4-FFF2-40B4-BE49-F238E27FC236}">
                  <a16:creationId xmlns:a16="http://schemas.microsoft.com/office/drawing/2014/main" id="{C5C486AC-D66D-4269-95A3-60816DE1D7DA}"/>
                </a:ext>
              </a:extLst>
            </p:cNvPr>
            <p:cNvSpPr>
              <a:spLocks/>
            </p:cNvSpPr>
            <p:nvPr/>
          </p:nvSpPr>
          <p:spPr bwMode="auto">
            <a:xfrm>
              <a:off x="3503614" y="471488"/>
              <a:ext cx="25400" cy="360363"/>
            </a:xfrm>
            <a:custGeom>
              <a:avLst/>
              <a:gdLst>
                <a:gd name="T0" fmla="*/ 19 w 37"/>
                <a:gd name="T1" fmla="*/ 0 h 527"/>
                <a:gd name="T2" fmla="*/ 0 w 37"/>
                <a:gd name="T3" fmla="*/ 18 h 527"/>
                <a:gd name="T4" fmla="*/ 0 w 37"/>
                <a:gd name="T5" fmla="*/ 509 h 527"/>
                <a:gd name="T6" fmla="*/ 19 w 37"/>
                <a:gd name="T7" fmla="*/ 527 h 527"/>
                <a:gd name="T8" fmla="*/ 37 w 37"/>
                <a:gd name="T9" fmla="*/ 509 h 527"/>
                <a:gd name="T10" fmla="*/ 37 w 37"/>
                <a:gd name="T11" fmla="*/ 18 h 527"/>
                <a:gd name="T12" fmla="*/ 19 w 37"/>
                <a:gd name="T13" fmla="*/ 0 h 527"/>
              </a:gdLst>
              <a:ahLst/>
              <a:cxnLst>
                <a:cxn ang="0">
                  <a:pos x="T0" y="T1"/>
                </a:cxn>
                <a:cxn ang="0">
                  <a:pos x="T2" y="T3"/>
                </a:cxn>
                <a:cxn ang="0">
                  <a:pos x="T4" y="T5"/>
                </a:cxn>
                <a:cxn ang="0">
                  <a:pos x="T6" y="T7"/>
                </a:cxn>
                <a:cxn ang="0">
                  <a:pos x="T8" y="T9"/>
                </a:cxn>
                <a:cxn ang="0">
                  <a:pos x="T10" y="T11"/>
                </a:cxn>
                <a:cxn ang="0">
                  <a:pos x="T12" y="T13"/>
                </a:cxn>
              </a:cxnLst>
              <a:rect l="0" t="0" r="r" b="b"/>
              <a:pathLst>
                <a:path w="37" h="527">
                  <a:moveTo>
                    <a:pt x="19" y="0"/>
                  </a:moveTo>
                  <a:cubicBezTo>
                    <a:pt x="9" y="0"/>
                    <a:pt x="0" y="8"/>
                    <a:pt x="0" y="18"/>
                  </a:cubicBezTo>
                  <a:lnTo>
                    <a:pt x="0" y="509"/>
                  </a:lnTo>
                  <a:cubicBezTo>
                    <a:pt x="0" y="519"/>
                    <a:pt x="9" y="527"/>
                    <a:pt x="19" y="527"/>
                  </a:cubicBezTo>
                  <a:cubicBezTo>
                    <a:pt x="29" y="527"/>
                    <a:pt x="37" y="519"/>
                    <a:pt x="37" y="509"/>
                  </a:cubicBezTo>
                  <a:lnTo>
                    <a:pt x="37" y="18"/>
                  </a:lnTo>
                  <a:cubicBezTo>
                    <a:pt x="37" y="8"/>
                    <a:pt x="29" y="0"/>
                    <a:pt x="19"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0" name="Freeform 122">
              <a:extLst>
                <a:ext uri="{FF2B5EF4-FFF2-40B4-BE49-F238E27FC236}">
                  <a16:creationId xmlns:a16="http://schemas.microsoft.com/office/drawing/2014/main" id="{2B02431F-6156-49F4-83B6-7C5D7F9F193A}"/>
                </a:ext>
              </a:extLst>
            </p:cNvPr>
            <p:cNvSpPr>
              <a:spLocks noEditPoints="1"/>
            </p:cNvSpPr>
            <p:nvPr/>
          </p:nvSpPr>
          <p:spPr bwMode="auto">
            <a:xfrm>
              <a:off x="3475039" y="258763"/>
              <a:ext cx="82550" cy="209550"/>
            </a:xfrm>
            <a:custGeom>
              <a:avLst/>
              <a:gdLst>
                <a:gd name="T0" fmla="*/ 61 w 121"/>
                <a:gd name="T1" fmla="*/ 137 h 306"/>
                <a:gd name="T2" fmla="*/ 84 w 121"/>
                <a:gd name="T3" fmla="*/ 200 h 306"/>
                <a:gd name="T4" fmla="*/ 60 w 121"/>
                <a:gd name="T5" fmla="*/ 260 h 306"/>
                <a:gd name="T6" fmla="*/ 37 w 121"/>
                <a:gd name="T7" fmla="*/ 200 h 306"/>
                <a:gd name="T8" fmla="*/ 61 w 121"/>
                <a:gd name="T9" fmla="*/ 137 h 306"/>
                <a:gd name="T10" fmla="*/ 1 w 121"/>
                <a:gd name="T11" fmla="*/ 201 h 306"/>
                <a:gd name="T12" fmla="*/ 48 w 121"/>
                <a:gd name="T13" fmla="*/ 301 h 306"/>
                <a:gd name="T14" fmla="*/ 61 w 121"/>
                <a:gd name="T15" fmla="*/ 306 h 306"/>
                <a:gd name="T16" fmla="*/ 73 w 121"/>
                <a:gd name="T17" fmla="*/ 301 h 306"/>
                <a:gd name="T18" fmla="*/ 120 w 121"/>
                <a:gd name="T19" fmla="*/ 201 h 306"/>
                <a:gd name="T20" fmla="*/ 79 w 121"/>
                <a:gd name="T21" fmla="*/ 103 h 306"/>
                <a:gd name="T22" fmla="*/ 79 w 121"/>
                <a:gd name="T23" fmla="*/ 18 h 306"/>
                <a:gd name="T24" fmla="*/ 61 w 121"/>
                <a:gd name="T25" fmla="*/ 0 h 306"/>
                <a:gd name="T26" fmla="*/ 42 w 121"/>
                <a:gd name="T27" fmla="*/ 18 h 306"/>
                <a:gd name="T28" fmla="*/ 42 w 121"/>
                <a:gd name="T29" fmla="*/ 103 h 306"/>
                <a:gd name="T30" fmla="*/ 1 w 121"/>
                <a:gd name="T31" fmla="*/ 20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306">
                  <a:moveTo>
                    <a:pt x="61" y="137"/>
                  </a:moveTo>
                  <a:cubicBezTo>
                    <a:pt x="77" y="158"/>
                    <a:pt x="85" y="179"/>
                    <a:pt x="84" y="200"/>
                  </a:cubicBezTo>
                  <a:cubicBezTo>
                    <a:pt x="83" y="226"/>
                    <a:pt x="71" y="247"/>
                    <a:pt x="60" y="260"/>
                  </a:cubicBezTo>
                  <a:cubicBezTo>
                    <a:pt x="50" y="247"/>
                    <a:pt x="38" y="226"/>
                    <a:pt x="37" y="200"/>
                  </a:cubicBezTo>
                  <a:cubicBezTo>
                    <a:pt x="36" y="179"/>
                    <a:pt x="44" y="158"/>
                    <a:pt x="61" y="137"/>
                  </a:cubicBezTo>
                  <a:close/>
                  <a:moveTo>
                    <a:pt x="1" y="201"/>
                  </a:moveTo>
                  <a:cubicBezTo>
                    <a:pt x="2" y="259"/>
                    <a:pt x="47" y="299"/>
                    <a:pt x="48" y="301"/>
                  </a:cubicBezTo>
                  <a:cubicBezTo>
                    <a:pt x="52" y="304"/>
                    <a:pt x="56" y="306"/>
                    <a:pt x="61" y="306"/>
                  </a:cubicBezTo>
                  <a:cubicBezTo>
                    <a:pt x="65" y="306"/>
                    <a:pt x="69" y="304"/>
                    <a:pt x="73" y="301"/>
                  </a:cubicBezTo>
                  <a:cubicBezTo>
                    <a:pt x="74" y="299"/>
                    <a:pt x="119" y="259"/>
                    <a:pt x="120" y="201"/>
                  </a:cubicBezTo>
                  <a:cubicBezTo>
                    <a:pt x="121" y="167"/>
                    <a:pt x="107" y="133"/>
                    <a:pt x="79" y="103"/>
                  </a:cubicBezTo>
                  <a:lnTo>
                    <a:pt x="79" y="18"/>
                  </a:lnTo>
                  <a:cubicBezTo>
                    <a:pt x="79" y="8"/>
                    <a:pt x="71" y="0"/>
                    <a:pt x="61" y="0"/>
                  </a:cubicBezTo>
                  <a:cubicBezTo>
                    <a:pt x="51" y="0"/>
                    <a:pt x="42" y="8"/>
                    <a:pt x="42" y="18"/>
                  </a:cubicBezTo>
                  <a:lnTo>
                    <a:pt x="42" y="103"/>
                  </a:lnTo>
                  <a:cubicBezTo>
                    <a:pt x="14" y="133"/>
                    <a:pt x="0" y="167"/>
                    <a:pt x="1" y="20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1" name="Freeform 123">
              <a:extLst>
                <a:ext uri="{FF2B5EF4-FFF2-40B4-BE49-F238E27FC236}">
                  <a16:creationId xmlns:a16="http://schemas.microsoft.com/office/drawing/2014/main" id="{AA414C43-1C44-45FA-B733-6308F58CDB4C}"/>
                </a:ext>
              </a:extLst>
            </p:cNvPr>
            <p:cNvSpPr>
              <a:spLocks noEditPoints="1"/>
            </p:cNvSpPr>
            <p:nvPr/>
          </p:nvSpPr>
          <p:spPr bwMode="auto">
            <a:xfrm>
              <a:off x="3525839" y="355600"/>
              <a:ext cx="106363" cy="171450"/>
            </a:xfrm>
            <a:custGeom>
              <a:avLst/>
              <a:gdLst>
                <a:gd name="T0" fmla="*/ 61 w 155"/>
                <a:gd name="T1" fmla="*/ 146 h 250"/>
                <a:gd name="T2" fmla="*/ 116 w 155"/>
                <a:gd name="T3" fmla="*/ 106 h 250"/>
                <a:gd name="T4" fmla="*/ 48 w 155"/>
                <a:gd name="T5" fmla="*/ 210 h 250"/>
                <a:gd name="T6" fmla="*/ 61 w 155"/>
                <a:gd name="T7" fmla="*/ 146 h 250"/>
                <a:gd name="T8" fmla="*/ 33 w 155"/>
                <a:gd name="T9" fmla="*/ 250 h 250"/>
                <a:gd name="T10" fmla="*/ 36 w 155"/>
                <a:gd name="T11" fmla="*/ 250 h 250"/>
                <a:gd name="T12" fmla="*/ 42 w 155"/>
                <a:gd name="T13" fmla="*/ 249 h 250"/>
                <a:gd name="T14" fmla="*/ 114 w 155"/>
                <a:gd name="T15" fmla="*/ 212 h 250"/>
                <a:gd name="T16" fmla="*/ 152 w 155"/>
                <a:gd name="T17" fmla="*/ 110 h 250"/>
                <a:gd name="T18" fmla="*/ 152 w 155"/>
                <a:gd name="T19" fmla="*/ 107 h 250"/>
                <a:gd name="T20" fmla="*/ 152 w 155"/>
                <a:gd name="T21" fmla="*/ 18 h 250"/>
                <a:gd name="T22" fmla="*/ 134 w 155"/>
                <a:gd name="T23" fmla="*/ 0 h 250"/>
                <a:gd name="T24" fmla="*/ 116 w 155"/>
                <a:gd name="T25" fmla="*/ 18 h 250"/>
                <a:gd name="T26" fmla="*/ 116 w 155"/>
                <a:gd name="T27" fmla="*/ 68 h 250"/>
                <a:gd name="T28" fmla="*/ 30 w 155"/>
                <a:gd name="T29" fmla="*/ 127 h 250"/>
                <a:gd name="T30" fmla="*/ 16 w 155"/>
                <a:gd name="T31" fmla="*/ 237 h 250"/>
                <a:gd name="T32" fmla="*/ 33 w 155"/>
                <a:gd name="T33"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 h="250">
                  <a:moveTo>
                    <a:pt x="61" y="146"/>
                  </a:moveTo>
                  <a:cubicBezTo>
                    <a:pt x="73" y="128"/>
                    <a:pt x="91" y="115"/>
                    <a:pt x="116" y="106"/>
                  </a:cubicBezTo>
                  <a:cubicBezTo>
                    <a:pt x="122" y="173"/>
                    <a:pt x="78" y="200"/>
                    <a:pt x="48" y="210"/>
                  </a:cubicBezTo>
                  <a:cubicBezTo>
                    <a:pt x="47" y="193"/>
                    <a:pt x="48" y="168"/>
                    <a:pt x="61" y="146"/>
                  </a:cubicBezTo>
                  <a:close/>
                  <a:moveTo>
                    <a:pt x="33" y="250"/>
                  </a:moveTo>
                  <a:cubicBezTo>
                    <a:pt x="34" y="250"/>
                    <a:pt x="35" y="250"/>
                    <a:pt x="36" y="250"/>
                  </a:cubicBezTo>
                  <a:cubicBezTo>
                    <a:pt x="36" y="250"/>
                    <a:pt x="38" y="250"/>
                    <a:pt x="42" y="249"/>
                  </a:cubicBezTo>
                  <a:cubicBezTo>
                    <a:pt x="55" y="246"/>
                    <a:pt x="87" y="237"/>
                    <a:pt x="114" y="212"/>
                  </a:cubicBezTo>
                  <a:cubicBezTo>
                    <a:pt x="134" y="193"/>
                    <a:pt x="155" y="161"/>
                    <a:pt x="152" y="110"/>
                  </a:cubicBezTo>
                  <a:cubicBezTo>
                    <a:pt x="152" y="109"/>
                    <a:pt x="152" y="108"/>
                    <a:pt x="152" y="107"/>
                  </a:cubicBezTo>
                  <a:lnTo>
                    <a:pt x="152" y="18"/>
                  </a:lnTo>
                  <a:cubicBezTo>
                    <a:pt x="152" y="8"/>
                    <a:pt x="144" y="0"/>
                    <a:pt x="134" y="0"/>
                  </a:cubicBezTo>
                  <a:cubicBezTo>
                    <a:pt x="124" y="0"/>
                    <a:pt x="116" y="8"/>
                    <a:pt x="116" y="18"/>
                  </a:cubicBezTo>
                  <a:lnTo>
                    <a:pt x="116" y="68"/>
                  </a:lnTo>
                  <a:cubicBezTo>
                    <a:pt x="77" y="79"/>
                    <a:pt x="48" y="98"/>
                    <a:pt x="30" y="127"/>
                  </a:cubicBezTo>
                  <a:cubicBezTo>
                    <a:pt x="0" y="177"/>
                    <a:pt x="15" y="234"/>
                    <a:pt x="16" y="237"/>
                  </a:cubicBezTo>
                  <a:cubicBezTo>
                    <a:pt x="18" y="245"/>
                    <a:pt x="25" y="250"/>
                    <a:pt x="33" y="25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2" name="Freeform 124">
              <a:extLst>
                <a:ext uri="{FF2B5EF4-FFF2-40B4-BE49-F238E27FC236}">
                  <a16:creationId xmlns:a16="http://schemas.microsoft.com/office/drawing/2014/main" id="{15950EED-8C1B-472C-92E9-C7B9CC1AF86E}"/>
                </a:ext>
              </a:extLst>
            </p:cNvPr>
            <p:cNvSpPr>
              <a:spLocks noEditPoints="1"/>
            </p:cNvSpPr>
            <p:nvPr/>
          </p:nvSpPr>
          <p:spPr bwMode="auto">
            <a:xfrm>
              <a:off x="3525839" y="508000"/>
              <a:ext cx="112713" cy="127000"/>
            </a:xfrm>
            <a:custGeom>
              <a:avLst/>
              <a:gdLst>
                <a:gd name="T0" fmla="*/ 62 w 163"/>
                <a:gd name="T1" fmla="*/ 82 h 186"/>
                <a:gd name="T2" fmla="*/ 116 w 163"/>
                <a:gd name="T3" fmla="*/ 43 h 186"/>
                <a:gd name="T4" fmla="*/ 48 w 163"/>
                <a:gd name="T5" fmla="*/ 146 h 186"/>
                <a:gd name="T6" fmla="*/ 62 w 163"/>
                <a:gd name="T7" fmla="*/ 82 h 186"/>
                <a:gd name="T8" fmla="*/ 33 w 163"/>
                <a:gd name="T9" fmla="*/ 186 h 186"/>
                <a:gd name="T10" fmla="*/ 36 w 163"/>
                <a:gd name="T11" fmla="*/ 186 h 186"/>
                <a:gd name="T12" fmla="*/ 42 w 163"/>
                <a:gd name="T13" fmla="*/ 185 h 186"/>
                <a:gd name="T14" fmla="*/ 114 w 163"/>
                <a:gd name="T15" fmla="*/ 148 h 186"/>
                <a:gd name="T16" fmla="*/ 148 w 163"/>
                <a:gd name="T17" fmla="*/ 16 h 186"/>
                <a:gd name="T18" fmla="*/ 127 w 163"/>
                <a:gd name="T19" fmla="*/ 2 h 186"/>
                <a:gd name="T20" fmla="*/ 30 w 163"/>
                <a:gd name="T21" fmla="*/ 63 h 186"/>
                <a:gd name="T22" fmla="*/ 16 w 163"/>
                <a:gd name="T23" fmla="*/ 173 h 186"/>
                <a:gd name="T24" fmla="*/ 33 w 163"/>
                <a:gd name="T2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186">
                  <a:moveTo>
                    <a:pt x="62" y="82"/>
                  </a:moveTo>
                  <a:cubicBezTo>
                    <a:pt x="73" y="64"/>
                    <a:pt x="91" y="51"/>
                    <a:pt x="116" y="43"/>
                  </a:cubicBezTo>
                  <a:cubicBezTo>
                    <a:pt x="122" y="109"/>
                    <a:pt x="78" y="136"/>
                    <a:pt x="48" y="146"/>
                  </a:cubicBezTo>
                  <a:cubicBezTo>
                    <a:pt x="47" y="129"/>
                    <a:pt x="48" y="104"/>
                    <a:pt x="62" y="82"/>
                  </a:cubicBezTo>
                  <a:close/>
                  <a:moveTo>
                    <a:pt x="33" y="186"/>
                  </a:moveTo>
                  <a:cubicBezTo>
                    <a:pt x="34" y="186"/>
                    <a:pt x="35" y="186"/>
                    <a:pt x="36" y="186"/>
                  </a:cubicBezTo>
                  <a:cubicBezTo>
                    <a:pt x="36" y="186"/>
                    <a:pt x="38" y="186"/>
                    <a:pt x="42" y="185"/>
                  </a:cubicBezTo>
                  <a:cubicBezTo>
                    <a:pt x="55" y="182"/>
                    <a:pt x="87" y="173"/>
                    <a:pt x="114" y="148"/>
                  </a:cubicBezTo>
                  <a:cubicBezTo>
                    <a:pt x="137" y="126"/>
                    <a:pt x="163" y="85"/>
                    <a:pt x="148" y="16"/>
                  </a:cubicBezTo>
                  <a:cubicBezTo>
                    <a:pt x="146" y="6"/>
                    <a:pt x="137" y="0"/>
                    <a:pt x="127" y="2"/>
                  </a:cubicBezTo>
                  <a:cubicBezTo>
                    <a:pt x="82" y="11"/>
                    <a:pt x="50" y="32"/>
                    <a:pt x="30" y="63"/>
                  </a:cubicBezTo>
                  <a:cubicBezTo>
                    <a:pt x="0" y="113"/>
                    <a:pt x="15" y="171"/>
                    <a:pt x="16" y="173"/>
                  </a:cubicBezTo>
                  <a:cubicBezTo>
                    <a:pt x="18" y="181"/>
                    <a:pt x="25" y="186"/>
                    <a:pt x="33" y="18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3" name="Freeform 125">
              <a:extLst>
                <a:ext uri="{FF2B5EF4-FFF2-40B4-BE49-F238E27FC236}">
                  <a16:creationId xmlns:a16="http://schemas.microsoft.com/office/drawing/2014/main" id="{453F6897-6B00-4D9E-8D47-580D6648EDC2}"/>
                </a:ext>
              </a:extLst>
            </p:cNvPr>
            <p:cNvSpPr>
              <a:spLocks noEditPoints="1"/>
            </p:cNvSpPr>
            <p:nvPr/>
          </p:nvSpPr>
          <p:spPr bwMode="auto">
            <a:xfrm>
              <a:off x="3525839" y="614363"/>
              <a:ext cx="107950" cy="128588"/>
            </a:xfrm>
            <a:custGeom>
              <a:avLst/>
              <a:gdLst>
                <a:gd name="T0" fmla="*/ 101 w 158"/>
                <a:gd name="T1" fmla="*/ 108 h 187"/>
                <a:gd name="T2" fmla="*/ 48 w 158"/>
                <a:gd name="T3" fmla="*/ 146 h 187"/>
                <a:gd name="T4" fmla="*/ 61 w 158"/>
                <a:gd name="T5" fmla="*/ 82 h 187"/>
                <a:gd name="T6" fmla="*/ 116 w 158"/>
                <a:gd name="T7" fmla="*/ 43 h 187"/>
                <a:gd name="T8" fmla="*/ 101 w 158"/>
                <a:gd name="T9" fmla="*/ 108 h 187"/>
                <a:gd name="T10" fmla="*/ 127 w 158"/>
                <a:gd name="T11" fmla="*/ 2 h 187"/>
                <a:gd name="T12" fmla="*/ 30 w 158"/>
                <a:gd name="T13" fmla="*/ 63 h 187"/>
                <a:gd name="T14" fmla="*/ 16 w 158"/>
                <a:gd name="T15" fmla="*/ 173 h 187"/>
                <a:gd name="T16" fmla="*/ 33 w 158"/>
                <a:gd name="T17" fmla="*/ 187 h 187"/>
                <a:gd name="T18" fmla="*/ 36 w 158"/>
                <a:gd name="T19" fmla="*/ 186 h 187"/>
                <a:gd name="T20" fmla="*/ 131 w 158"/>
                <a:gd name="T21" fmla="*/ 129 h 187"/>
                <a:gd name="T22" fmla="*/ 148 w 158"/>
                <a:gd name="T23" fmla="*/ 16 h 187"/>
                <a:gd name="T24" fmla="*/ 127 w 158"/>
                <a:gd name="T25" fmla="*/ 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 h="187">
                  <a:moveTo>
                    <a:pt x="101" y="108"/>
                  </a:moveTo>
                  <a:cubicBezTo>
                    <a:pt x="86" y="129"/>
                    <a:pt x="64" y="140"/>
                    <a:pt x="48" y="146"/>
                  </a:cubicBezTo>
                  <a:cubicBezTo>
                    <a:pt x="47" y="129"/>
                    <a:pt x="48" y="104"/>
                    <a:pt x="61" y="82"/>
                  </a:cubicBezTo>
                  <a:cubicBezTo>
                    <a:pt x="73" y="64"/>
                    <a:pt x="91" y="51"/>
                    <a:pt x="116" y="43"/>
                  </a:cubicBezTo>
                  <a:cubicBezTo>
                    <a:pt x="118" y="69"/>
                    <a:pt x="113" y="91"/>
                    <a:pt x="101" y="108"/>
                  </a:cubicBezTo>
                  <a:close/>
                  <a:moveTo>
                    <a:pt x="127" y="2"/>
                  </a:moveTo>
                  <a:cubicBezTo>
                    <a:pt x="82" y="11"/>
                    <a:pt x="50" y="32"/>
                    <a:pt x="30" y="63"/>
                  </a:cubicBezTo>
                  <a:cubicBezTo>
                    <a:pt x="0" y="113"/>
                    <a:pt x="15" y="171"/>
                    <a:pt x="16" y="173"/>
                  </a:cubicBezTo>
                  <a:cubicBezTo>
                    <a:pt x="18" y="181"/>
                    <a:pt x="25" y="187"/>
                    <a:pt x="33" y="187"/>
                  </a:cubicBezTo>
                  <a:cubicBezTo>
                    <a:pt x="34" y="187"/>
                    <a:pt x="35" y="186"/>
                    <a:pt x="36" y="186"/>
                  </a:cubicBezTo>
                  <a:cubicBezTo>
                    <a:pt x="38" y="186"/>
                    <a:pt x="97" y="177"/>
                    <a:pt x="131" y="129"/>
                  </a:cubicBezTo>
                  <a:cubicBezTo>
                    <a:pt x="152" y="99"/>
                    <a:pt x="158" y="61"/>
                    <a:pt x="148" y="16"/>
                  </a:cubicBezTo>
                  <a:cubicBezTo>
                    <a:pt x="146" y="6"/>
                    <a:pt x="137" y="0"/>
                    <a:pt x="127" y="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4" name="Freeform 126">
              <a:extLst>
                <a:ext uri="{FF2B5EF4-FFF2-40B4-BE49-F238E27FC236}">
                  <a16:creationId xmlns:a16="http://schemas.microsoft.com/office/drawing/2014/main" id="{4C8433BC-4DEA-4A01-9DE9-AD65C777903D}"/>
                </a:ext>
              </a:extLst>
            </p:cNvPr>
            <p:cNvSpPr>
              <a:spLocks noEditPoints="1"/>
            </p:cNvSpPr>
            <p:nvPr/>
          </p:nvSpPr>
          <p:spPr bwMode="auto">
            <a:xfrm>
              <a:off x="3402014" y="355600"/>
              <a:ext cx="104775" cy="171450"/>
            </a:xfrm>
            <a:custGeom>
              <a:avLst/>
              <a:gdLst>
                <a:gd name="T0" fmla="*/ 106 w 154"/>
                <a:gd name="T1" fmla="*/ 209 h 250"/>
                <a:gd name="T2" fmla="*/ 53 w 154"/>
                <a:gd name="T3" fmla="*/ 172 h 250"/>
                <a:gd name="T4" fmla="*/ 39 w 154"/>
                <a:gd name="T5" fmla="*/ 106 h 250"/>
                <a:gd name="T6" fmla="*/ 93 w 154"/>
                <a:gd name="T7" fmla="*/ 146 h 250"/>
                <a:gd name="T8" fmla="*/ 106 w 154"/>
                <a:gd name="T9" fmla="*/ 209 h 250"/>
                <a:gd name="T10" fmla="*/ 38 w 154"/>
                <a:gd name="T11" fmla="*/ 68 h 250"/>
                <a:gd name="T12" fmla="*/ 38 w 154"/>
                <a:gd name="T13" fmla="*/ 18 h 250"/>
                <a:gd name="T14" fmla="*/ 20 w 154"/>
                <a:gd name="T15" fmla="*/ 0 h 250"/>
                <a:gd name="T16" fmla="*/ 2 w 154"/>
                <a:gd name="T17" fmla="*/ 18 h 250"/>
                <a:gd name="T18" fmla="*/ 2 w 154"/>
                <a:gd name="T19" fmla="*/ 107 h 250"/>
                <a:gd name="T20" fmla="*/ 2 w 154"/>
                <a:gd name="T21" fmla="*/ 110 h 250"/>
                <a:gd name="T22" fmla="*/ 24 w 154"/>
                <a:gd name="T23" fmla="*/ 193 h 250"/>
                <a:gd name="T24" fmla="*/ 118 w 154"/>
                <a:gd name="T25" fmla="*/ 250 h 250"/>
                <a:gd name="T26" fmla="*/ 121 w 154"/>
                <a:gd name="T27" fmla="*/ 250 h 250"/>
                <a:gd name="T28" fmla="*/ 138 w 154"/>
                <a:gd name="T29" fmla="*/ 237 h 250"/>
                <a:gd name="T30" fmla="*/ 124 w 154"/>
                <a:gd name="T31" fmla="*/ 127 h 250"/>
                <a:gd name="T32" fmla="*/ 38 w 154"/>
                <a:gd name="T33" fmla="*/ 6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250">
                  <a:moveTo>
                    <a:pt x="106" y="209"/>
                  </a:moveTo>
                  <a:cubicBezTo>
                    <a:pt x="90" y="204"/>
                    <a:pt x="68" y="193"/>
                    <a:pt x="53" y="172"/>
                  </a:cubicBezTo>
                  <a:cubicBezTo>
                    <a:pt x="41" y="154"/>
                    <a:pt x="36" y="132"/>
                    <a:pt x="39" y="106"/>
                  </a:cubicBezTo>
                  <a:cubicBezTo>
                    <a:pt x="63" y="115"/>
                    <a:pt x="81" y="128"/>
                    <a:pt x="93" y="146"/>
                  </a:cubicBezTo>
                  <a:cubicBezTo>
                    <a:pt x="106" y="168"/>
                    <a:pt x="107" y="193"/>
                    <a:pt x="106" y="209"/>
                  </a:cubicBezTo>
                  <a:close/>
                  <a:moveTo>
                    <a:pt x="38" y="68"/>
                  </a:moveTo>
                  <a:lnTo>
                    <a:pt x="38" y="18"/>
                  </a:lnTo>
                  <a:cubicBezTo>
                    <a:pt x="38" y="8"/>
                    <a:pt x="30" y="0"/>
                    <a:pt x="20" y="0"/>
                  </a:cubicBezTo>
                  <a:cubicBezTo>
                    <a:pt x="10" y="0"/>
                    <a:pt x="2" y="8"/>
                    <a:pt x="2" y="18"/>
                  </a:cubicBezTo>
                  <a:lnTo>
                    <a:pt x="2" y="107"/>
                  </a:lnTo>
                  <a:cubicBezTo>
                    <a:pt x="2" y="108"/>
                    <a:pt x="2" y="109"/>
                    <a:pt x="2" y="110"/>
                  </a:cubicBezTo>
                  <a:cubicBezTo>
                    <a:pt x="0" y="142"/>
                    <a:pt x="7" y="170"/>
                    <a:pt x="24" y="193"/>
                  </a:cubicBezTo>
                  <a:cubicBezTo>
                    <a:pt x="57" y="241"/>
                    <a:pt x="116" y="250"/>
                    <a:pt x="118" y="250"/>
                  </a:cubicBezTo>
                  <a:cubicBezTo>
                    <a:pt x="119" y="250"/>
                    <a:pt x="120" y="250"/>
                    <a:pt x="121" y="250"/>
                  </a:cubicBezTo>
                  <a:cubicBezTo>
                    <a:pt x="129" y="250"/>
                    <a:pt x="136" y="245"/>
                    <a:pt x="138" y="237"/>
                  </a:cubicBezTo>
                  <a:cubicBezTo>
                    <a:pt x="139" y="234"/>
                    <a:pt x="154" y="177"/>
                    <a:pt x="124" y="127"/>
                  </a:cubicBezTo>
                  <a:cubicBezTo>
                    <a:pt x="106" y="98"/>
                    <a:pt x="77" y="79"/>
                    <a:pt x="38" y="6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5" name="Freeform 127">
              <a:extLst>
                <a:ext uri="{FF2B5EF4-FFF2-40B4-BE49-F238E27FC236}">
                  <a16:creationId xmlns:a16="http://schemas.microsoft.com/office/drawing/2014/main" id="{F58476D2-12EE-40BF-AE2D-7776B3DB55FD}"/>
                </a:ext>
              </a:extLst>
            </p:cNvPr>
            <p:cNvSpPr>
              <a:spLocks noEditPoints="1"/>
            </p:cNvSpPr>
            <p:nvPr/>
          </p:nvSpPr>
          <p:spPr bwMode="auto">
            <a:xfrm>
              <a:off x="3398839" y="508000"/>
              <a:ext cx="107950" cy="127000"/>
            </a:xfrm>
            <a:custGeom>
              <a:avLst/>
              <a:gdLst>
                <a:gd name="T0" fmla="*/ 109 w 157"/>
                <a:gd name="T1" fmla="*/ 145 h 185"/>
                <a:gd name="T2" fmla="*/ 56 w 157"/>
                <a:gd name="T3" fmla="*/ 107 h 185"/>
                <a:gd name="T4" fmla="*/ 42 w 157"/>
                <a:gd name="T5" fmla="*/ 42 h 185"/>
                <a:gd name="T6" fmla="*/ 96 w 157"/>
                <a:gd name="T7" fmla="*/ 81 h 185"/>
                <a:gd name="T8" fmla="*/ 109 w 157"/>
                <a:gd name="T9" fmla="*/ 145 h 185"/>
                <a:gd name="T10" fmla="*/ 30 w 157"/>
                <a:gd name="T11" fmla="*/ 1 h 185"/>
                <a:gd name="T12" fmla="*/ 17 w 157"/>
                <a:gd name="T13" fmla="*/ 4 h 185"/>
                <a:gd name="T14" fmla="*/ 9 w 157"/>
                <a:gd name="T15" fmla="*/ 15 h 185"/>
                <a:gd name="T16" fmla="*/ 27 w 157"/>
                <a:gd name="T17" fmla="*/ 128 h 185"/>
                <a:gd name="T18" fmla="*/ 121 w 157"/>
                <a:gd name="T19" fmla="*/ 185 h 185"/>
                <a:gd name="T20" fmla="*/ 124 w 157"/>
                <a:gd name="T21" fmla="*/ 185 h 185"/>
                <a:gd name="T22" fmla="*/ 141 w 157"/>
                <a:gd name="T23" fmla="*/ 172 h 185"/>
                <a:gd name="T24" fmla="*/ 127 w 157"/>
                <a:gd name="T25" fmla="*/ 62 h 185"/>
                <a:gd name="T26" fmla="*/ 30 w 157"/>
                <a:gd name="T27" fmla="*/ 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85">
                  <a:moveTo>
                    <a:pt x="109" y="145"/>
                  </a:moveTo>
                  <a:cubicBezTo>
                    <a:pt x="93" y="139"/>
                    <a:pt x="71" y="128"/>
                    <a:pt x="56" y="107"/>
                  </a:cubicBezTo>
                  <a:cubicBezTo>
                    <a:pt x="44" y="89"/>
                    <a:pt x="39" y="67"/>
                    <a:pt x="42" y="42"/>
                  </a:cubicBezTo>
                  <a:cubicBezTo>
                    <a:pt x="66" y="50"/>
                    <a:pt x="84" y="63"/>
                    <a:pt x="96" y="81"/>
                  </a:cubicBezTo>
                  <a:cubicBezTo>
                    <a:pt x="109" y="103"/>
                    <a:pt x="110" y="128"/>
                    <a:pt x="109" y="145"/>
                  </a:cubicBezTo>
                  <a:close/>
                  <a:moveTo>
                    <a:pt x="30" y="1"/>
                  </a:moveTo>
                  <a:cubicBezTo>
                    <a:pt x="26" y="0"/>
                    <a:pt x="21" y="1"/>
                    <a:pt x="17" y="4"/>
                  </a:cubicBezTo>
                  <a:cubicBezTo>
                    <a:pt x="13" y="6"/>
                    <a:pt x="10" y="10"/>
                    <a:pt x="9" y="15"/>
                  </a:cubicBezTo>
                  <a:cubicBezTo>
                    <a:pt x="0" y="60"/>
                    <a:pt x="6" y="98"/>
                    <a:pt x="27" y="128"/>
                  </a:cubicBezTo>
                  <a:cubicBezTo>
                    <a:pt x="60" y="176"/>
                    <a:pt x="119" y="185"/>
                    <a:pt x="121" y="185"/>
                  </a:cubicBezTo>
                  <a:cubicBezTo>
                    <a:pt x="122" y="185"/>
                    <a:pt x="123" y="185"/>
                    <a:pt x="124" y="185"/>
                  </a:cubicBezTo>
                  <a:cubicBezTo>
                    <a:pt x="132" y="185"/>
                    <a:pt x="139" y="180"/>
                    <a:pt x="141" y="172"/>
                  </a:cubicBezTo>
                  <a:cubicBezTo>
                    <a:pt x="142" y="170"/>
                    <a:pt x="157" y="112"/>
                    <a:pt x="127" y="62"/>
                  </a:cubicBezTo>
                  <a:cubicBezTo>
                    <a:pt x="107" y="31"/>
                    <a:pt x="75" y="10"/>
                    <a:pt x="30" y="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6" name="Freeform 128">
              <a:extLst>
                <a:ext uri="{FF2B5EF4-FFF2-40B4-BE49-F238E27FC236}">
                  <a16:creationId xmlns:a16="http://schemas.microsoft.com/office/drawing/2014/main" id="{6BBC9151-4DAF-405D-9B41-D52409ADDA0E}"/>
                </a:ext>
              </a:extLst>
            </p:cNvPr>
            <p:cNvSpPr>
              <a:spLocks noEditPoints="1"/>
            </p:cNvSpPr>
            <p:nvPr/>
          </p:nvSpPr>
          <p:spPr bwMode="auto">
            <a:xfrm>
              <a:off x="3398839" y="614363"/>
              <a:ext cx="107950" cy="128588"/>
            </a:xfrm>
            <a:custGeom>
              <a:avLst/>
              <a:gdLst>
                <a:gd name="T0" fmla="*/ 109 w 157"/>
                <a:gd name="T1" fmla="*/ 146 h 187"/>
                <a:gd name="T2" fmla="*/ 56 w 157"/>
                <a:gd name="T3" fmla="*/ 108 h 187"/>
                <a:gd name="T4" fmla="*/ 42 w 157"/>
                <a:gd name="T5" fmla="*/ 43 h 187"/>
                <a:gd name="T6" fmla="*/ 96 w 157"/>
                <a:gd name="T7" fmla="*/ 82 h 187"/>
                <a:gd name="T8" fmla="*/ 109 w 157"/>
                <a:gd name="T9" fmla="*/ 146 h 187"/>
                <a:gd name="T10" fmla="*/ 30 w 157"/>
                <a:gd name="T11" fmla="*/ 2 h 187"/>
                <a:gd name="T12" fmla="*/ 9 w 157"/>
                <a:gd name="T13" fmla="*/ 16 h 187"/>
                <a:gd name="T14" fmla="*/ 27 w 157"/>
                <a:gd name="T15" fmla="*/ 129 h 187"/>
                <a:gd name="T16" fmla="*/ 121 w 157"/>
                <a:gd name="T17" fmla="*/ 186 h 187"/>
                <a:gd name="T18" fmla="*/ 124 w 157"/>
                <a:gd name="T19" fmla="*/ 187 h 187"/>
                <a:gd name="T20" fmla="*/ 141 w 157"/>
                <a:gd name="T21" fmla="*/ 173 h 187"/>
                <a:gd name="T22" fmla="*/ 127 w 157"/>
                <a:gd name="T23" fmla="*/ 63 h 187"/>
                <a:gd name="T24" fmla="*/ 30 w 157"/>
                <a:gd name="T25" fmla="*/ 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187">
                  <a:moveTo>
                    <a:pt x="109" y="146"/>
                  </a:moveTo>
                  <a:cubicBezTo>
                    <a:pt x="93" y="140"/>
                    <a:pt x="71" y="129"/>
                    <a:pt x="56" y="108"/>
                  </a:cubicBezTo>
                  <a:cubicBezTo>
                    <a:pt x="44" y="91"/>
                    <a:pt x="39" y="69"/>
                    <a:pt x="42" y="43"/>
                  </a:cubicBezTo>
                  <a:cubicBezTo>
                    <a:pt x="66" y="51"/>
                    <a:pt x="84" y="64"/>
                    <a:pt x="96" y="82"/>
                  </a:cubicBezTo>
                  <a:cubicBezTo>
                    <a:pt x="109" y="104"/>
                    <a:pt x="110" y="129"/>
                    <a:pt x="109" y="146"/>
                  </a:cubicBezTo>
                  <a:close/>
                  <a:moveTo>
                    <a:pt x="30" y="2"/>
                  </a:moveTo>
                  <a:cubicBezTo>
                    <a:pt x="21" y="0"/>
                    <a:pt x="11" y="6"/>
                    <a:pt x="9" y="16"/>
                  </a:cubicBezTo>
                  <a:cubicBezTo>
                    <a:pt x="0" y="61"/>
                    <a:pt x="6" y="99"/>
                    <a:pt x="27" y="129"/>
                  </a:cubicBezTo>
                  <a:cubicBezTo>
                    <a:pt x="60" y="177"/>
                    <a:pt x="119" y="186"/>
                    <a:pt x="121" y="186"/>
                  </a:cubicBezTo>
                  <a:cubicBezTo>
                    <a:pt x="122" y="186"/>
                    <a:pt x="123" y="187"/>
                    <a:pt x="124" y="187"/>
                  </a:cubicBezTo>
                  <a:cubicBezTo>
                    <a:pt x="132" y="187"/>
                    <a:pt x="139" y="181"/>
                    <a:pt x="141" y="173"/>
                  </a:cubicBezTo>
                  <a:cubicBezTo>
                    <a:pt x="142" y="171"/>
                    <a:pt x="157" y="113"/>
                    <a:pt x="127" y="63"/>
                  </a:cubicBezTo>
                  <a:cubicBezTo>
                    <a:pt x="107" y="32"/>
                    <a:pt x="75" y="11"/>
                    <a:pt x="30" y="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7" name="Freeform 129">
              <a:extLst>
                <a:ext uri="{FF2B5EF4-FFF2-40B4-BE49-F238E27FC236}">
                  <a16:creationId xmlns:a16="http://schemas.microsoft.com/office/drawing/2014/main" id="{A8539B58-C4ED-4A77-8F7D-CC8F9902F113}"/>
                </a:ext>
              </a:extLst>
            </p:cNvPr>
            <p:cNvSpPr>
              <a:spLocks/>
            </p:cNvSpPr>
            <p:nvPr/>
          </p:nvSpPr>
          <p:spPr bwMode="auto">
            <a:xfrm>
              <a:off x="3703639" y="498475"/>
              <a:ext cx="136525" cy="346075"/>
            </a:xfrm>
            <a:custGeom>
              <a:avLst/>
              <a:gdLst>
                <a:gd name="T0" fmla="*/ 184 w 199"/>
                <a:gd name="T1" fmla="*/ 4 h 504"/>
                <a:gd name="T2" fmla="*/ 161 w 199"/>
                <a:gd name="T3" fmla="*/ 15 h 504"/>
                <a:gd name="T4" fmla="*/ 4 w 199"/>
                <a:gd name="T5" fmla="*/ 480 h 504"/>
                <a:gd name="T6" fmla="*/ 15 w 199"/>
                <a:gd name="T7" fmla="*/ 503 h 504"/>
                <a:gd name="T8" fmla="*/ 21 w 199"/>
                <a:gd name="T9" fmla="*/ 504 h 504"/>
                <a:gd name="T10" fmla="*/ 38 w 199"/>
                <a:gd name="T11" fmla="*/ 491 h 504"/>
                <a:gd name="T12" fmla="*/ 196 w 199"/>
                <a:gd name="T13" fmla="*/ 27 h 504"/>
                <a:gd name="T14" fmla="*/ 184 w 199"/>
                <a:gd name="T15" fmla="*/ 4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504">
                  <a:moveTo>
                    <a:pt x="184" y="4"/>
                  </a:moveTo>
                  <a:cubicBezTo>
                    <a:pt x="175" y="0"/>
                    <a:pt x="164" y="5"/>
                    <a:pt x="161" y="15"/>
                  </a:cubicBezTo>
                  <a:lnTo>
                    <a:pt x="4" y="480"/>
                  </a:lnTo>
                  <a:cubicBezTo>
                    <a:pt x="0" y="489"/>
                    <a:pt x="5" y="500"/>
                    <a:pt x="15" y="503"/>
                  </a:cubicBezTo>
                  <a:cubicBezTo>
                    <a:pt x="17" y="504"/>
                    <a:pt x="19" y="504"/>
                    <a:pt x="21" y="504"/>
                  </a:cubicBezTo>
                  <a:cubicBezTo>
                    <a:pt x="28" y="504"/>
                    <a:pt x="35" y="499"/>
                    <a:pt x="38" y="491"/>
                  </a:cubicBezTo>
                  <a:lnTo>
                    <a:pt x="196" y="27"/>
                  </a:lnTo>
                  <a:cubicBezTo>
                    <a:pt x="199" y="17"/>
                    <a:pt x="194" y="7"/>
                    <a:pt x="184" y="4"/>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8" name="Freeform 130">
              <a:extLst>
                <a:ext uri="{FF2B5EF4-FFF2-40B4-BE49-F238E27FC236}">
                  <a16:creationId xmlns:a16="http://schemas.microsoft.com/office/drawing/2014/main" id="{BBFACE61-B9CA-4F12-AF54-14FB9F5BC7A9}"/>
                </a:ext>
              </a:extLst>
            </p:cNvPr>
            <p:cNvSpPr>
              <a:spLocks noEditPoints="1"/>
            </p:cNvSpPr>
            <p:nvPr/>
          </p:nvSpPr>
          <p:spPr bwMode="auto">
            <a:xfrm>
              <a:off x="3833814" y="423863"/>
              <a:ext cx="139700" cy="142875"/>
            </a:xfrm>
            <a:custGeom>
              <a:avLst/>
              <a:gdLst>
                <a:gd name="T0" fmla="*/ 40 w 204"/>
                <a:gd name="T1" fmla="*/ 174 h 210"/>
                <a:gd name="T2" fmla="*/ 136 w 204"/>
                <a:gd name="T3" fmla="*/ 98 h 210"/>
                <a:gd name="T4" fmla="*/ 137 w 204"/>
                <a:gd name="T5" fmla="*/ 98 h 210"/>
                <a:gd name="T6" fmla="*/ 40 w 204"/>
                <a:gd name="T7" fmla="*/ 174 h 210"/>
                <a:gd name="T8" fmla="*/ 189 w 204"/>
                <a:gd name="T9" fmla="*/ 3 h 210"/>
                <a:gd name="T10" fmla="*/ 166 w 204"/>
                <a:gd name="T11" fmla="*/ 15 h 210"/>
                <a:gd name="T12" fmla="*/ 150 w 204"/>
                <a:gd name="T13" fmla="*/ 62 h 210"/>
                <a:gd name="T14" fmla="*/ 136 w 204"/>
                <a:gd name="T15" fmla="*/ 62 h 210"/>
                <a:gd name="T16" fmla="*/ 20 w 204"/>
                <a:gd name="T17" fmla="*/ 126 h 210"/>
                <a:gd name="T18" fmla="*/ 1 w 204"/>
                <a:gd name="T19" fmla="*/ 190 h 210"/>
                <a:gd name="T20" fmla="*/ 15 w 204"/>
                <a:gd name="T21" fmla="*/ 209 h 210"/>
                <a:gd name="T22" fmla="*/ 21 w 204"/>
                <a:gd name="T23" fmla="*/ 209 h 210"/>
                <a:gd name="T24" fmla="*/ 39 w 204"/>
                <a:gd name="T25" fmla="*/ 210 h 210"/>
                <a:gd name="T26" fmla="*/ 39 w 204"/>
                <a:gd name="T27" fmla="*/ 210 h 210"/>
                <a:gd name="T28" fmla="*/ 171 w 204"/>
                <a:gd name="T29" fmla="*/ 113 h 210"/>
                <a:gd name="T30" fmla="*/ 172 w 204"/>
                <a:gd name="T31" fmla="*/ 111 h 210"/>
                <a:gd name="T32" fmla="*/ 200 w 204"/>
                <a:gd name="T33" fmla="*/ 26 h 210"/>
                <a:gd name="T34" fmla="*/ 189 w 204"/>
                <a:gd name="T35" fmla="*/ 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210">
                  <a:moveTo>
                    <a:pt x="40" y="174"/>
                  </a:moveTo>
                  <a:cubicBezTo>
                    <a:pt x="47" y="147"/>
                    <a:pt x="68" y="98"/>
                    <a:pt x="136" y="98"/>
                  </a:cubicBezTo>
                  <a:lnTo>
                    <a:pt x="137" y="98"/>
                  </a:lnTo>
                  <a:cubicBezTo>
                    <a:pt x="122" y="160"/>
                    <a:pt x="77" y="174"/>
                    <a:pt x="40" y="174"/>
                  </a:cubicBezTo>
                  <a:close/>
                  <a:moveTo>
                    <a:pt x="189" y="3"/>
                  </a:moveTo>
                  <a:cubicBezTo>
                    <a:pt x="180" y="0"/>
                    <a:pt x="169" y="5"/>
                    <a:pt x="166" y="15"/>
                  </a:cubicBezTo>
                  <a:lnTo>
                    <a:pt x="150" y="62"/>
                  </a:lnTo>
                  <a:cubicBezTo>
                    <a:pt x="145" y="62"/>
                    <a:pt x="140" y="62"/>
                    <a:pt x="136" y="62"/>
                  </a:cubicBezTo>
                  <a:cubicBezTo>
                    <a:pt x="70" y="62"/>
                    <a:pt x="37" y="97"/>
                    <a:pt x="20" y="126"/>
                  </a:cubicBezTo>
                  <a:cubicBezTo>
                    <a:pt x="3" y="157"/>
                    <a:pt x="1" y="188"/>
                    <a:pt x="1" y="190"/>
                  </a:cubicBezTo>
                  <a:cubicBezTo>
                    <a:pt x="0" y="199"/>
                    <a:pt x="6" y="207"/>
                    <a:pt x="15" y="209"/>
                  </a:cubicBezTo>
                  <a:cubicBezTo>
                    <a:pt x="15" y="209"/>
                    <a:pt x="17" y="209"/>
                    <a:pt x="21" y="209"/>
                  </a:cubicBezTo>
                  <a:cubicBezTo>
                    <a:pt x="25" y="210"/>
                    <a:pt x="31" y="210"/>
                    <a:pt x="39" y="210"/>
                  </a:cubicBezTo>
                  <a:lnTo>
                    <a:pt x="39" y="210"/>
                  </a:lnTo>
                  <a:cubicBezTo>
                    <a:pt x="72" y="210"/>
                    <a:pt x="147" y="200"/>
                    <a:pt x="171" y="113"/>
                  </a:cubicBezTo>
                  <a:cubicBezTo>
                    <a:pt x="171" y="112"/>
                    <a:pt x="171" y="112"/>
                    <a:pt x="172" y="111"/>
                  </a:cubicBezTo>
                  <a:lnTo>
                    <a:pt x="200" y="26"/>
                  </a:lnTo>
                  <a:cubicBezTo>
                    <a:pt x="204" y="17"/>
                    <a:pt x="199" y="7"/>
                    <a:pt x="189"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99" name="Freeform 131">
              <a:extLst>
                <a:ext uri="{FF2B5EF4-FFF2-40B4-BE49-F238E27FC236}">
                  <a16:creationId xmlns:a16="http://schemas.microsoft.com/office/drawing/2014/main" id="{DBE70C8F-C2AE-40F0-9485-7882DED3217C}"/>
                </a:ext>
              </a:extLst>
            </p:cNvPr>
            <p:cNvSpPr>
              <a:spLocks noEditPoints="1"/>
            </p:cNvSpPr>
            <p:nvPr/>
          </p:nvSpPr>
          <p:spPr bwMode="auto">
            <a:xfrm>
              <a:off x="3803651" y="298450"/>
              <a:ext cx="104775" cy="200025"/>
            </a:xfrm>
            <a:custGeom>
              <a:avLst/>
              <a:gdLst>
                <a:gd name="T0" fmla="*/ 52 w 153"/>
                <a:gd name="T1" fmla="*/ 185 h 293"/>
                <a:gd name="T2" fmla="*/ 94 w 153"/>
                <a:gd name="T3" fmla="*/ 133 h 293"/>
                <a:gd name="T4" fmla="*/ 96 w 153"/>
                <a:gd name="T5" fmla="*/ 200 h 293"/>
                <a:gd name="T6" fmla="*/ 54 w 153"/>
                <a:gd name="T7" fmla="*/ 250 h 293"/>
                <a:gd name="T8" fmla="*/ 52 w 153"/>
                <a:gd name="T9" fmla="*/ 185 h 293"/>
                <a:gd name="T10" fmla="*/ 46 w 153"/>
                <a:gd name="T11" fmla="*/ 293 h 293"/>
                <a:gd name="T12" fmla="*/ 53 w 153"/>
                <a:gd name="T13" fmla="*/ 292 h 293"/>
                <a:gd name="T14" fmla="*/ 130 w 153"/>
                <a:gd name="T15" fmla="*/ 213 h 293"/>
                <a:gd name="T16" fmla="*/ 122 w 153"/>
                <a:gd name="T17" fmla="*/ 106 h 293"/>
                <a:gd name="T18" fmla="*/ 149 w 153"/>
                <a:gd name="T19" fmla="*/ 26 h 293"/>
                <a:gd name="T20" fmla="*/ 138 w 153"/>
                <a:gd name="T21" fmla="*/ 3 h 293"/>
                <a:gd name="T22" fmla="*/ 115 w 153"/>
                <a:gd name="T23" fmla="*/ 15 h 293"/>
                <a:gd name="T24" fmla="*/ 88 w 153"/>
                <a:gd name="T25" fmla="*/ 95 h 293"/>
                <a:gd name="T26" fmla="*/ 17 w 153"/>
                <a:gd name="T27" fmla="*/ 174 h 293"/>
                <a:gd name="T28" fmla="*/ 30 w 153"/>
                <a:gd name="T29" fmla="*/ 284 h 293"/>
                <a:gd name="T30" fmla="*/ 46 w 153"/>
                <a:gd name="T31"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293">
                  <a:moveTo>
                    <a:pt x="52" y="185"/>
                  </a:moveTo>
                  <a:cubicBezTo>
                    <a:pt x="58" y="164"/>
                    <a:pt x="72" y="147"/>
                    <a:pt x="94" y="133"/>
                  </a:cubicBezTo>
                  <a:cubicBezTo>
                    <a:pt x="103" y="158"/>
                    <a:pt x="104" y="180"/>
                    <a:pt x="96" y="200"/>
                  </a:cubicBezTo>
                  <a:cubicBezTo>
                    <a:pt x="87" y="224"/>
                    <a:pt x="68" y="240"/>
                    <a:pt x="54" y="250"/>
                  </a:cubicBezTo>
                  <a:cubicBezTo>
                    <a:pt x="49" y="234"/>
                    <a:pt x="44" y="209"/>
                    <a:pt x="52" y="185"/>
                  </a:cubicBezTo>
                  <a:close/>
                  <a:moveTo>
                    <a:pt x="46" y="293"/>
                  </a:moveTo>
                  <a:cubicBezTo>
                    <a:pt x="48" y="293"/>
                    <a:pt x="50" y="293"/>
                    <a:pt x="53" y="292"/>
                  </a:cubicBezTo>
                  <a:cubicBezTo>
                    <a:pt x="55" y="291"/>
                    <a:pt x="110" y="267"/>
                    <a:pt x="130" y="213"/>
                  </a:cubicBezTo>
                  <a:cubicBezTo>
                    <a:pt x="142" y="180"/>
                    <a:pt x="140" y="145"/>
                    <a:pt x="122" y="106"/>
                  </a:cubicBezTo>
                  <a:lnTo>
                    <a:pt x="149" y="26"/>
                  </a:lnTo>
                  <a:cubicBezTo>
                    <a:pt x="153" y="17"/>
                    <a:pt x="147" y="6"/>
                    <a:pt x="138" y="3"/>
                  </a:cubicBezTo>
                  <a:cubicBezTo>
                    <a:pt x="129" y="0"/>
                    <a:pt x="118" y="5"/>
                    <a:pt x="115" y="15"/>
                  </a:cubicBezTo>
                  <a:lnTo>
                    <a:pt x="88" y="95"/>
                  </a:lnTo>
                  <a:cubicBezTo>
                    <a:pt x="51" y="114"/>
                    <a:pt x="27" y="141"/>
                    <a:pt x="17" y="174"/>
                  </a:cubicBezTo>
                  <a:cubicBezTo>
                    <a:pt x="0" y="230"/>
                    <a:pt x="29" y="282"/>
                    <a:pt x="30" y="284"/>
                  </a:cubicBezTo>
                  <a:cubicBezTo>
                    <a:pt x="33" y="290"/>
                    <a:pt x="39" y="293"/>
                    <a:pt x="46" y="29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0" name="Freeform 132">
              <a:extLst>
                <a:ext uri="{FF2B5EF4-FFF2-40B4-BE49-F238E27FC236}">
                  <a16:creationId xmlns:a16="http://schemas.microsoft.com/office/drawing/2014/main" id="{7DB5E96F-1261-429B-BF87-52CE48FAD24C}"/>
                </a:ext>
              </a:extLst>
            </p:cNvPr>
            <p:cNvSpPr>
              <a:spLocks noEditPoints="1"/>
            </p:cNvSpPr>
            <p:nvPr/>
          </p:nvSpPr>
          <p:spPr bwMode="auto">
            <a:xfrm>
              <a:off x="3800476" y="568325"/>
              <a:ext cx="120650" cy="100013"/>
            </a:xfrm>
            <a:custGeom>
              <a:avLst/>
              <a:gdLst>
                <a:gd name="T0" fmla="*/ 40 w 177"/>
                <a:gd name="T1" fmla="*/ 112 h 148"/>
                <a:gd name="T2" fmla="*/ 136 w 177"/>
                <a:gd name="T3" fmla="*/ 36 h 148"/>
                <a:gd name="T4" fmla="*/ 137 w 177"/>
                <a:gd name="T5" fmla="*/ 36 h 148"/>
                <a:gd name="T6" fmla="*/ 40 w 177"/>
                <a:gd name="T7" fmla="*/ 112 h 148"/>
                <a:gd name="T8" fmla="*/ 160 w 177"/>
                <a:gd name="T9" fmla="*/ 1 h 148"/>
                <a:gd name="T10" fmla="*/ 136 w 177"/>
                <a:gd name="T11" fmla="*/ 0 h 148"/>
                <a:gd name="T12" fmla="*/ 20 w 177"/>
                <a:gd name="T13" fmla="*/ 64 h 148"/>
                <a:gd name="T14" fmla="*/ 0 w 177"/>
                <a:gd name="T15" fmla="*/ 127 h 148"/>
                <a:gd name="T16" fmla="*/ 15 w 177"/>
                <a:gd name="T17" fmla="*/ 146 h 148"/>
                <a:gd name="T18" fmla="*/ 21 w 177"/>
                <a:gd name="T19" fmla="*/ 147 h 148"/>
                <a:gd name="T20" fmla="*/ 39 w 177"/>
                <a:gd name="T21" fmla="*/ 148 h 148"/>
                <a:gd name="T22" fmla="*/ 39 w 177"/>
                <a:gd name="T23" fmla="*/ 148 h 148"/>
                <a:gd name="T24" fmla="*/ 176 w 177"/>
                <a:gd name="T25" fmla="*/ 21 h 148"/>
                <a:gd name="T26" fmla="*/ 160 w 177"/>
                <a:gd name="T27" fmla="*/ 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48">
                  <a:moveTo>
                    <a:pt x="40" y="112"/>
                  </a:moveTo>
                  <a:cubicBezTo>
                    <a:pt x="46" y="85"/>
                    <a:pt x="68" y="36"/>
                    <a:pt x="136" y="36"/>
                  </a:cubicBezTo>
                  <a:lnTo>
                    <a:pt x="137" y="36"/>
                  </a:lnTo>
                  <a:cubicBezTo>
                    <a:pt x="122" y="98"/>
                    <a:pt x="77" y="112"/>
                    <a:pt x="40" y="112"/>
                  </a:cubicBezTo>
                  <a:close/>
                  <a:moveTo>
                    <a:pt x="160" y="1"/>
                  </a:moveTo>
                  <a:cubicBezTo>
                    <a:pt x="152" y="0"/>
                    <a:pt x="143" y="0"/>
                    <a:pt x="136" y="0"/>
                  </a:cubicBezTo>
                  <a:cubicBezTo>
                    <a:pt x="70" y="0"/>
                    <a:pt x="36" y="35"/>
                    <a:pt x="20" y="64"/>
                  </a:cubicBezTo>
                  <a:cubicBezTo>
                    <a:pt x="2" y="95"/>
                    <a:pt x="0" y="126"/>
                    <a:pt x="0" y="127"/>
                  </a:cubicBezTo>
                  <a:cubicBezTo>
                    <a:pt x="0" y="136"/>
                    <a:pt x="6" y="145"/>
                    <a:pt x="15" y="146"/>
                  </a:cubicBezTo>
                  <a:cubicBezTo>
                    <a:pt x="15" y="146"/>
                    <a:pt x="17" y="147"/>
                    <a:pt x="21" y="147"/>
                  </a:cubicBezTo>
                  <a:cubicBezTo>
                    <a:pt x="25" y="148"/>
                    <a:pt x="31" y="148"/>
                    <a:pt x="39" y="148"/>
                  </a:cubicBezTo>
                  <a:lnTo>
                    <a:pt x="39" y="148"/>
                  </a:lnTo>
                  <a:cubicBezTo>
                    <a:pt x="75" y="148"/>
                    <a:pt x="162" y="136"/>
                    <a:pt x="176" y="21"/>
                  </a:cubicBezTo>
                  <a:cubicBezTo>
                    <a:pt x="177" y="11"/>
                    <a:pt x="170" y="2"/>
                    <a:pt x="160" y="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1" name="Freeform 133">
              <a:extLst>
                <a:ext uri="{FF2B5EF4-FFF2-40B4-BE49-F238E27FC236}">
                  <a16:creationId xmlns:a16="http://schemas.microsoft.com/office/drawing/2014/main" id="{9513D3A8-0352-408E-9AB5-17B6745D4C59}"/>
                </a:ext>
              </a:extLst>
            </p:cNvPr>
            <p:cNvSpPr>
              <a:spLocks noEditPoints="1"/>
            </p:cNvSpPr>
            <p:nvPr/>
          </p:nvSpPr>
          <p:spPr bwMode="auto">
            <a:xfrm>
              <a:off x="3765551" y="668338"/>
              <a:ext cx="120650" cy="103188"/>
            </a:xfrm>
            <a:custGeom>
              <a:avLst/>
              <a:gdLst>
                <a:gd name="T0" fmla="*/ 40 w 178"/>
                <a:gd name="T1" fmla="*/ 113 h 149"/>
                <a:gd name="T2" fmla="*/ 136 w 178"/>
                <a:gd name="T3" fmla="*/ 37 h 149"/>
                <a:gd name="T4" fmla="*/ 137 w 178"/>
                <a:gd name="T5" fmla="*/ 37 h 149"/>
                <a:gd name="T6" fmla="*/ 40 w 178"/>
                <a:gd name="T7" fmla="*/ 113 h 149"/>
                <a:gd name="T8" fmla="*/ 161 w 178"/>
                <a:gd name="T9" fmla="*/ 2 h 149"/>
                <a:gd name="T10" fmla="*/ 136 w 178"/>
                <a:gd name="T11" fmla="*/ 0 h 149"/>
                <a:gd name="T12" fmla="*/ 20 w 178"/>
                <a:gd name="T13" fmla="*/ 65 h 149"/>
                <a:gd name="T14" fmla="*/ 1 w 178"/>
                <a:gd name="T15" fmla="*/ 128 h 149"/>
                <a:gd name="T16" fmla="*/ 16 w 178"/>
                <a:gd name="T17" fmla="*/ 147 h 149"/>
                <a:gd name="T18" fmla="*/ 39 w 178"/>
                <a:gd name="T19" fmla="*/ 149 h 149"/>
                <a:gd name="T20" fmla="*/ 39 w 178"/>
                <a:gd name="T21" fmla="*/ 149 h 149"/>
                <a:gd name="T22" fmla="*/ 177 w 178"/>
                <a:gd name="T23" fmla="*/ 22 h 149"/>
                <a:gd name="T24" fmla="*/ 161 w 178"/>
                <a:gd name="T25"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49">
                  <a:moveTo>
                    <a:pt x="40" y="113"/>
                  </a:moveTo>
                  <a:cubicBezTo>
                    <a:pt x="47" y="85"/>
                    <a:pt x="69" y="37"/>
                    <a:pt x="136" y="37"/>
                  </a:cubicBezTo>
                  <a:lnTo>
                    <a:pt x="137" y="37"/>
                  </a:lnTo>
                  <a:cubicBezTo>
                    <a:pt x="122" y="98"/>
                    <a:pt x="77" y="112"/>
                    <a:pt x="40" y="113"/>
                  </a:cubicBezTo>
                  <a:close/>
                  <a:moveTo>
                    <a:pt x="161" y="2"/>
                  </a:moveTo>
                  <a:cubicBezTo>
                    <a:pt x="152" y="1"/>
                    <a:pt x="144" y="0"/>
                    <a:pt x="136" y="0"/>
                  </a:cubicBezTo>
                  <a:cubicBezTo>
                    <a:pt x="70" y="0"/>
                    <a:pt x="37" y="36"/>
                    <a:pt x="20" y="65"/>
                  </a:cubicBezTo>
                  <a:cubicBezTo>
                    <a:pt x="3" y="96"/>
                    <a:pt x="1" y="127"/>
                    <a:pt x="1" y="128"/>
                  </a:cubicBezTo>
                  <a:cubicBezTo>
                    <a:pt x="0" y="137"/>
                    <a:pt x="7" y="145"/>
                    <a:pt x="16" y="147"/>
                  </a:cubicBezTo>
                  <a:cubicBezTo>
                    <a:pt x="17" y="147"/>
                    <a:pt x="26" y="149"/>
                    <a:pt x="39" y="149"/>
                  </a:cubicBezTo>
                  <a:lnTo>
                    <a:pt x="39" y="149"/>
                  </a:lnTo>
                  <a:cubicBezTo>
                    <a:pt x="76" y="149"/>
                    <a:pt x="163" y="137"/>
                    <a:pt x="177" y="22"/>
                  </a:cubicBezTo>
                  <a:cubicBezTo>
                    <a:pt x="178" y="12"/>
                    <a:pt x="171" y="3"/>
                    <a:pt x="161" y="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2" name="Freeform 134">
              <a:extLst>
                <a:ext uri="{FF2B5EF4-FFF2-40B4-BE49-F238E27FC236}">
                  <a16:creationId xmlns:a16="http://schemas.microsoft.com/office/drawing/2014/main" id="{68A322C7-7CB9-423D-B407-A81F50D1C3F3}"/>
                </a:ext>
              </a:extLst>
            </p:cNvPr>
            <p:cNvSpPr>
              <a:spLocks noEditPoints="1"/>
            </p:cNvSpPr>
            <p:nvPr/>
          </p:nvSpPr>
          <p:spPr bwMode="auto">
            <a:xfrm>
              <a:off x="3725864" y="358775"/>
              <a:ext cx="93663" cy="185738"/>
            </a:xfrm>
            <a:custGeom>
              <a:avLst/>
              <a:gdLst>
                <a:gd name="T0" fmla="*/ 88 w 137"/>
                <a:gd name="T1" fmla="*/ 164 h 273"/>
                <a:gd name="T2" fmla="*/ 81 w 137"/>
                <a:gd name="T3" fmla="*/ 229 h 273"/>
                <a:gd name="T4" fmla="*/ 43 w 137"/>
                <a:gd name="T5" fmla="*/ 176 h 273"/>
                <a:gd name="T6" fmla="*/ 50 w 137"/>
                <a:gd name="T7" fmla="*/ 110 h 273"/>
                <a:gd name="T8" fmla="*/ 88 w 137"/>
                <a:gd name="T9" fmla="*/ 164 h 273"/>
                <a:gd name="T10" fmla="*/ 8 w 137"/>
                <a:gd name="T11" fmla="*/ 187 h 273"/>
                <a:gd name="T12" fmla="*/ 79 w 137"/>
                <a:gd name="T13" fmla="*/ 271 h 273"/>
                <a:gd name="T14" fmla="*/ 87 w 137"/>
                <a:gd name="T15" fmla="*/ 273 h 273"/>
                <a:gd name="T16" fmla="*/ 103 w 137"/>
                <a:gd name="T17" fmla="*/ 265 h 273"/>
                <a:gd name="T18" fmla="*/ 124 w 137"/>
                <a:gd name="T19" fmla="*/ 157 h 273"/>
                <a:gd name="T20" fmla="*/ 61 w 137"/>
                <a:gd name="T21" fmla="*/ 73 h 273"/>
                <a:gd name="T22" fmla="*/ 78 w 137"/>
                <a:gd name="T23" fmla="*/ 26 h 273"/>
                <a:gd name="T24" fmla="*/ 66 w 137"/>
                <a:gd name="T25" fmla="*/ 3 h 273"/>
                <a:gd name="T26" fmla="*/ 43 w 137"/>
                <a:gd name="T27" fmla="*/ 14 h 273"/>
                <a:gd name="T28" fmla="*/ 15 w 137"/>
                <a:gd name="T29" fmla="*/ 99 h 273"/>
                <a:gd name="T30" fmla="*/ 14 w 137"/>
                <a:gd name="T31" fmla="*/ 101 h 273"/>
                <a:gd name="T32" fmla="*/ 8 w 137"/>
                <a:gd name="T33" fmla="*/ 18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273">
                  <a:moveTo>
                    <a:pt x="88" y="164"/>
                  </a:moveTo>
                  <a:cubicBezTo>
                    <a:pt x="94" y="189"/>
                    <a:pt x="87" y="214"/>
                    <a:pt x="81" y="229"/>
                  </a:cubicBezTo>
                  <a:cubicBezTo>
                    <a:pt x="68" y="219"/>
                    <a:pt x="50" y="201"/>
                    <a:pt x="43" y="176"/>
                  </a:cubicBezTo>
                  <a:cubicBezTo>
                    <a:pt x="37" y="156"/>
                    <a:pt x="39" y="133"/>
                    <a:pt x="50" y="110"/>
                  </a:cubicBezTo>
                  <a:cubicBezTo>
                    <a:pt x="71" y="125"/>
                    <a:pt x="84" y="144"/>
                    <a:pt x="88" y="164"/>
                  </a:cubicBezTo>
                  <a:close/>
                  <a:moveTo>
                    <a:pt x="8" y="187"/>
                  </a:moveTo>
                  <a:cubicBezTo>
                    <a:pt x="24" y="243"/>
                    <a:pt x="77" y="270"/>
                    <a:pt x="79" y="271"/>
                  </a:cubicBezTo>
                  <a:cubicBezTo>
                    <a:pt x="82" y="273"/>
                    <a:pt x="85" y="273"/>
                    <a:pt x="87" y="273"/>
                  </a:cubicBezTo>
                  <a:cubicBezTo>
                    <a:pt x="93" y="273"/>
                    <a:pt x="99" y="270"/>
                    <a:pt x="103" y="265"/>
                  </a:cubicBezTo>
                  <a:cubicBezTo>
                    <a:pt x="104" y="263"/>
                    <a:pt x="137" y="213"/>
                    <a:pt x="124" y="157"/>
                  </a:cubicBezTo>
                  <a:cubicBezTo>
                    <a:pt x="116" y="124"/>
                    <a:pt x="95" y="96"/>
                    <a:pt x="61" y="73"/>
                  </a:cubicBezTo>
                  <a:lnTo>
                    <a:pt x="78" y="26"/>
                  </a:lnTo>
                  <a:cubicBezTo>
                    <a:pt x="81" y="16"/>
                    <a:pt x="76" y="6"/>
                    <a:pt x="66" y="3"/>
                  </a:cubicBezTo>
                  <a:cubicBezTo>
                    <a:pt x="57" y="0"/>
                    <a:pt x="46" y="5"/>
                    <a:pt x="43" y="14"/>
                  </a:cubicBezTo>
                  <a:lnTo>
                    <a:pt x="15" y="99"/>
                  </a:lnTo>
                  <a:cubicBezTo>
                    <a:pt x="14" y="100"/>
                    <a:pt x="14" y="100"/>
                    <a:pt x="14" y="101"/>
                  </a:cubicBezTo>
                  <a:cubicBezTo>
                    <a:pt x="2" y="131"/>
                    <a:pt x="0" y="160"/>
                    <a:pt x="8" y="18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3" name="Freeform 135">
              <a:extLst>
                <a:ext uri="{FF2B5EF4-FFF2-40B4-BE49-F238E27FC236}">
                  <a16:creationId xmlns:a16="http://schemas.microsoft.com/office/drawing/2014/main" id="{54D618A3-CCFE-4523-951D-B52BEA16C01E}"/>
                </a:ext>
              </a:extLst>
            </p:cNvPr>
            <p:cNvSpPr>
              <a:spLocks noEditPoints="1"/>
            </p:cNvSpPr>
            <p:nvPr/>
          </p:nvSpPr>
          <p:spPr bwMode="auto">
            <a:xfrm>
              <a:off x="3689351" y="504825"/>
              <a:ext cx="95250" cy="142875"/>
            </a:xfrm>
            <a:custGeom>
              <a:avLst/>
              <a:gdLst>
                <a:gd name="T0" fmla="*/ 52 w 139"/>
                <a:gd name="T1" fmla="*/ 45 h 209"/>
                <a:gd name="T2" fmla="*/ 91 w 139"/>
                <a:gd name="T3" fmla="*/ 100 h 209"/>
                <a:gd name="T4" fmla="*/ 83 w 139"/>
                <a:gd name="T5" fmla="*/ 165 h 209"/>
                <a:gd name="T6" fmla="*/ 45 w 139"/>
                <a:gd name="T7" fmla="*/ 112 h 209"/>
                <a:gd name="T8" fmla="*/ 52 w 139"/>
                <a:gd name="T9" fmla="*/ 45 h 209"/>
                <a:gd name="T10" fmla="*/ 82 w 139"/>
                <a:gd name="T11" fmla="*/ 207 h 209"/>
                <a:gd name="T12" fmla="*/ 90 w 139"/>
                <a:gd name="T13" fmla="*/ 209 h 209"/>
                <a:gd name="T14" fmla="*/ 105 w 139"/>
                <a:gd name="T15" fmla="*/ 201 h 209"/>
                <a:gd name="T16" fmla="*/ 126 w 139"/>
                <a:gd name="T17" fmla="*/ 92 h 209"/>
                <a:gd name="T18" fmla="*/ 55 w 139"/>
                <a:gd name="T19" fmla="*/ 3 h 209"/>
                <a:gd name="T20" fmla="*/ 41 w 139"/>
                <a:gd name="T21" fmla="*/ 2 h 209"/>
                <a:gd name="T22" fmla="*/ 30 w 139"/>
                <a:gd name="T23" fmla="*/ 10 h 209"/>
                <a:gd name="T24" fmla="*/ 11 w 139"/>
                <a:gd name="T25" fmla="*/ 122 h 209"/>
                <a:gd name="T26" fmla="*/ 82 w 139"/>
                <a:gd name="T27" fmla="*/ 20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209">
                  <a:moveTo>
                    <a:pt x="52" y="45"/>
                  </a:moveTo>
                  <a:cubicBezTo>
                    <a:pt x="73" y="61"/>
                    <a:pt x="86" y="79"/>
                    <a:pt x="91" y="100"/>
                  </a:cubicBezTo>
                  <a:cubicBezTo>
                    <a:pt x="97" y="125"/>
                    <a:pt x="90" y="149"/>
                    <a:pt x="83" y="165"/>
                  </a:cubicBezTo>
                  <a:cubicBezTo>
                    <a:pt x="70" y="155"/>
                    <a:pt x="53" y="137"/>
                    <a:pt x="45" y="112"/>
                  </a:cubicBezTo>
                  <a:cubicBezTo>
                    <a:pt x="39" y="92"/>
                    <a:pt x="42" y="69"/>
                    <a:pt x="52" y="45"/>
                  </a:cubicBezTo>
                  <a:close/>
                  <a:moveTo>
                    <a:pt x="82" y="207"/>
                  </a:moveTo>
                  <a:cubicBezTo>
                    <a:pt x="84" y="208"/>
                    <a:pt x="87" y="209"/>
                    <a:pt x="90" y="209"/>
                  </a:cubicBezTo>
                  <a:cubicBezTo>
                    <a:pt x="96" y="209"/>
                    <a:pt x="102" y="206"/>
                    <a:pt x="105" y="201"/>
                  </a:cubicBezTo>
                  <a:cubicBezTo>
                    <a:pt x="107" y="199"/>
                    <a:pt x="139" y="149"/>
                    <a:pt x="126" y="92"/>
                  </a:cubicBezTo>
                  <a:cubicBezTo>
                    <a:pt x="118" y="56"/>
                    <a:pt x="94" y="27"/>
                    <a:pt x="55" y="3"/>
                  </a:cubicBezTo>
                  <a:cubicBezTo>
                    <a:pt x="51" y="1"/>
                    <a:pt x="46" y="0"/>
                    <a:pt x="41" y="2"/>
                  </a:cubicBezTo>
                  <a:cubicBezTo>
                    <a:pt x="36" y="3"/>
                    <a:pt x="32" y="6"/>
                    <a:pt x="30" y="10"/>
                  </a:cubicBezTo>
                  <a:cubicBezTo>
                    <a:pt x="7" y="49"/>
                    <a:pt x="0" y="87"/>
                    <a:pt x="11" y="122"/>
                  </a:cubicBezTo>
                  <a:cubicBezTo>
                    <a:pt x="27" y="178"/>
                    <a:pt x="80" y="206"/>
                    <a:pt x="82" y="207"/>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4" name="Freeform 136">
              <a:extLst>
                <a:ext uri="{FF2B5EF4-FFF2-40B4-BE49-F238E27FC236}">
                  <a16:creationId xmlns:a16="http://schemas.microsoft.com/office/drawing/2014/main" id="{BCFB0FF6-B655-405F-8DA9-9109CC1425B5}"/>
                </a:ext>
              </a:extLst>
            </p:cNvPr>
            <p:cNvSpPr>
              <a:spLocks noEditPoints="1"/>
            </p:cNvSpPr>
            <p:nvPr/>
          </p:nvSpPr>
          <p:spPr bwMode="auto">
            <a:xfrm>
              <a:off x="3654426" y="604838"/>
              <a:ext cx="95250" cy="144463"/>
            </a:xfrm>
            <a:custGeom>
              <a:avLst/>
              <a:gdLst>
                <a:gd name="T0" fmla="*/ 45 w 139"/>
                <a:gd name="T1" fmla="*/ 114 h 211"/>
                <a:gd name="T2" fmla="*/ 52 w 139"/>
                <a:gd name="T3" fmla="*/ 47 h 211"/>
                <a:gd name="T4" fmla="*/ 90 w 139"/>
                <a:gd name="T5" fmla="*/ 102 h 211"/>
                <a:gd name="T6" fmla="*/ 83 w 139"/>
                <a:gd name="T7" fmla="*/ 166 h 211"/>
                <a:gd name="T8" fmla="*/ 45 w 139"/>
                <a:gd name="T9" fmla="*/ 114 h 211"/>
                <a:gd name="T10" fmla="*/ 90 w 139"/>
                <a:gd name="T11" fmla="*/ 211 h 211"/>
                <a:gd name="T12" fmla="*/ 105 w 139"/>
                <a:gd name="T13" fmla="*/ 203 h 211"/>
                <a:gd name="T14" fmla="*/ 126 w 139"/>
                <a:gd name="T15" fmla="*/ 94 h 211"/>
                <a:gd name="T16" fmla="*/ 54 w 139"/>
                <a:gd name="T17" fmla="*/ 5 h 211"/>
                <a:gd name="T18" fmla="*/ 29 w 139"/>
                <a:gd name="T19" fmla="*/ 12 h 211"/>
                <a:gd name="T20" fmla="*/ 10 w 139"/>
                <a:gd name="T21" fmla="*/ 124 h 211"/>
                <a:gd name="T22" fmla="*/ 81 w 139"/>
                <a:gd name="T23" fmla="*/ 209 h 211"/>
                <a:gd name="T24" fmla="*/ 90 w 139"/>
                <a:gd name="T2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211">
                  <a:moveTo>
                    <a:pt x="45" y="114"/>
                  </a:moveTo>
                  <a:cubicBezTo>
                    <a:pt x="39" y="93"/>
                    <a:pt x="41" y="71"/>
                    <a:pt x="52" y="47"/>
                  </a:cubicBezTo>
                  <a:cubicBezTo>
                    <a:pt x="73" y="63"/>
                    <a:pt x="86" y="81"/>
                    <a:pt x="90" y="102"/>
                  </a:cubicBezTo>
                  <a:cubicBezTo>
                    <a:pt x="96" y="127"/>
                    <a:pt x="89" y="151"/>
                    <a:pt x="83" y="166"/>
                  </a:cubicBezTo>
                  <a:cubicBezTo>
                    <a:pt x="70" y="156"/>
                    <a:pt x="52" y="138"/>
                    <a:pt x="45" y="114"/>
                  </a:cubicBezTo>
                  <a:close/>
                  <a:moveTo>
                    <a:pt x="90" y="211"/>
                  </a:moveTo>
                  <a:cubicBezTo>
                    <a:pt x="95" y="211"/>
                    <a:pt x="101" y="208"/>
                    <a:pt x="105" y="203"/>
                  </a:cubicBezTo>
                  <a:cubicBezTo>
                    <a:pt x="106" y="201"/>
                    <a:pt x="139" y="151"/>
                    <a:pt x="126" y="94"/>
                  </a:cubicBezTo>
                  <a:cubicBezTo>
                    <a:pt x="118" y="58"/>
                    <a:pt x="94" y="28"/>
                    <a:pt x="54" y="5"/>
                  </a:cubicBezTo>
                  <a:cubicBezTo>
                    <a:pt x="46" y="0"/>
                    <a:pt x="35" y="3"/>
                    <a:pt x="29" y="12"/>
                  </a:cubicBezTo>
                  <a:cubicBezTo>
                    <a:pt x="6" y="51"/>
                    <a:pt x="0" y="89"/>
                    <a:pt x="10" y="124"/>
                  </a:cubicBezTo>
                  <a:cubicBezTo>
                    <a:pt x="26" y="180"/>
                    <a:pt x="79" y="208"/>
                    <a:pt x="81" y="209"/>
                  </a:cubicBezTo>
                  <a:cubicBezTo>
                    <a:pt x="84" y="210"/>
                    <a:pt x="87" y="211"/>
                    <a:pt x="90" y="21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grpSp>
        <p:nvGrpSpPr>
          <p:cNvPr id="105" name="Alarm3" descr="{&quot;Key&quot;:&quot;POWER_USER_SHAPE_ICON&quot;,&quot;Value&quot;:&quot;POWER_USER_SHAPE_ICON_STYLE_1&quot;}">
            <a:extLst>
              <a:ext uri="{FF2B5EF4-FFF2-40B4-BE49-F238E27FC236}">
                <a16:creationId xmlns:a16="http://schemas.microsoft.com/office/drawing/2014/main" id="{34DEFA9D-3BD4-429C-815A-8D4E7A28B74B}"/>
              </a:ext>
            </a:extLst>
          </p:cNvPr>
          <p:cNvGrpSpPr>
            <a:grpSpLocks noChangeAspect="1"/>
          </p:cNvGrpSpPr>
          <p:nvPr/>
        </p:nvGrpSpPr>
        <p:grpSpPr>
          <a:xfrm>
            <a:off x="199677" y="3912975"/>
            <a:ext cx="398336" cy="336524"/>
            <a:chOff x="6639646" y="3454741"/>
            <a:chExt cx="489352" cy="413416"/>
          </a:xfrm>
          <a:solidFill>
            <a:schemeClr val="lt1"/>
          </a:solidFill>
        </p:grpSpPr>
        <p:sp>
          <p:nvSpPr>
            <p:cNvPr id="106" name="Freeform 699">
              <a:extLst>
                <a:ext uri="{FF2B5EF4-FFF2-40B4-BE49-F238E27FC236}">
                  <a16:creationId xmlns:a16="http://schemas.microsoft.com/office/drawing/2014/main" id="{ACA9DE70-B189-4FFB-AD71-BF5EC23D074C}"/>
                </a:ext>
              </a:extLst>
            </p:cNvPr>
            <p:cNvSpPr>
              <a:spLocks/>
            </p:cNvSpPr>
            <p:nvPr/>
          </p:nvSpPr>
          <p:spPr bwMode="auto">
            <a:xfrm>
              <a:off x="6763390" y="3615044"/>
              <a:ext cx="194053" cy="157492"/>
            </a:xfrm>
            <a:custGeom>
              <a:avLst/>
              <a:gdLst>
                <a:gd name="T0" fmla="*/ 3010 w 3010"/>
                <a:gd name="T1" fmla="*/ 2456 h 2456"/>
                <a:gd name="T2" fmla="*/ 2810 w 3010"/>
                <a:gd name="T3" fmla="*/ 2456 h 2456"/>
                <a:gd name="T4" fmla="*/ 2810 w 3010"/>
                <a:gd name="T5" fmla="*/ 1458 h 2456"/>
                <a:gd name="T6" fmla="*/ 1558 w 3010"/>
                <a:gd name="T7" fmla="*/ 200 h 2456"/>
                <a:gd name="T8" fmla="*/ 1463 w 3010"/>
                <a:gd name="T9" fmla="*/ 200 h 2456"/>
                <a:gd name="T10" fmla="*/ 200 w 3010"/>
                <a:gd name="T11" fmla="*/ 1458 h 2456"/>
                <a:gd name="T12" fmla="*/ 200 w 3010"/>
                <a:gd name="T13" fmla="*/ 2318 h 2456"/>
                <a:gd name="T14" fmla="*/ 200 w 3010"/>
                <a:gd name="T15" fmla="*/ 2347 h 2456"/>
                <a:gd name="T16" fmla="*/ 202 w 3010"/>
                <a:gd name="T17" fmla="*/ 2447 h 2456"/>
                <a:gd name="T18" fmla="*/ 2 w 3010"/>
                <a:gd name="T19" fmla="*/ 2452 h 2456"/>
                <a:gd name="T20" fmla="*/ 0 w 3010"/>
                <a:gd name="T21" fmla="*/ 2352 h 2456"/>
                <a:gd name="T22" fmla="*/ 0 w 3010"/>
                <a:gd name="T23" fmla="*/ 2318 h 2456"/>
                <a:gd name="T24" fmla="*/ 0 w 3010"/>
                <a:gd name="T25" fmla="*/ 1458 h 2456"/>
                <a:gd name="T26" fmla="*/ 1463 w 3010"/>
                <a:gd name="T27" fmla="*/ 0 h 2456"/>
                <a:gd name="T28" fmla="*/ 1558 w 3010"/>
                <a:gd name="T29" fmla="*/ 0 h 2456"/>
                <a:gd name="T30" fmla="*/ 3010 w 3010"/>
                <a:gd name="T31" fmla="*/ 1458 h 2456"/>
                <a:gd name="T32" fmla="*/ 3010 w 3010"/>
                <a:gd name="T33" fmla="*/ 2456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0" h="2456">
                  <a:moveTo>
                    <a:pt x="3010" y="2456"/>
                  </a:moveTo>
                  <a:lnTo>
                    <a:pt x="2810" y="2456"/>
                  </a:lnTo>
                  <a:lnTo>
                    <a:pt x="2810" y="1458"/>
                  </a:lnTo>
                  <a:cubicBezTo>
                    <a:pt x="2810" y="765"/>
                    <a:pt x="2249" y="200"/>
                    <a:pt x="1558" y="200"/>
                  </a:cubicBezTo>
                  <a:lnTo>
                    <a:pt x="1463" y="200"/>
                  </a:lnTo>
                  <a:cubicBezTo>
                    <a:pt x="766" y="200"/>
                    <a:pt x="200" y="765"/>
                    <a:pt x="200" y="1458"/>
                  </a:cubicBezTo>
                  <a:lnTo>
                    <a:pt x="200" y="2318"/>
                  </a:lnTo>
                  <a:lnTo>
                    <a:pt x="200" y="2347"/>
                  </a:lnTo>
                  <a:lnTo>
                    <a:pt x="202" y="2447"/>
                  </a:lnTo>
                  <a:lnTo>
                    <a:pt x="2" y="2452"/>
                  </a:lnTo>
                  <a:lnTo>
                    <a:pt x="0" y="2352"/>
                  </a:lnTo>
                  <a:cubicBezTo>
                    <a:pt x="0" y="2341"/>
                    <a:pt x="0" y="2329"/>
                    <a:pt x="0" y="2318"/>
                  </a:cubicBezTo>
                  <a:lnTo>
                    <a:pt x="0" y="1458"/>
                  </a:lnTo>
                  <a:cubicBezTo>
                    <a:pt x="0" y="654"/>
                    <a:pt x="656" y="0"/>
                    <a:pt x="1463" y="0"/>
                  </a:cubicBezTo>
                  <a:lnTo>
                    <a:pt x="1558" y="0"/>
                  </a:lnTo>
                  <a:cubicBezTo>
                    <a:pt x="2359" y="0"/>
                    <a:pt x="3010" y="654"/>
                    <a:pt x="3010" y="1458"/>
                  </a:cubicBezTo>
                  <a:lnTo>
                    <a:pt x="3010" y="2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7" name="Freeform 700">
              <a:extLst>
                <a:ext uri="{FF2B5EF4-FFF2-40B4-BE49-F238E27FC236}">
                  <a16:creationId xmlns:a16="http://schemas.microsoft.com/office/drawing/2014/main" id="{EE094D4D-5E39-49BF-BF4B-F82E8BFDBEEB}"/>
                </a:ext>
              </a:extLst>
            </p:cNvPr>
            <p:cNvSpPr>
              <a:spLocks noEditPoints="1"/>
            </p:cNvSpPr>
            <p:nvPr/>
          </p:nvSpPr>
          <p:spPr bwMode="auto">
            <a:xfrm>
              <a:off x="6732455" y="3786598"/>
              <a:ext cx="261550" cy="81559"/>
            </a:xfrm>
            <a:custGeom>
              <a:avLst/>
              <a:gdLst>
                <a:gd name="T0" fmla="*/ 511 w 4065"/>
                <a:gd name="T1" fmla="*/ 1033 h 1239"/>
                <a:gd name="T2" fmla="*/ 3608 w 4065"/>
                <a:gd name="T3" fmla="*/ 1033 h 1239"/>
                <a:gd name="T4" fmla="*/ 3780 w 4065"/>
                <a:gd name="T5" fmla="*/ 1037 h 1239"/>
                <a:gd name="T6" fmla="*/ 3853 w 4065"/>
                <a:gd name="T7" fmla="*/ 1039 h 1239"/>
                <a:gd name="T8" fmla="*/ 3862 w 4065"/>
                <a:gd name="T9" fmla="*/ 1039 h 1239"/>
                <a:gd name="T10" fmla="*/ 3863 w 4065"/>
                <a:gd name="T11" fmla="*/ 922 h 1239"/>
                <a:gd name="T12" fmla="*/ 3862 w 4065"/>
                <a:gd name="T13" fmla="*/ 817 h 1239"/>
                <a:gd name="T14" fmla="*/ 3244 w 4065"/>
                <a:gd name="T15" fmla="*/ 200 h 1239"/>
                <a:gd name="T16" fmla="*/ 816 w 4065"/>
                <a:gd name="T17" fmla="*/ 200 h 1239"/>
                <a:gd name="T18" fmla="*/ 200 w 4065"/>
                <a:gd name="T19" fmla="*/ 817 h 1239"/>
                <a:gd name="T20" fmla="*/ 211 w 4065"/>
                <a:gd name="T21" fmla="*/ 1037 h 1239"/>
                <a:gd name="T22" fmla="*/ 254 w 4065"/>
                <a:gd name="T23" fmla="*/ 1039 h 1239"/>
                <a:gd name="T24" fmla="*/ 338 w 4065"/>
                <a:gd name="T25" fmla="*/ 1037 h 1239"/>
                <a:gd name="T26" fmla="*/ 511 w 4065"/>
                <a:gd name="T27" fmla="*/ 1033 h 1239"/>
                <a:gd name="T28" fmla="*/ 253 w 4065"/>
                <a:gd name="T29" fmla="*/ 1239 h 1239"/>
                <a:gd name="T30" fmla="*/ 30 w 4065"/>
                <a:gd name="T31" fmla="*/ 1124 h 1239"/>
                <a:gd name="T32" fmla="*/ 0 w 4065"/>
                <a:gd name="T33" fmla="*/ 817 h 1239"/>
                <a:gd name="T34" fmla="*/ 816 w 4065"/>
                <a:gd name="T35" fmla="*/ 0 h 1239"/>
                <a:gd name="T36" fmla="*/ 3244 w 4065"/>
                <a:gd name="T37" fmla="*/ 0 h 1239"/>
                <a:gd name="T38" fmla="*/ 4062 w 4065"/>
                <a:gd name="T39" fmla="*/ 817 h 1239"/>
                <a:gd name="T40" fmla="*/ 4062 w 4065"/>
                <a:gd name="T41" fmla="*/ 919 h 1239"/>
                <a:gd name="T42" fmla="*/ 4010 w 4065"/>
                <a:gd name="T43" fmla="*/ 1189 h 1239"/>
                <a:gd name="T44" fmla="*/ 3853 w 4065"/>
                <a:gd name="T45" fmla="*/ 1239 h 1239"/>
                <a:gd name="T46" fmla="*/ 3772 w 4065"/>
                <a:gd name="T47" fmla="*/ 1237 h 1239"/>
                <a:gd name="T48" fmla="*/ 3608 w 4065"/>
                <a:gd name="T49" fmla="*/ 1232 h 1239"/>
                <a:gd name="T50" fmla="*/ 511 w 4065"/>
                <a:gd name="T51" fmla="*/ 1232 h 1239"/>
                <a:gd name="T52" fmla="*/ 346 w 4065"/>
                <a:gd name="T53" fmla="*/ 1237 h 1239"/>
                <a:gd name="T54" fmla="*/ 253 w 4065"/>
                <a:gd name="T55" fmla="*/ 123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65" h="1239">
                  <a:moveTo>
                    <a:pt x="511" y="1033"/>
                  </a:moveTo>
                  <a:lnTo>
                    <a:pt x="3608" y="1033"/>
                  </a:lnTo>
                  <a:cubicBezTo>
                    <a:pt x="3678" y="1033"/>
                    <a:pt x="3735" y="1035"/>
                    <a:pt x="3780" y="1037"/>
                  </a:cubicBezTo>
                  <a:cubicBezTo>
                    <a:pt x="3809" y="1038"/>
                    <a:pt x="3834" y="1039"/>
                    <a:pt x="3853" y="1039"/>
                  </a:cubicBezTo>
                  <a:cubicBezTo>
                    <a:pt x="3856" y="1039"/>
                    <a:pt x="3859" y="1039"/>
                    <a:pt x="3862" y="1039"/>
                  </a:cubicBezTo>
                  <a:cubicBezTo>
                    <a:pt x="3863" y="1011"/>
                    <a:pt x="3863" y="966"/>
                    <a:pt x="3863" y="922"/>
                  </a:cubicBezTo>
                  <a:cubicBezTo>
                    <a:pt x="3862" y="891"/>
                    <a:pt x="3862" y="856"/>
                    <a:pt x="3862" y="817"/>
                  </a:cubicBezTo>
                  <a:cubicBezTo>
                    <a:pt x="3862" y="477"/>
                    <a:pt x="3585" y="200"/>
                    <a:pt x="3244" y="200"/>
                  </a:cubicBezTo>
                  <a:lnTo>
                    <a:pt x="816" y="200"/>
                  </a:lnTo>
                  <a:cubicBezTo>
                    <a:pt x="476" y="200"/>
                    <a:pt x="200" y="477"/>
                    <a:pt x="200" y="817"/>
                  </a:cubicBezTo>
                  <a:cubicBezTo>
                    <a:pt x="200" y="887"/>
                    <a:pt x="200" y="1001"/>
                    <a:pt x="211" y="1037"/>
                  </a:cubicBezTo>
                  <a:cubicBezTo>
                    <a:pt x="218" y="1038"/>
                    <a:pt x="230" y="1039"/>
                    <a:pt x="254" y="1039"/>
                  </a:cubicBezTo>
                  <a:cubicBezTo>
                    <a:pt x="277" y="1039"/>
                    <a:pt x="305" y="1038"/>
                    <a:pt x="338" y="1037"/>
                  </a:cubicBezTo>
                  <a:cubicBezTo>
                    <a:pt x="384" y="1035"/>
                    <a:pt x="442" y="1033"/>
                    <a:pt x="511" y="1033"/>
                  </a:cubicBezTo>
                  <a:close/>
                  <a:moveTo>
                    <a:pt x="253" y="1239"/>
                  </a:moveTo>
                  <a:cubicBezTo>
                    <a:pt x="197" y="1239"/>
                    <a:pt x="82" y="1239"/>
                    <a:pt x="30" y="1124"/>
                  </a:cubicBezTo>
                  <a:cubicBezTo>
                    <a:pt x="2" y="1062"/>
                    <a:pt x="0" y="983"/>
                    <a:pt x="0" y="817"/>
                  </a:cubicBezTo>
                  <a:cubicBezTo>
                    <a:pt x="0" y="367"/>
                    <a:pt x="366" y="0"/>
                    <a:pt x="816" y="0"/>
                  </a:cubicBezTo>
                  <a:lnTo>
                    <a:pt x="3244" y="0"/>
                  </a:lnTo>
                  <a:cubicBezTo>
                    <a:pt x="3695" y="0"/>
                    <a:pt x="4062" y="367"/>
                    <a:pt x="4062" y="817"/>
                  </a:cubicBezTo>
                  <a:cubicBezTo>
                    <a:pt x="4062" y="856"/>
                    <a:pt x="4062" y="890"/>
                    <a:pt x="4062" y="919"/>
                  </a:cubicBezTo>
                  <a:cubicBezTo>
                    <a:pt x="4064" y="1062"/>
                    <a:pt x="4065" y="1133"/>
                    <a:pt x="4010" y="1189"/>
                  </a:cubicBezTo>
                  <a:cubicBezTo>
                    <a:pt x="3966" y="1233"/>
                    <a:pt x="3908" y="1239"/>
                    <a:pt x="3853" y="1239"/>
                  </a:cubicBezTo>
                  <a:cubicBezTo>
                    <a:pt x="3829" y="1239"/>
                    <a:pt x="3803" y="1238"/>
                    <a:pt x="3772" y="1237"/>
                  </a:cubicBezTo>
                  <a:cubicBezTo>
                    <a:pt x="3728" y="1235"/>
                    <a:pt x="3674" y="1232"/>
                    <a:pt x="3608" y="1232"/>
                  </a:cubicBezTo>
                  <a:lnTo>
                    <a:pt x="511" y="1232"/>
                  </a:lnTo>
                  <a:cubicBezTo>
                    <a:pt x="446" y="1232"/>
                    <a:pt x="393" y="1235"/>
                    <a:pt x="346" y="1237"/>
                  </a:cubicBezTo>
                  <a:cubicBezTo>
                    <a:pt x="311" y="1238"/>
                    <a:pt x="280" y="1238"/>
                    <a:pt x="253" y="12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8" name="Freeform 701">
              <a:extLst>
                <a:ext uri="{FF2B5EF4-FFF2-40B4-BE49-F238E27FC236}">
                  <a16:creationId xmlns:a16="http://schemas.microsoft.com/office/drawing/2014/main" id="{179BE077-33E9-40A6-B06D-180EC8379EBF}"/>
                </a:ext>
              </a:extLst>
            </p:cNvPr>
            <p:cNvSpPr>
              <a:spLocks/>
            </p:cNvSpPr>
            <p:nvPr/>
          </p:nvSpPr>
          <p:spPr bwMode="auto">
            <a:xfrm>
              <a:off x="6898383" y="3662855"/>
              <a:ext cx="30937" cy="67496"/>
            </a:xfrm>
            <a:custGeom>
              <a:avLst/>
              <a:gdLst>
                <a:gd name="T0" fmla="*/ 416 w 519"/>
                <a:gd name="T1" fmla="*/ 1052 h 1052"/>
                <a:gd name="T2" fmla="*/ 408 w 519"/>
                <a:gd name="T3" fmla="*/ 1052 h 1052"/>
                <a:gd name="T4" fmla="*/ 316 w 519"/>
                <a:gd name="T5" fmla="*/ 945 h 1052"/>
                <a:gd name="T6" fmla="*/ 319 w 519"/>
                <a:gd name="T7" fmla="*/ 868 h 1052"/>
                <a:gd name="T8" fmla="*/ 39 w 519"/>
                <a:gd name="T9" fmla="*/ 181 h 1052"/>
                <a:gd name="T10" fmla="*/ 39 w 519"/>
                <a:gd name="T11" fmla="*/ 40 h 1052"/>
                <a:gd name="T12" fmla="*/ 180 w 519"/>
                <a:gd name="T13" fmla="*/ 39 h 1052"/>
                <a:gd name="T14" fmla="*/ 519 w 519"/>
                <a:gd name="T15" fmla="*/ 868 h 1052"/>
                <a:gd name="T16" fmla="*/ 515 w 519"/>
                <a:gd name="T17" fmla="*/ 960 h 1052"/>
                <a:gd name="T18" fmla="*/ 416 w 519"/>
                <a:gd name="T19" fmla="*/ 105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1052">
                  <a:moveTo>
                    <a:pt x="416" y="1052"/>
                  </a:moveTo>
                  <a:cubicBezTo>
                    <a:pt x="413" y="1052"/>
                    <a:pt x="410" y="1052"/>
                    <a:pt x="408" y="1052"/>
                  </a:cubicBezTo>
                  <a:cubicBezTo>
                    <a:pt x="353" y="1048"/>
                    <a:pt x="311" y="1000"/>
                    <a:pt x="316" y="945"/>
                  </a:cubicBezTo>
                  <a:cubicBezTo>
                    <a:pt x="318" y="919"/>
                    <a:pt x="319" y="894"/>
                    <a:pt x="319" y="868"/>
                  </a:cubicBezTo>
                  <a:cubicBezTo>
                    <a:pt x="319" y="608"/>
                    <a:pt x="217" y="357"/>
                    <a:pt x="39" y="181"/>
                  </a:cubicBezTo>
                  <a:cubicBezTo>
                    <a:pt x="0" y="142"/>
                    <a:pt x="0" y="79"/>
                    <a:pt x="39" y="40"/>
                  </a:cubicBezTo>
                  <a:cubicBezTo>
                    <a:pt x="77" y="0"/>
                    <a:pt x="140" y="0"/>
                    <a:pt x="180" y="39"/>
                  </a:cubicBezTo>
                  <a:cubicBezTo>
                    <a:pt x="395" y="252"/>
                    <a:pt x="519" y="554"/>
                    <a:pt x="519" y="868"/>
                  </a:cubicBezTo>
                  <a:cubicBezTo>
                    <a:pt x="519" y="899"/>
                    <a:pt x="517" y="929"/>
                    <a:pt x="515" y="960"/>
                  </a:cubicBezTo>
                  <a:cubicBezTo>
                    <a:pt x="511" y="1012"/>
                    <a:pt x="467" y="1052"/>
                    <a:pt x="416" y="10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09" name="Freeform 702">
              <a:extLst>
                <a:ext uri="{FF2B5EF4-FFF2-40B4-BE49-F238E27FC236}">
                  <a16:creationId xmlns:a16="http://schemas.microsoft.com/office/drawing/2014/main" id="{D9CE39AD-EB3F-4FD3-963B-322F1C6725EC}"/>
                </a:ext>
              </a:extLst>
            </p:cNvPr>
            <p:cNvSpPr>
              <a:spLocks/>
            </p:cNvSpPr>
            <p:nvPr/>
          </p:nvSpPr>
          <p:spPr bwMode="auto">
            <a:xfrm>
              <a:off x="6875884" y="3648792"/>
              <a:ext cx="14063" cy="14063"/>
            </a:xfrm>
            <a:custGeom>
              <a:avLst/>
              <a:gdLst>
                <a:gd name="T0" fmla="*/ 122 w 222"/>
                <a:gd name="T1" fmla="*/ 208 h 208"/>
                <a:gd name="T2" fmla="*/ 77 w 222"/>
                <a:gd name="T3" fmla="*/ 197 h 208"/>
                <a:gd name="T4" fmla="*/ 0 w 222"/>
                <a:gd name="T5" fmla="*/ 100 h 208"/>
                <a:gd name="T6" fmla="*/ 100 w 222"/>
                <a:gd name="T7" fmla="*/ 0 h 208"/>
                <a:gd name="T8" fmla="*/ 222 w 222"/>
                <a:gd name="T9" fmla="*/ 107 h 208"/>
                <a:gd name="T10" fmla="*/ 222 w 222"/>
                <a:gd name="T11" fmla="*/ 107 h 208"/>
                <a:gd name="T12" fmla="*/ 222 w 222"/>
                <a:gd name="T13" fmla="*/ 107 h 208"/>
                <a:gd name="T14" fmla="*/ 222 w 222"/>
                <a:gd name="T15" fmla="*/ 108 h 208"/>
                <a:gd name="T16" fmla="*/ 205 w 222"/>
                <a:gd name="T17" fmla="*/ 164 h 208"/>
                <a:gd name="T18" fmla="*/ 193 w 222"/>
                <a:gd name="T19" fmla="*/ 178 h 208"/>
                <a:gd name="T20" fmla="*/ 179 w 222"/>
                <a:gd name="T21" fmla="*/ 190 h 208"/>
                <a:gd name="T22" fmla="*/ 147 w 222"/>
                <a:gd name="T23" fmla="*/ 204 h 208"/>
                <a:gd name="T24" fmla="*/ 122 w 222"/>
                <a:gd name="T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208">
                  <a:moveTo>
                    <a:pt x="122" y="208"/>
                  </a:moveTo>
                  <a:cubicBezTo>
                    <a:pt x="105" y="208"/>
                    <a:pt x="90" y="204"/>
                    <a:pt x="77" y="197"/>
                  </a:cubicBezTo>
                  <a:cubicBezTo>
                    <a:pt x="33" y="187"/>
                    <a:pt x="0" y="147"/>
                    <a:pt x="0" y="100"/>
                  </a:cubicBezTo>
                  <a:cubicBezTo>
                    <a:pt x="0" y="44"/>
                    <a:pt x="44" y="0"/>
                    <a:pt x="100" y="0"/>
                  </a:cubicBezTo>
                  <a:cubicBezTo>
                    <a:pt x="140" y="0"/>
                    <a:pt x="222" y="26"/>
                    <a:pt x="222" y="107"/>
                  </a:cubicBezTo>
                  <a:lnTo>
                    <a:pt x="222" y="107"/>
                  </a:lnTo>
                  <a:lnTo>
                    <a:pt x="222" y="107"/>
                  </a:lnTo>
                  <a:lnTo>
                    <a:pt x="222" y="108"/>
                  </a:lnTo>
                  <a:cubicBezTo>
                    <a:pt x="222" y="129"/>
                    <a:pt x="216" y="148"/>
                    <a:pt x="205" y="164"/>
                  </a:cubicBezTo>
                  <a:cubicBezTo>
                    <a:pt x="201" y="169"/>
                    <a:pt x="197" y="174"/>
                    <a:pt x="193" y="178"/>
                  </a:cubicBezTo>
                  <a:cubicBezTo>
                    <a:pt x="189" y="182"/>
                    <a:pt x="184" y="186"/>
                    <a:pt x="179" y="190"/>
                  </a:cubicBezTo>
                  <a:cubicBezTo>
                    <a:pt x="170" y="196"/>
                    <a:pt x="159" y="201"/>
                    <a:pt x="147" y="204"/>
                  </a:cubicBezTo>
                  <a:cubicBezTo>
                    <a:pt x="140" y="207"/>
                    <a:pt x="130" y="208"/>
                    <a:pt x="122"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0" name="Freeform 703">
              <a:extLst>
                <a:ext uri="{FF2B5EF4-FFF2-40B4-BE49-F238E27FC236}">
                  <a16:creationId xmlns:a16="http://schemas.microsoft.com/office/drawing/2014/main" id="{67C402E8-D8A2-4BA5-AA1E-F9A9F619D0D5}"/>
                </a:ext>
              </a:extLst>
            </p:cNvPr>
            <p:cNvSpPr>
              <a:spLocks/>
            </p:cNvSpPr>
            <p:nvPr/>
          </p:nvSpPr>
          <p:spPr bwMode="auto">
            <a:xfrm>
              <a:off x="6639646" y="3454741"/>
              <a:ext cx="461226" cy="337482"/>
            </a:xfrm>
            <a:custGeom>
              <a:avLst/>
              <a:gdLst>
                <a:gd name="T0" fmla="*/ 5379 w 7189"/>
                <a:gd name="T1" fmla="*/ 5131 h 5229"/>
                <a:gd name="T2" fmla="*/ 5899 w 7189"/>
                <a:gd name="T3" fmla="*/ 4610 h 5229"/>
                <a:gd name="T4" fmla="*/ 5940 w 7189"/>
                <a:gd name="T5" fmla="*/ 3581 h 5229"/>
                <a:gd name="T6" fmla="*/ 5525 w 7189"/>
                <a:gd name="T7" fmla="*/ 2778 h 5229"/>
                <a:gd name="T8" fmla="*/ 5318 w 7189"/>
                <a:gd name="T9" fmla="*/ 1633 h 5229"/>
                <a:gd name="T10" fmla="*/ 3942 w 7189"/>
                <a:gd name="T11" fmla="*/ 1639 h 5229"/>
                <a:gd name="T12" fmla="*/ 3054 w 7189"/>
                <a:gd name="T13" fmla="*/ 1528 h 5229"/>
                <a:gd name="T14" fmla="*/ 2268 w 7189"/>
                <a:gd name="T15" fmla="*/ 1735 h 5229"/>
                <a:gd name="T16" fmla="*/ 1585 w 7189"/>
                <a:gd name="T17" fmla="*/ 2772 h 5229"/>
                <a:gd name="T18" fmla="*/ 679 w 7189"/>
                <a:gd name="T19" fmla="*/ 3153 h 5229"/>
                <a:gd name="T20" fmla="*/ 1491 w 7189"/>
                <a:gd name="T21" fmla="*/ 4087 h 5229"/>
                <a:gd name="T22" fmla="*/ 1704 w 7189"/>
                <a:gd name="T23" fmla="*/ 4875 h 5229"/>
                <a:gd name="T24" fmla="*/ 1605 w 7189"/>
                <a:gd name="T25" fmla="*/ 5049 h 5229"/>
                <a:gd name="T26" fmla="*/ 765 w 7189"/>
                <a:gd name="T27" fmla="*/ 4938 h 5229"/>
                <a:gd name="T28" fmla="*/ 1292 w 7189"/>
                <a:gd name="T29" fmla="*/ 4110 h 5229"/>
                <a:gd name="T30" fmla="*/ 89 w 7189"/>
                <a:gd name="T31" fmla="*/ 3160 h 5229"/>
                <a:gd name="T32" fmla="*/ 127 w 7189"/>
                <a:gd name="T33" fmla="*/ 2964 h 5229"/>
                <a:gd name="T34" fmla="*/ 128 w 7189"/>
                <a:gd name="T35" fmla="*/ 2964 h 5229"/>
                <a:gd name="T36" fmla="*/ 1372 w 7189"/>
                <a:gd name="T37" fmla="*/ 1277 h 5229"/>
                <a:gd name="T38" fmla="*/ 1545 w 7189"/>
                <a:gd name="T39" fmla="*/ 1180 h 5229"/>
                <a:gd name="T40" fmla="*/ 2270 w 7189"/>
                <a:gd name="T41" fmla="*/ 1535 h 5229"/>
                <a:gd name="T42" fmla="*/ 3438 w 7189"/>
                <a:gd name="T43" fmla="*/ 185 h 5229"/>
                <a:gd name="T44" fmla="*/ 3535 w 7189"/>
                <a:gd name="T45" fmla="*/ 0 h 5229"/>
                <a:gd name="T46" fmla="*/ 3637 w 7189"/>
                <a:gd name="T47" fmla="*/ 97 h 5229"/>
                <a:gd name="T48" fmla="*/ 3717 w 7189"/>
                <a:gd name="T49" fmla="*/ 891 h 5229"/>
                <a:gd name="T50" fmla="*/ 4773 w 7189"/>
                <a:gd name="T51" fmla="*/ 1590 h 5229"/>
                <a:gd name="T52" fmla="*/ 5491 w 7189"/>
                <a:gd name="T53" fmla="*/ 1279 h 5229"/>
                <a:gd name="T54" fmla="*/ 5659 w 7189"/>
                <a:gd name="T55" fmla="*/ 1388 h 5229"/>
                <a:gd name="T56" fmla="*/ 5678 w 7189"/>
                <a:gd name="T57" fmla="*/ 2649 h 5229"/>
                <a:gd name="T58" fmla="*/ 7075 w 7189"/>
                <a:gd name="T59" fmla="*/ 2976 h 5229"/>
                <a:gd name="T60" fmla="*/ 7119 w 7189"/>
                <a:gd name="T61" fmla="*/ 3168 h 5229"/>
                <a:gd name="T62" fmla="*/ 6080 w 7189"/>
                <a:gd name="T63" fmla="*/ 3724 h 5229"/>
                <a:gd name="T64" fmla="*/ 6252 w 7189"/>
                <a:gd name="T65" fmla="*/ 4638 h 5229"/>
                <a:gd name="T66" fmla="*/ 6190 w 7189"/>
                <a:gd name="T67" fmla="*/ 4826 h 5229"/>
                <a:gd name="T68" fmla="*/ 5580 w 7189"/>
                <a:gd name="T69" fmla="*/ 5127 h 5229"/>
                <a:gd name="T70" fmla="*/ 5480 w 7189"/>
                <a:gd name="T71" fmla="*/ 5229 h 5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89" h="5229">
                  <a:moveTo>
                    <a:pt x="5480" y="5229"/>
                  </a:moveTo>
                  <a:cubicBezTo>
                    <a:pt x="5425" y="5229"/>
                    <a:pt x="5381" y="5186"/>
                    <a:pt x="5379" y="5131"/>
                  </a:cubicBezTo>
                  <a:cubicBezTo>
                    <a:pt x="5376" y="4972"/>
                    <a:pt x="5433" y="4838"/>
                    <a:pt x="5542" y="4744"/>
                  </a:cubicBezTo>
                  <a:cubicBezTo>
                    <a:pt x="5611" y="4685"/>
                    <a:pt x="5723" y="4625"/>
                    <a:pt x="5899" y="4610"/>
                  </a:cubicBezTo>
                  <a:cubicBezTo>
                    <a:pt x="5818" y="4511"/>
                    <a:pt x="5764" y="4391"/>
                    <a:pt x="5743" y="4259"/>
                  </a:cubicBezTo>
                  <a:cubicBezTo>
                    <a:pt x="5703" y="4009"/>
                    <a:pt x="5782" y="3737"/>
                    <a:pt x="5940" y="3581"/>
                  </a:cubicBezTo>
                  <a:cubicBezTo>
                    <a:pt x="6142" y="3382"/>
                    <a:pt x="6333" y="3276"/>
                    <a:pt x="6548" y="3184"/>
                  </a:cubicBezTo>
                  <a:cubicBezTo>
                    <a:pt x="6189" y="3164"/>
                    <a:pt x="5778" y="3076"/>
                    <a:pt x="5525" y="2778"/>
                  </a:cubicBezTo>
                  <a:cubicBezTo>
                    <a:pt x="5356" y="2580"/>
                    <a:pt x="5262" y="2314"/>
                    <a:pt x="5260" y="2029"/>
                  </a:cubicBezTo>
                  <a:cubicBezTo>
                    <a:pt x="5260" y="1894"/>
                    <a:pt x="5279" y="1760"/>
                    <a:pt x="5318" y="1633"/>
                  </a:cubicBezTo>
                  <a:cubicBezTo>
                    <a:pt x="5149" y="1707"/>
                    <a:pt x="4954" y="1760"/>
                    <a:pt x="4809" y="1787"/>
                  </a:cubicBezTo>
                  <a:cubicBezTo>
                    <a:pt x="4454" y="1851"/>
                    <a:pt x="4154" y="1799"/>
                    <a:pt x="3942" y="1639"/>
                  </a:cubicBezTo>
                  <a:cubicBezTo>
                    <a:pt x="3725" y="1475"/>
                    <a:pt x="3585" y="1241"/>
                    <a:pt x="3523" y="943"/>
                  </a:cubicBezTo>
                  <a:cubicBezTo>
                    <a:pt x="3439" y="1162"/>
                    <a:pt x="3294" y="1367"/>
                    <a:pt x="3054" y="1528"/>
                  </a:cubicBezTo>
                  <a:cubicBezTo>
                    <a:pt x="2864" y="1655"/>
                    <a:pt x="2469" y="1735"/>
                    <a:pt x="2271" y="1735"/>
                  </a:cubicBezTo>
                  <a:lnTo>
                    <a:pt x="2268" y="1735"/>
                  </a:lnTo>
                  <a:cubicBezTo>
                    <a:pt x="2077" y="1735"/>
                    <a:pt x="1866" y="1670"/>
                    <a:pt x="1689" y="1566"/>
                  </a:cubicBezTo>
                  <a:cubicBezTo>
                    <a:pt x="1852" y="2099"/>
                    <a:pt x="1817" y="2488"/>
                    <a:pt x="1585" y="2772"/>
                  </a:cubicBezTo>
                  <a:cubicBezTo>
                    <a:pt x="1423" y="2972"/>
                    <a:pt x="1073" y="3074"/>
                    <a:pt x="878" y="3117"/>
                  </a:cubicBezTo>
                  <a:cubicBezTo>
                    <a:pt x="812" y="3132"/>
                    <a:pt x="745" y="3144"/>
                    <a:pt x="679" y="3153"/>
                  </a:cubicBezTo>
                  <a:cubicBezTo>
                    <a:pt x="741" y="3181"/>
                    <a:pt x="795" y="3206"/>
                    <a:pt x="833" y="3228"/>
                  </a:cubicBezTo>
                  <a:cubicBezTo>
                    <a:pt x="1121" y="3391"/>
                    <a:pt x="1433" y="3605"/>
                    <a:pt x="1491" y="4087"/>
                  </a:cubicBezTo>
                  <a:cubicBezTo>
                    <a:pt x="1521" y="4343"/>
                    <a:pt x="1413" y="4571"/>
                    <a:pt x="1252" y="4741"/>
                  </a:cubicBezTo>
                  <a:cubicBezTo>
                    <a:pt x="1409" y="4751"/>
                    <a:pt x="1565" y="4796"/>
                    <a:pt x="1704" y="4875"/>
                  </a:cubicBezTo>
                  <a:cubicBezTo>
                    <a:pt x="1752" y="4902"/>
                    <a:pt x="1769" y="4963"/>
                    <a:pt x="1741" y="5011"/>
                  </a:cubicBezTo>
                  <a:cubicBezTo>
                    <a:pt x="1714" y="5059"/>
                    <a:pt x="1653" y="5076"/>
                    <a:pt x="1605" y="5049"/>
                  </a:cubicBezTo>
                  <a:cubicBezTo>
                    <a:pt x="1390" y="4925"/>
                    <a:pt x="1123" y="4905"/>
                    <a:pt x="893" y="4993"/>
                  </a:cubicBezTo>
                  <a:cubicBezTo>
                    <a:pt x="843" y="5013"/>
                    <a:pt x="785" y="4988"/>
                    <a:pt x="765" y="4938"/>
                  </a:cubicBezTo>
                  <a:cubicBezTo>
                    <a:pt x="744" y="4888"/>
                    <a:pt x="767" y="4831"/>
                    <a:pt x="817" y="4809"/>
                  </a:cubicBezTo>
                  <a:cubicBezTo>
                    <a:pt x="1073" y="4696"/>
                    <a:pt x="1330" y="4429"/>
                    <a:pt x="1292" y="4110"/>
                  </a:cubicBezTo>
                  <a:cubicBezTo>
                    <a:pt x="1250" y="3758"/>
                    <a:pt x="1056" y="3584"/>
                    <a:pt x="734" y="3402"/>
                  </a:cubicBezTo>
                  <a:cubicBezTo>
                    <a:pt x="606" y="3330"/>
                    <a:pt x="244" y="3190"/>
                    <a:pt x="89" y="3160"/>
                  </a:cubicBezTo>
                  <a:cubicBezTo>
                    <a:pt x="35" y="3150"/>
                    <a:pt x="0" y="3097"/>
                    <a:pt x="10" y="3043"/>
                  </a:cubicBezTo>
                  <a:cubicBezTo>
                    <a:pt x="20" y="2989"/>
                    <a:pt x="73" y="2953"/>
                    <a:pt x="127" y="2964"/>
                  </a:cubicBezTo>
                  <a:lnTo>
                    <a:pt x="127" y="2964"/>
                  </a:lnTo>
                  <a:lnTo>
                    <a:pt x="128" y="2964"/>
                  </a:lnTo>
                  <a:cubicBezTo>
                    <a:pt x="460" y="3027"/>
                    <a:pt x="1229" y="2894"/>
                    <a:pt x="1430" y="2646"/>
                  </a:cubicBezTo>
                  <a:cubicBezTo>
                    <a:pt x="1661" y="2363"/>
                    <a:pt x="1642" y="1928"/>
                    <a:pt x="1372" y="1277"/>
                  </a:cubicBezTo>
                  <a:cubicBezTo>
                    <a:pt x="1352" y="1230"/>
                    <a:pt x="1371" y="1176"/>
                    <a:pt x="1415" y="1151"/>
                  </a:cubicBezTo>
                  <a:cubicBezTo>
                    <a:pt x="1460" y="1126"/>
                    <a:pt x="1516" y="1139"/>
                    <a:pt x="1545" y="1180"/>
                  </a:cubicBezTo>
                  <a:cubicBezTo>
                    <a:pt x="1670" y="1355"/>
                    <a:pt x="1975" y="1535"/>
                    <a:pt x="2268" y="1535"/>
                  </a:cubicBezTo>
                  <a:lnTo>
                    <a:pt x="2270" y="1535"/>
                  </a:lnTo>
                  <a:cubicBezTo>
                    <a:pt x="2435" y="1535"/>
                    <a:pt x="2788" y="1465"/>
                    <a:pt x="2943" y="1361"/>
                  </a:cubicBezTo>
                  <a:cubicBezTo>
                    <a:pt x="3288" y="1131"/>
                    <a:pt x="3442" y="766"/>
                    <a:pt x="3438" y="185"/>
                  </a:cubicBezTo>
                  <a:cubicBezTo>
                    <a:pt x="3437" y="157"/>
                    <a:pt x="3437" y="129"/>
                    <a:pt x="3437" y="101"/>
                  </a:cubicBezTo>
                  <a:cubicBezTo>
                    <a:pt x="3436" y="46"/>
                    <a:pt x="3480" y="1"/>
                    <a:pt x="3535" y="0"/>
                  </a:cubicBezTo>
                  <a:lnTo>
                    <a:pt x="3537" y="0"/>
                  </a:lnTo>
                  <a:cubicBezTo>
                    <a:pt x="3591" y="0"/>
                    <a:pt x="3635" y="43"/>
                    <a:pt x="3637" y="97"/>
                  </a:cubicBezTo>
                  <a:cubicBezTo>
                    <a:pt x="3637" y="127"/>
                    <a:pt x="3638" y="158"/>
                    <a:pt x="3638" y="189"/>
                  </a:cubicBezTo>
                  <a:cubicBezTo>
                    <a:pt x="3646" y="424"/>
                    <a:pt x="3672" y="660"/>
                    <a:pt x="3717" y="891"/>
                  </a:cubicBezTo>
                  <a:cubicBezTo>
                    <a:pt x="3767" y="1149"/>
                    <a:pt x="3881" y="1341"/>
                    <a:pt x="4063" y="1479"/>
                  </a:cubicBezTo>
                  <a:cubicBezTo>
                    <a:pt x="4273" y="1639"/>
                    <a:pt x="4566" y="1627"/>
                    <a:pt x="4773" y="1590"/>
                  </a:cubicBezTo>
                  <a:cubicBezTo>
                    <a:pt x="5074" y="1535"/>
                    <a:pt x="5390" y="1405"/>
                    <a:pt x="5475" y="1303"/>
                  </a:cubicBezTo>
                  <a:cubicBezTo>
                    <a:pt x="5480" y="1295"/>
                    <a:pt x="5486" y="1287"/>
                    <a:pt x="5491" y="1279"/>
                  </a:cubicBezTo>
                  <a:cubicBezTo>
                    <a:pt x="5523" y="1235"/>
                    <a:pt x="5582" y="1224"/>
                    <a:pt x="5627" y="1253"/>
                  </a:cubicBezTo>
                  <a:cubicBezTo>
                    <a:pt x="5672" y="1283"/>
                    <a:pt x="5686" y="1342"/>
                    <a:pt x="5659" y="1388"/>
                  </a:cubicBezTo>
                  <a:cubicBezTo>
                    <a:pt x="5653" y="1398"/>
                    <a:pt x="5646" y="1408"/>
                    <a:pt x="5638" y="1418"/>
                  </a:cubicBezTo>
                  <a:cubicBezTo>
                    <a:pt x="5388" y="1791"/>
                    <a:pt x="5403" y="2326"/>
                    <a:pt x="5678" y="2649"/>
                  </a:cubicBezTo>
                  <a:cubicBezTo>
                    <a:pt x="6005" y="3034"/>
                    <a:pt x="6681" y="2997"/>
                    <a:pt x="7044" y="2978"/>
                  </a:cubicBezTo>
                  <a:lnTo>
                    <a:pt x="7075" y="2976"/>
                  </a:lnTo>
                  <a:cubicBezTo>
                    <a:pt x="7124" y="2974"/>
                    <a:pt x="7167" y="3006"/>
                    <a:pt x="7178" y="3054"/>
                  </a:cubicBezTo>
                  <a:cubicBezTo>
                    <a:pt x="7189" y="3101"/>
                    <a:pt x="7165" y="3149"/>
                    <a:pt x="7119" y="3168"/>
                  </a:cubicBezTo>
                  <a:cubicBezTo>
                    <a:pt x="7027" y="3208"/>
                    <a:pt x="6941" y="3241"/>
                    <a:pt x="6859" y="3273"/>
                  </a:cubicBezTo>
                  <a:cubicBezTo>
                    <a:pt x="6548" y="3395"/>
                    <a:pt x="6324" y="3483"/>
                    <a:pt x="6080" y="3724"/>
                  </a:cubicBezTo>
                  <a:cubicBezTo>
                    <a:pt x="5986" y="3817"/>
                    <a:pt x="5907" y="4020"/>
                    <a:pt x="5940" y="4227"/>
                  </a:cubicBezTo>
                  <a:cubicBezTo>
                    <a:pt x="5960" y="4354"/>
                    <a:pt x="6032" y="4529"/>
                    <a:pt x="6252" y="4638"/>
                  </a:cubicBezTo>
                  <a:cubicBezTo>
                    <a:pt x="6297" y="4661"/>
                    <a:pt x="6318" y="4712"/>
                    <a:pt x="6303" y="4759"/>
                  </a:cubicBezTo>
                  <a:cubicBezTo>
                    <a:pt x="6287" y="4806"/>
                    <a:pt x="6239" y="4835"/>
                    <a:pt x="6190" y="4826"/>
                  </a:cubicBezTo>
                  <a:cubicBezTo>
                    <a:pt x="5957" y="4785"/>
                    <a:pt x="5774" y="4810"/>
                    <a:pt x="5672" y="4896"/>
                  </a:cubicBezTo>
                  <a:cubicBezTo>
                    <a:pt x="5609" y="4951"/>
                    <a:pt x="5578" y="5028"/>
                    <a:pt x="5580" y="5127"/>
                  </a:cubicBezTo>
                  <a:cubicBezTo>
                    <a:pt x="5580" y="5183"/>
                    <a:pt x="5536" y="5228"/>
                    <a:pt x="5482" y="5229"/>
                  </a:cubicBezTo>
                  <a:lnTo>
                    <a:pt x="5480" y="522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1" name="Freeform 704">
              <a:extLst>
                <a:ext uri="{FF2B5EF4-FFF2-40B4-BE49-F238E27FC236}">
                  <a16:creationId xmlns:a16="http://schemas.microsoft.com/office/drawing/2014/main" id="{2B05E2BE-2B6C-470E-803C-23C66D7AD329}"/>
                </a:ext>
              </a:extLst>
            </p:cNvPr>
            <p:cNvSpPr>
              <a:spLocks/>
            </p:cNvSpPr>
            <p:nvPr/>
          </p:nvSpPr>
          <p:spPr bwMode="auto">
            <a:xfrm>
              <a:off x="6783077" y="3482864"/>
              <a:ext cx="28124" cy="42186"/>
            </a:xfrm>
            <a:custGeom>
              <a:avLst/>
              <a:gdLst>
                <a:gd name="T0" fmla="*/ 343 w 457"/>
                <a:gd name="T1" fmla="*/ 667 h 667"/>
                <a:gd name="T2" fmla="*/ 254 w 457"/>
                <a:gd name="T3" fmla="*/ 612 h 667"/>
                <a:gd name="T4" fmla="*/ 24 w 457"/>
                <a:gd name="T5" fmla="*/ 159 h 667"/>
                <a:gd name="T6" fmla="*/ 68 w 457"/>
                <a:gd name="T7" fmla="*/ 25 h 667"/>
                <a:gd name="T8" fmla="*/ 203 w 457"/>
                <a:gd name="T9" fmla="*/ 69 h 667"/>
                <a:gd name="T10" fmla="*/ 432 w 457"/>
                <a:gd name="T11" fmla="*/ 521 h 667"/>
                <a:gd name="T12" fmla="*/ 388 w 457"/>
                <a:gd name="T13" fmla="*/ 656 h 667"/>
                <a:gd name="T14" fmla="*/ 343 w 457"/>
                <a:gd name="T15" fmla="*/ 667 h 6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667">
                  <a:moveTo>
                    <a:pt x="343" y="667"/>
                  </a:moveTo>
                  <a:cubicBezTo>
                    <a:pt x="306" y="667"/>
                    <a:pt x="271" y="647"/>
                    <a:pt x="254" y="612"/>
                  </a:cubicBezTo>
                  <a:lnTo>
                    <a:pt x="24" y="159"/>
                  </a:lnTo>
                  <a:cubicBezTo>
                    <a:pt x="0" y="110"/>
                    <a:pt x="19" y="50"/>
                    <a:pt x="68" y="25"/>
                  </a:cubicBezTo>
                  <a:cubicBezTo>
                    <a:pt x="118" y="0"/>
                    <a:pt x="177" y="20"/>
                    <a:pt x="203" y="69"/>
                  </a:cubicBezTo>
                  <a:lnTo>
                    <a:pt x="432" y="521"/>
                  </a:lnTo>
                  <a:cubicBezTo>
                    <a:pt x="457" y="571"/>
                    <a:pt x="438" y="631"/>
                    <a:pt x="388" y="656"/>
                  </a:cubicBezTo>
                  <a:cubicBezTo>
                    <a:pt x="374" y="663"/>
                    <a:pt x="358" y="667"/>
                    <a:pt x="343" y="6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2" name="Freeform 705">
              <a:extLst>
                <a:ext uri="{FF2B5EF4-FFF2-40B4-BE49-F238E27FC236}">
                  <a16:creationId xmlns:a16="http://schemas.microsoft.com/office/drawing/2014/main" id="{EFE05509-B12E-4BC6-83DD-164EF2348A2A}"/>
                </a:ext>
              </a:extLst>
            </p:cNvPr>
            <p:cNvSpPr>
              <a:spLocks/>
            </p:cNvSpPr>
            <p:nvPr/>
          </p:nvSpPr>
          <p:spPr bwMode="auto">
            <a:xfrm>
              <a:off x="6673394" y="3572859"/>
              <a:ext cx="39373" cy="33748"/>
            </a:xfrm>
            <a:custGeom>
              <a:avLst/>
              <a:gdLst>
                <a:gd name="T0" fmla="*/ 498 w 610"/>
                <a:gd name="T1" fmla="*/ 542 h 542"/>
                <a:gd name="T2" fmla="*/ 433 w 610"/>
                <a:gd name="T3" fmla="*/ 518 h 542"/>
                <a:gd name="T4" fmla="*/ 47 w 610"/>
                <a:gd name="T5" fmla="*/ 188 h 542"/>
                <a:gd name="T6" fmla="*/ 36 w 610"/>
                <a:gd name="T7" fmla="*/ 47 h 542"/>
                <a:gd name="T8" fmla="*/ 177 w 610"/>
                <a:gd name="T9" fmla="*/ 36 h 542"/>
                <a:gd name="T10" fmla="*/ 563 w 610"/>
                <a:gd name="T11" fmla="*/ 366 h 542"/>
                <a:gd name="T12" fmla="*/ 574 w 610"/>
                <a:gd name="T13" fmla="*/ 507 h 542"/>
                <a:gd name="T14" fmla="*/ 498 w 610"/>
                <a:gd name="T15" fmla="*/ 542 h 5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0" h="542">
                  <a:moveTo>
                    <a:pt x="498" y="542"/>
                  </a:moveTo>
                  <a:cubicBezTo>
                    <a:pt x="475" y="542"/>
                    <a:pt x="452" y="534"/>
                    <a:pt x="433" y="518"/>
                  </a:cubicBezTo>
                  <a:lnTo>
                    <a:pt x="47" y="188"/>
                  </a:lnTo>
                  <a:cubicBezTo>
                    <a:pt x="5" y="152"/>
                    <a:pt x="0" y="89"/>
                    <a:pt x="36" y="47"/>
                  </a:cubicBezTo>
                  <a:cubicBezTo>
                    <a:pt x="72" y="5"/>
                    <a:pt x="135" y="0"/>
                    <a:pt x="177" y="36"/>
                  </a:cubicBezTo>
                  <a:lnTo>
                    <a:pt x="563" y="366"/>
                  </a:lnTo>
                  <a:cubicBezTo>
                    <a:pt x="605" y="402"/>
                    <a:pt x="610" y="465"/>
                    <a:pt x="574" y="507"/>
                  </a:cubicBezTo>
                  <a:cubicBezTo>
                    <a:pt x="554" y="530"/>
                    <a:pt x="526" y="542"/>
                    <a:pt x="498"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3" name="Freeform 706">
              <a:extLst>
                <a:ext uri="{FF2B5EF4-FFF2-40B4-BE49-F238E27FC236}">
                  <a16:creationId xmlns:a16="http://schemas.microsoft.com/office/drawing/2014/main" id="{2136B5F3-1215-44BE-A2E8-B613CEEF6DBB}"/>
                </a:ext>
              </a:extLst>
            </p:cNvPr>
            <p:cNvSpPr>
              <a:spLocks/>
            </p:cNvSpPr>
            <p:nvPr/>
          </p:nvSpPr>
          <p:spPr bwMode="auto">
            <a:xfrm>
              <a:off x="6656520" y="3713477"/>
              <a:ext cx="30937" cy="14063"/>
            </a:xfrm>
            <a:custGeom>
              <a:avLst/>
              <a:gdLst>
                <a:gd name="T0" fmla="*/ 368 w 468"/>
                <a:gd name="T1" fmla="*/ 200 h 200"/>
                <a:gd name="T2" fmla="*/ 100 w 468"/>
                <a:gd name="T3" fmla="*/ 200 h 200"/>
                <a:gd name="T4" fmla="*/ 0 w 468"/>
                <a:gd name="T5" fmla="*/ 100 h 200"/>
                <a:gd name="T6" fmla="*/ 100 w 468"/>
                <a:gd name="T7" fmla="*/ 0 h 200"/>
                <a:gd name="T8" fmla="*/ 368 w 468"/>
                <a:gd name="T9" fmla="*/ 0 h 200"/>
                <a:gd name="T10" fmla="*/ 468 w 468"/>
                <a:gd name="T11" fmla="*/ 100 h 200"/>
                <a:gd name="T12" fmla="*/ 368 w 468"/>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468" h="200">
                  <a:moveTo>
                    <a:pt x="368" y="200"/>
                  </a:moveTo>
                  <a:lnTo>
                    <a:pt x="100" y="200"/>
                  </a:lnTo>
                  <a:cubicBezTo>
                    <a:pt x="45" y="200"/>
                    <a:pt x="0" y="155"/>
                    <a:pt x="0" y="100"/>
                  </a:cubicBezTo>
                  <a:cubicBezTo>
                    <a:pt x="0" y="44"/>
                    <a:pt x="45" y="0"/>
                    <a:pt x="100" y="0"/>
                  </a:cubicBezTo>
                  <a:lnTo>
                    <a:pt x="368" y="0"/>
                  </a:lnTo>
                  <a:cubicBezTo>
                    <a:pt x="423" y="0"/>
                    <a:pt x="468" y="44"/>
                    <a:pt x="468" y="100"/>
                  </a:cubicBezTo>
                  <a:cubicBezTo>
                    <a:pt x="468" y="155"/>
                    <a:pt x="423" y="200"/>
                    <a:pt x="368"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4" name="Freeform 707">
              <a:extLst>
                <a:ext uri="{FF2B5EF4-FFF2-40B4-BE49-F238E27FC236}">
                  <a16:creationId xmlns:a16="http://schemas.microsoft.com/office/drawing/2014/main" id="{A74E5FF5-2628-44B7-A2A5-C73DEC91F45F}"/>
                </a:ext>
              </a:extLst>
            </p:cNvPr>
            <p:cNvSpPr>
              <a:spLocks/>
            </p:cNvSpPr>
            <p:nvPr/>
          </p:nvSpPr>
          <p:spPr bwMode="auto">
            <a:xfrm>
              <a:off x="7050250" y="3713477"/>
              <a:ext cx="39373" cy="14063"/>
            </a:xfrm>
            <a:custGeom>
              <a:avLst/>
              <a:gdLst>
                <a:gd name="T0" fmla="*/ 501 w 601"/>
                <a:gd name="T1" fmla="*/ 200 h 200"/>
                <a:gd name="T2" fmla="*/ 100 w 601"/>
                <a:gd name="T3" fmla="*/ 200 h 200"/>
                <a:gd name="T4" fmla="*/ 0 w 601"/>
                <a:gd name="T5" fmla="*/ 100 h 200"/>
                <a:gd name="T6" fmla="*/ 100 w 601"/>
                <a:gd name="T7" fmla="*/ 0 h 200"/>
                <a:gd name="T8" fmla="*/ 501 w 601"/>
                <a:gd name="T9" fmla="*/ 0 h 200"/>
                <a:gd name="T10" fmla="*/ 601 w 601"/>
                <a:gd name="T11" fmla="*/ 100 h 200"/>
                <a:gd name="T12" fmla="*/ 501 w 601"/>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601" h="200">
                  <a:moveTo>
                    <a:pt x="501" y="200"/>
                  </a:moveTo>
                  <a:lnTo>
                    <a:pt x="100" y="200"/>
                  </a:lnTo>
                  <a:cubicBezTo>
                    <a:pt x="45" y="200"/>
                    <a:pt x="0" y="155"/>
                    <a:pt x="0" y="100"/>
                  </a:cubicBezTo>
                  <a:cubicBezTo>
                    <a:pt x="0" y="45"/>
                    <a:pt x="45" y="0"/>
                    <a:pt x="100" y="0"/>
                  </a:cubicBezTo>
                  <a:lnTo>
                    <a:pt x="501" y="0"/>
                  </a:lnTo>
                  <a:cubicBezTo>
                    <a:pt x="557" y="0"/>
                    <a:pt x="601" y="45"/>
                    <a:pt x="601" y="100"/>
                  </a:cubicBezTo>
                  <a:cubicBezTo>
                    <a:pt x="601" y="155"/>
                    <a:pt x="557" y="200"/>
                    <a:pt x="501"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5" name="Freeform 708">
              <a:extLst>
                <a:ext uri="{FF2B5EF4-FFF2-40B4-BE49-F238E27FC236}">
                  <a16:creationId xmlns:a16="http://schemas.microsoft.com/office/drawing/2014/main" id="{DB721DFD-4215-47D1-84E3-4751FF7487D7}"/>
                </a:ext>
              </a:extLst>
            </p:cNvPr>
            <p:cNvSpPr>
              <a:spLocks/>
            </p:cNvSpPr>
            <p:nvPr/>
          </p:nvSpPr>
          <p:spPr bwMode="auto">
            <a:xfrm>
              <a:off x="7022126" y="3578484"/>
              <a:ext cx="39373" cy="30937"/>
            </a:xfrm>
            <a:custGeom>
              <a:avLst/>
              <a:gdLst>
                <a:gd name="T0" fmla="*/ 113 w 585"/>
                <a:gd name="T1" fmla="*/ 471 h 471"/>
                <a:gd name="T2" fmla="*/ 31 w 585"/>
                <a:gd name="T3" fmla="*/ 429 h 471"/>
                <a:gd name="T4" fmla="*/ 55 w 585"/>
                <a:gd name="T5" fmla="*/ 289 h 471"/>
                <a:gd name="T6" fmla="*/ 413 w 585"/>
                <a:gd name="T7" fmla="*/ 32 h 471"/>
                <a:gd name="T8" fmla="*/ 553 w 585"/>
                <a:gd name="T9" fmla="*/ 55 h 471"/>
                <a:gd name="T10" fmla="*/ 530 w 585"/>
                <a:gd name="T11" fmla="*/ 195 h 471"/>
                <a:gd name="T12" fmla="*/ 171 w 585"/>
                <a:gd name="T13" fmla="*/ 452 h 471"/>
                <a:gd name="T14" fmla="*/ 113 w 585"/>
                <a:gd name="T15" fmla="*/ 471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5" h="471">
                  <a:moveTo>
                    <a:pt x="113" y="471"/>
                  </a:moveTo>
                  <a:cubicBezTo>
                    <a:pt x="82" y="471"/>
                    <a:pt x="52" y="456"/>
                    <a:pt x="31" y="429"/>
                  </a:cubicBezTo>
                  <a:cubicBezTo>
                    <a:pt x="0" y="384"/>
                    <a:pt x="10" y="322"/>
                    <a:pt x="55" y="289"/>
                  </a:cubicBezTo>
                  <a:lnTo>
                    <a:pt x="413" y="32"/>
                  </a:lnTo>
                  <a:cubicBezTo>
                    <a:pt x="458" y="0"/>
                    <a:pt x="520" y="10"/>
                    <a:pt x="553" y="55"/>
                  </a:cubicBezTo>
                  <a:cubicBezTo>
                    <a:pt x="585" y="100"/>
                    <a:pt x="575" y="163"/>
                    <a:pt x="530" y="195"/>
                  </a:cubicBezTo>
                  <a:lnTo>
                    <a:pt x="171" y="452"/>
                  </a:lnTo>
                  <a:cubicBezTo>
                    <a:pt x="154" y="465"/>
                    <a:pt x="134" y="471"/>
                    <a:pt x="113" y="4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6" name="Freeform 709">
              <a:extLst>
                <a:ext uri="{FF2B5EF4-FFF2-40B4-BE49-F238E27FC236}">
                  <a16:creationId xmlns:a16="http://schemas.microsoft.com/office/drawing/2014/main" id="{76F7EC3E-89C7-4C51-A66E-4E5E21F42F35}"/>
                </a:ext>
              </a:extLst>
            </p:cNvPr>
            <p:cNvSpPr>
              <a:spLocks/>
            </p:cNvSpPr>
            <p:nvPr/>
          </p:nvSpPr>
          <p:spPr bwMode="auto">
            <a:xfrm>
              <a:off x="6923695" y="3482864"/>
              <a:ext cx="30937" cy="47811"/>
            </a:xfrm>
            <a:custGeom>
              <a:avLst/>
              <a:gdLst>
                <a:gd name="T0" fmla="*/ 114 w 488"/>
                <a:gd name="T1" fmla="*/ 734 h 734"/>
                <a:gd name="T2" fmla="*/ 70 w 488"/>
                <a:gd name="T3" fmla="*/ 724 h 734"/>
                <a:gd name="T4" fmla="*/ 25 w 488"/>
                <a:gd name="T5" fmla="*/ 590 h 734"/>
                <a:gd name="T6" fmla="*/ 285 w 488"/>
                <a:gd name="T7" fmla="*/ 69 h 734"/>
                <a:gd name="T8" fmla="*/ 419 w 488"/>
                <a:gd name="T9" fmla="*/ 25 h 734"/>
                <a:gd name="T10" fmla="*/ 464 w 488"/>
                <a:gd name="T11" fmla="*/ 159 h 734"/>
                <a:gd name="T12" fmla="*/ 204 w 488"/>
                <a:gd name="T13" fmla="*/ 679 h 734"/>
                <a:gd name="T14" fmla="*/ 114 w 488"/>
                <a:gd name="T15" fmla="*/ 734 h 7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8" h="734">
                  <a:moveTo>
                    <a:pt x="114" y="734"/>
                  </a:moveTo>
                  <a:cubicBezTo>
                    <a:pt x="99" y="734"/>
                    <a:pt x="84" y="731"/>
                    <a:pt x="70" y="724"/>
                  </a:cubicBezTo>
                  <a:cubicBezTo>
                    <a:pt x="20" y="699"/>
                    <a:pt x="0" y="639"/>
                    <a:pt x="25" y="590"/>
                  </a:cubicBezTo>
                  <a:lnTo>
                    <a:pt x="285" y="69"/>
                  </a:lnTo>
                  <a:cubicBezTo>
                    <a:pt x="310" y="20"/>
                    <a:pt x="370" y="0"/>
                    <a:pt x="419" y="25"/>
                  </a:cubicBezTo>
                  <a:cubicBezTo>
                    <a:pt x="469" y="49"/>
                    <a:pt x="488" y="110"/>
                    <a:pt x="464" y="159"/>
                  </a:cubicBezTo>
                  <a:lnTo>
                    <a:pt x="204" y="679"/>
                  </a:lnTo>
                  <a:cubicBezTo>
                    <a:pt x="186" y="714"/>
                    <a:pt x="151" y="734"/>
                    <a:pt x="114" y="7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7" name="Freeform 710">
              <a:extLst>
                <a:ext uri="{FF2B5EF4-FFF2-40B4-BE49-F238E27FC236}">
                  <a16:creationId xmlns:a16="http://schemas.microsoft.com/office/drawing/2014/main" id="{8578C938-C92F-4D8F-97A6-468654E32968}"/>
                </a:ext>
              </a:extLst>
            </p:cNvPr>
            <p:cNvSpPr>
              <a:spLocks/>
            </p:cNvSpPr>
            <p:nvPr/>
          </p:nvSpPr>
          <p:spPr bwMode="auto">
            <a:xfrm>
              <a:off x="6707143" y="3499738"/>
              <a:ext cx="16874" cy="14063"/>
            </a:xfrm>
            <a:custGeom>
              <a:avLst/>
              <a:gdLst>
                <a:gd name="T0" fmla="*/ 145 w 259"/>
                <a:gd name="T1" fmla="*/ 221 h 221"/>
                <a:gd name="T2" fmla="*/ 94 w 259"/>
                <a:gd name="T3" fmla="*/ 207 h 221"/>
                <a:gd name="T4" fmla="*/ 94 w 259"/>
                <a:gd name="T5" fmla="*/ 207 h 221"/>
                <a:gd name="T6" fmla="*/ 7 w 259"/>
                <a:gd name="T7" fmla="*/ 95 h 221"/>
                <a:gd name="T8" fmla="*/ 108 w 259"/>
                <a:gd name="T9" fmla="*/ 8 h 221"/>
                <a:gd name="T10" fmla="*/ 230 w 259"/>
                <a:gd name="T11" fmla="*/ 68 h 221"/>
                <a:gd name="T12" fmla="*/ 198 w 259"/>
                <a:gd name="T13" fmla="*/ 206 h 221"/>
                <a:gd name="T14" fmla="*/ 145 w 259"/>
                <a:gd name="T15" fmla="*/ 221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221">
                  <a:moveTo>
                    <a:pt x="145" y="221"/>
                  </a:moveTo>
                  <a:cubicBezTo>
                    <a:pt x="127" y="221"/>
                    <a:pt x="110" y="216"/>
                    <a:pt x="94" y="207"/>
                  </a:cubicBezTo>
                  <a:cubicBezTo>
                    <a:pt x="94" y="207"/>
                    <a:pt x="94" y="207"/>
                    <a:pt x="94" y="207"/>
                  </a:cubicBezTo>
                  <a:cubicBezTo>
                    <a:pt x="39" y="200"/>
                    <a:pt x="0" y="149"/>
                    <a:pt x="7" y="95"/>
                  </a:cubicBezTo>
                  <a:cubicBezTo>
                    <a:pt x="14" y="44"/>
                    <a:pt x="59" y="8"/>
                    <a:pt x="108" y="8"/>
                  </a:cubicBezTo>
                  <a:cubicBezTo>
                    <a:pt x="141" y="0"/>
                    <a:pt x="190" y="4"/>
                    <a:pt x="230" y="68"/>
                  </a:cubicBezTo>
                  <a:cubicBezTo>
                    <a:pt x="259" y="115"/>
                    <a:pt x="244" y="177"/>
                    <a:pt x="198" y="206"/>
                  </a:cubicBezTo>
                  <a:cubicBezTo>
                    <a:pt x="181" y="216"/>
                    <a:pt x="163" y="221"/>
                    <a:pt x="145" y="2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8" name="Freeform 711">
              <a:extLst>
                <a:ext uri="{FF2B5EF4-FFF2-40B4-BE49-F238E27FC236}">
                  <a16:creationId xmlns:a16="http://schemas.microsoft.com/office/drawing/2014/main" id="{9DCBFA8F-F70A-4130-AF53-A4A4C076A821}"/>
                </a:ext>
              </a:extLst>
            </p:cNvPr>
            <p:cNvSpPr>
              <a:spLocks/>
            </p:cNvSpPr>
            <p:nvPr/>
          </p:nvSpPr>
          <p:spPr bwMode="auto">
            <a:xfrm>
              <a:off x="7010877" y="3510988"/>
              <a:ext cx="14063" cy="14063"/>
            </a:xfrm>
            <a:custGeom>
              <a:avLst/>
              <a:gdLst>
                <a:gd name="T0" fmla="*/ 109 w 206"/>
                <a:gd name="T1" fmla="*/ 200 h 200"/>
                <a:gd name="T2" fmla="*/ 19 w 206"/>
                <a:gd name="T3" fmla="*/ 145 h 200"/>
                <a:gd name="T4" fmla="*/ 28 w 206"/>
                <a:gd name="T5" fmla="*/ 40 h 200"/>
                <a:gd name="T6" fmla="*/ 28 w 206"/>
                <a:gd name="T7" fmla="*/ 40 h 200"/>
                <a:gd name="T8" fmla="*/ 33 w 206"/>
                <a:gd name="T9" fmla="*/ 34 h 200"/>
                <a:gd name="T10" fmla="*/ 33 w 206"/>
                <a:gd name="T11" fmla="*/ 34 h 200"/>
                <a:gd name="T12" fmla="*/ 46 w 206"/>
                <a:gd name="T13" fmla="*/ 17 h 200"/>
                <a:gd name="T14" fmla="*/ 109 w 206"/>
                <a:gd name="T15" fmla="*/ 64 h 200"/>
                <a:gd name="T16" fmla="*/ 109 w 206"/>
                <a:gd name="T17" fmla="*/ 0 h 200"/>
                <a:gd name="T18" fmla="*/ 109 w 206"/>
                <a:gd name="T19" fmla="*/ 64 h 200"/>
                <a:gd name="T20" fmla="*/ 137 w 206"/>
                <a:gd name="T21" fmla="*/ 86 h 200"/>
                <a:gd name="T22" fmla="*/ 198 w 206"/>
                <a:gd name="T23" fmla="*/ 55 h 200"/>
                <a:gd name="T24" fmla="*/ 137 w 206"/>
                <a:gd name="T25" fmla="*/ 86 h 200"/>
                <a:gd name="T26" fmla="*/ 206 w 206"/>
                <a:gd name="T27" fmla="*/ 137 h 200"/>
                <a:gd name="T28" fmla="*/ 204 w 206"/>
                <a:gd name="T29" fmla="*/ 138 h 200"/>
                <a:gd name="T30" fmla="*/ 189 w 206"/>
                <a:gd name="T31" fmla="*/ 160 h 200"/>
                <a:gd name="T32" fmla="*/ 188 w 206"/>
                <a:gd name="T33" fmla="*/ 159 h 200"/>
                <a:gd name="T34" fmla="*/ 109 w 206"/>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200">
                  <a:moveTo>
                    <a:pt x="109" y="200"/>
                  </a:moveTo>
                  <a:cubicBezTo>
                    <a:pt x="70" y="200"/>
                    <a:pt x="36" y="178"/>
                    <a:pt x="19" y="145"/>
                  </a:cubicBezTo>
                  <a:cubicBezTo>
                    <a:pt x="7" y="120"/>
                    <a:pt x="0" y="83"/>
                    <a:pt x="28" y="40"/>
                  </a:cubicBezTo>
                  <a:lnTo>
                    <a:pt x="28" y="40"/>
                  </a:lnTo>
                  <a:lnTo>
                    <a:pt x="33" y="34"/>
                  </a:lnTo>
                  <a:lnTo>
                    <a:pt x="33" y="34"/>
                  </a:lnTo>
                  <a:lnTo>
                    <a:pt x="46" y="17"/>
                  </a:lnTo>
                  <a:lnTo>
                    <a:pt x="109" y="64"/>
                  </a:lnTo>
                  <a:lnTo>
                    <a:pt x="109" y="0"/>
                  </a:lnTo>
                  <a:lnTo>
                    <a:pt x="109" y="64"/>
                  </a:lnTo>
                  <a:lnTo>
                    <a:pt x="137" y="86"/>
                  </a:lnTo>
                  <a:lnTo>
                    <a:pt x="198" y="55"/>
                  </a:lnTo>
                  <a:lnTo>
                    <a:pt x="137" y="86"/>
                  </a:lnTo>
                  <a:lnTo>
                    <a:pt x="206" y="137"/>
                  </a:lnTo>
                  <a:cubicBezTo>
                    <a:pt x="206" y="137"/>
                    <a:pt x="205" y="138"/>
                    <a:pt x="204" y="138"/>
                  </a:cubicBezTo>
                  <a:lnTo>
                    <a:pt x="189" y="160"/>
                  </a:lnTo>
                  <a:lnTo>
                    <a:pt x="188" y="159"/>
                  </a:lnTo>
                  <a:cubicBezTo>
                    <a:pt x="169" y="183"/>
                    <a:pt x="147" y="200"/>
                    <a:pt x="109"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19" name="Freeform 712">
              <a:extLst>
                <a:ext uri="{FF2B5EF4-FFF2-40B4-BE49-F238E27FC236}">
                  <a16:creationId xmlns:a16="http://schemas.microsoft.com/office/drawing/2014/main" id="{1100FD7A-4174-473F-9B61-C3526A018DD0}"/>
                </a:ext>
              </a:extLst>
            </p:cNvPr>
            <p:cNvSpPr>
              <a:spLocks noEditPoints="1"/>
            </p:cNvSpPr>
            <p:nvPr/>
          </p:nvSpPr>
          <p:spPr bwMode="auto">
            <a:xfrm>
              <a:off x="7114935" y="3643167"/>
              <a:ext cx="14063" cy="14063"/>
            </a:xfrm>
            <a:custGeom>
              <a:avLst/>
              <a:gdLst>
                <a:gd name="T0" fmla="*/ 54 w 229"/>
                <a:gd name="T1" fmla="*/ 33 h 212"/>
                <a:gd name="T2" fmla="*/ 28 w 229"/>
                <a:gd name="T3" fmla="*/ 134 h 212"/>
                <a:gd name="T4" fmla="*/ 118 w 229"/>
                <a:gd name="T5" fmla="*/ 200 h 212"/>
                <a:gd name="T6" fmla="*/ 203 w 229"/>
                <a:gd name="T7" fmla="*/ 114 h 212"/>
                <a:gd name="T8" fmla="*/ 130 w 229"/>
                <a:gd name="T9" fmla="*/ 13 h 212"/>
                <a:gd name="T10" fmla="*/ 115 w 229"/>
                <a:gd name="T11" fmla="*/ 112 h 212"/>
                <a:gd name="T12" fmla="*/ 54 w 229"/>
                <a:gd name="T13" fmla="*/ 33 h 212"/>
                <a:gd name="T14" fmla="*/ 115 w 229"/>
                <a:gd name="T15" fmla="*/ 212 h 212"/>
                <a:gd name="T16" fmla="*/ 100 w 229"/>
                <a:gd name="T17" fmla="*/ 211 h 212"/>
                <a:gd name="T18" fmla="*/ 3 w 229"/>
                <a:gd name="T19" fmla="*/ 99 h 212"/>
                <a:gd name="T20" fmla="*/ 118 w 229"/>
                <a:gd name="T21" fmla="*/ 0 h 212"/>
                <a:gd name="T22" fmla="*/ 218 w 229"/>
                <a:gd name="T23" fmla="*/ 70 h 212"/>
                <a:gd name="T24" fmla="*/ 176 w 229"/>
                <a:gd name="T25" fmla="*/ 191 h 212"/>
                <a:gd name="T26" fmla="*/ 115 w 229"/>
                <a:gd name="T2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212">
                  <a:moveTo>
                    <a:pt x="54" y="33"/>
                  </a:moveTo>
                  <a:cubicBezTo>
                    <a:pt x="36" y="47"/>
                    <a:pt x="12" y="87"/>
                    <a:pt x="28" y="134"/>
                  </a:cubicBezTo>
                  <a:cubicBezTo>
                    <a:pt x="41" y="173"/>
                    <a:pt x="79" y="200"/>
                    <a:pt x="118" y="200"/>
                  </a:cubicBezTo>
                  <a:cubicBezTo>
                    <a:pt x="161" y="200"/>
                    <a:pt x="200" y="161"/>
                    <a:pt x="203" y="114"/>
                  </a:cubicBezTo>
                  <a:cubicBezTo>
                    <a:pt x="207" y="57"/>
                    <a:pt x="163" y="18"/>
                    <a:pt x="130" y="13"/>
                  </a:cubicBezTo>
                  <a:lnTo>
                    <a:pt x="115" y="112"/>
                  </a:lnTo>
                  <a:lnTo>
                    <a:pt x="54" y="33"/>
                  </a:lnTo>
                  <a:close/>
                  <a:moveTo>
                    <a:pt x="115" y="212"/>
                  </a:moveTo>
                  <a:cubicBezTo>
                    <a:pt x="111" y="212"/>
                    <a:pt x="105" y="211"/>
                    <a:pt x="100" y="211"/>
                  </a:cubicBezTo>
                  <a:cubicBezTo>
                    <a:pt x="28" y="200"/>
                    <a:pt x="0" y="145"/>
                    <a:pt x="3" y="99"/>
                  </a:cubicBezTo>
                  <a:cubicBezTo>
                    <a:pt x="8" y="43"/>
                    <a:pt x="57" y="0"/>
                    <a:pt x="118" y="0"/>
                  </a:cubicBezTo>
                  <a:cubicBezTo>
                    <a:pt x="164" y="0"/>
                    <a:pt x="203" y="28"/>
                    <a:pt x="218" y="70"/>
                  </a:cubicBezTo>
                  <a:cubicBezTo>
                    <a:pt x="229" y="104"/>
                    <a:pt x="225" y="154"/>
                    <a:pt x="176" y="191"/>
                  </a:cubicBezTo>
                  <a:cubicBezTo>
                    <a:pt x="159" y="205"/>
                    <a:pt x="138" y="212"/>
                    <a:pt x="115"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sp>
        <p:nvSpPr>
          <p:cNvPr id="120" name="Rectangle 45">
            <a:extLst>
              <a:ext uri="{FF2B5EF4-FFF2-40B4-BE49-F238E27FC236}">
                <a16:creationId xmlns:a16="http://schemas.microsoft.com/office/drawing/2014/main" id="{C5C74213-ADD3-4968-B2B3-261D8337970D}"/>
              </a:ext>
            </a:extLst>
          </p:cNvPr>
          <p:cNvSpPr>
            <a:spLocks noChangeArrowheads="1"/>
          </p:cNvSpPr>
          <p:nvPr/>
        </p:nvSpPr>
        <p:spPr bwMode="gray">
          <a:xfrm>
            <a:off x="144202" y="1282088"/>
            <a:ext cx="2778243"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21" name="Google Shape;412;p18">
            <a:extLst>
              <a:ext uri="{FF2B5EF4-FFF2-40B4-BE49-F238E27FC236}">
                <a16:creationId xmlns:a16="http://schemas.microsoft.com/office/drawing/2014/main" id="{00DCC75E-33D5-4622-A3BA-80525129BD17}"/>
              </a:ext>
            </a:extLst>
          </p:cNvPr>
          <p:cNvSpPr txBox="1">
            <a:spLocks/>
          </p:cNvSpPr>
          <p:nvPr/>
        </p:nvSpPr>
        <p:spPr>
          <a:xfrm>
            <a:off x="533912" y="1374646"/>
            <a:ext cx="2269269"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Random Forest</a:t>
            </a:r>
            <a:endParaRPr lang="en-US" dirty="0">
              <a:solidFill>
                <a:schemeClr val="bg1"/>
              </a:solidFill>
            </a:endParaRPr>
          </a:p>
        </p:txBody>
      </p:sp>
      <p:sp>
        <p:nvSpPr>
          <p:cNvPr id="122" name="Rectangle 121">
            <a:extLst>
              <a:ext uri="{FF2B5EF4-FFF2-40B4-BE49-F238E27FC236}">
                <a16:creationId xmlns:a16="http://schemas.microsoft.com/office/drawing/2014/main" id="{3BA537CB-D736-4DA2-B9ED-B82626858888}"/>
              </a:ext>
            </a:extLst>
          </p:cNvPr>
          <p:cNvSpPr/>
          <p:nvPr/>
        </p:nvSpPr>
        <p:spPr>
          <a:xfrm>
            <a:off x="6247532" y="3564132"/>
            <a:ext cx="2778243" cy="787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Thấp hơn nhờ cơ thế học thông minh</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123" name="Rectangle 122">
            <a:extLst>
              <a:ext uri="{FF2B5EF4-FFF2-40B4-BE49-F238E27FC236}">
                <a16:creationId xmlns:a16="http://schemas.microsoft.com/office/drawing/2014/main" id="{BCB4B948-4FF0-4079-A246-8EF73570CDA6}"/>
              </a:ext>
            </a:extLst>
          </p:cNvPr>
          <p:cNvSpPr/>
          <p:nvPr/>
        </p:nvSpPr>
        <p:spPr>
          <a:xfrm>
            <a:off x="6247532" y="1927559"/>
            <a:ext cx="2778243" cy="787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Dựa trên support vector, bỏ qua nhiễu</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124" name="Rectangle 123">
            <a:extLst>
              <a:ext uri="{FF2B5EF4-FFF2-40B4-BE49-F238E27FC236}">
                <a16:creationId xmlns:a16="http://schemas.microsoft.com/office/drawing/2014/main" id="{93E5EBDF-BDB0-49FF-A42F-F15BE73ECF26}"/>
              </a:ext>
            </a:extLst>
          </p:cNvPr>
          <p:cNvSpPr/>
          <p:nvPr/>
        </p:nvSpPr>
        <p:spPr>
          <a:xfrm>
            <a:off x="6247532" y="2745561"/>
            <a:ext cx="2778243" cy="787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0" rtlCol="0" anchor="ctr">
            <a:normAutofit/>
          </a:bodyPr>
          <a:lstStyle/>
          <a:p>
            <a:pPr marL="214313" indent="-214313" defTabSz="685800">
              <a:buClrTx/>
              <a:buFont typeface="Arial" panose="020B0604020202020204" pitchFamily="34" charset="0"/>
              <a:buChar char="•"/>
              <a:defRPr/>
            </a:pPr>
            <a:r>
              <a:rPr lang="en-US" b="1">
                <a:latin typeface="Tahoma" panose="020B0604030504040204" pitchFamily="34" charset="0"/>
                <a:ea typeface="Tahoma" panose="020B0604030504040204" pitchFamily="34" charset="0"/>
                <a:cs typeface="Tahoma" panose="020B0604030504040204" pitchFamily="34" charset="0"/>
              </a:rPr>
              <a:t>Tích hợp sẵn thông qua biên lớn nhất</a:t>
            </a:r>
            <a:endParaRPr lang="en-US" b="1" dirty="0">
              <a:latin typeface="Tahoma" panose="020B0604030504040204" pitchFamily="34" charset="0"/>
              <a:ea typeface="Tahoma" panose="020B0604030504040204" pitchFamily="34" charset="0"/>
              <a:cs typeface="Tahoma" panose="020B0604030504040204" pitchFamily="34" charset="0"/>
            </a:endParaRPr>
          </a:p>
        </p:txBody>
      </p:sp>
      <p:sp>
        <p:nvSpPr>
          <p:cNvPr id="125" name="Rectangle 124">
            <a:extLst>
              <a:ext uri="{FF2B5EF4-FFF2-40B4-BE49-F238E27FC236}">
                <a16:creationId xmlns:a16="http://schemas.microsoft.com/office/drawing/2014/main" id="{DDCFC8AA-3B87-4EF5-81E9-93A6C41FFFA4}"/>
              </a:ext>
            </a:extLst>
          </p:cNvPr>
          <p:cNvSpPr/>
          <p:nvPr/>
        </p:nvSpPr>
        <p:spPr>
          <a:xfrm>
            <a:off x="8539775" y="1927559"/>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126" name="Rectangle 125">
            <a:extLst>
              <a:ext uri="{FF2B5EF4-FFF2-40B4-BE49-F238E27FC236}">
                <a16:creationId xmlns:a16="http://schemas.microsoft.com/office/drawing/2014/main" id="{E00B2A63-4CB5-42EF-A533-AD0D993FBF2C}"/>
              </a:ext>
            </a:extLst>
          </p:cNvPr>
          <p:cNvSpPr/>
          <p:nvPr/>
        </p:nvSpPr>
        <p:spPr>
          <a:xfrm>
            <a:off x="8539775" y="2745561"/>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127" name="Rectangle 126">
            <a:extLst>
              <a:ext uri="{FF2B5EF4-FFF2-40B4-BE49-F238E27FC236}">
                <a16:creationId xmlns:a16="http://schemas.microsoft.com/office/drawing/2014/main" id="{2303B284-4D76-4189-8CB6-F51DE3E787DE}"/>
              </a:ext>
            </a:extLst>
          </p:cNvPr>
          <p:cNvSpPr/>
          <p:nvPr/>
        </p:nvSpPr>
        <p:spPr>
          <a:xfrm>
            <a:off x="8539775" y="3564132"/>
            <a:ext cx="486000" cy="787320"/>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128" name="Freeform 33">
            <a:extLst>
              <a:ext uri="{FF2B5EF4-FFF2-40B4-BE49-F238E27FC236}">
                <a16:creationId xmlns:a16="http://schemas.microsoft.com/office/drawing/2014/main" id="{0EB46DEC-3751-4AC3-B183-83AB32436692}"/>
              </a:ext>
            </a:extLst>
          </p:cNvPr>
          <p:cNvSpPr/>
          <p:nvPr/>
        </p:nvSpPr>
        <p:spPr>
          <a:xfrm flipV="1">
            <a:off x="5467845" y="3564130"/>
            <a:ext cx="768821" cy="78536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129" name="Freeform 38">
            <a:extLst>
              <a:ext uri="{FF2B5EF4-FFF2-40B4-BE49-F238E27FC236}">
                <a16:creationId xmlns:a16="http://schemas.microsoft.com/office/drawing/2014/main" id="{8061714F-003C-424B-87B9-5F0CE106C826}"/>
              </a:ext>
            </a:extLst>
          </p:cNvPr>
          <p:cNvSpPr/>
          <p:nvPr/>
        </p:nvSpPr>
        <p:spPr>
          <a:xfrm>
            <a:off x="5467844" y="1927260"/>
            <a:ext cx="768821" cy="1239313"/>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sp>
        <p:nvSpPr>
          <p:cNvPr id="130" name="Freeform 39">
            <a:extLst>
              <a:ext uri="{FF2B5EF4-FFF2-40B4-BE49-F238E27FC236}">
                <a16:creationId xmlns:a16="http://schemas.microsoft.com/office/drawing/2014/main" id="{3D587761-1DD4-49C8-93B8-B36D3E391659}"/>
              </a:ext>
            </a:extLst>
          </p:cNvPr>
          <p:cNvSpPr/>
          <p:nvPr/>
        </p:nvSpPr>
        <p:spPr>
          <a:xfrm>
            <a:off x="5467846" y="2745561"/>
            <a:ext cx="768821" cy="787320"/>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a:buClrTx/>
              <a:defRPr/>
            </a:pPr>
            <a:endParaRPr lang="en-US" sz="1200" dirty="0">
              <a:solidFill>
                <a:srgbClr val="FFFFFF"/>
              </a:solidFill>
            </a:endParaRPr>
          </a:p>
        </p:txBody>
      </p:sp>
      <p:grpSp>
        <p:nvGrpSpPr>
          <p:cNvPr id="131" name="Operations2" descr="{&quot;Key&quot;:&quot;POWER_USER_SHAPE_ICON&quot;,&quot;Value&quot;:&quot;POWER_USER_SHAPE_ICON_STYLE_1&quot;}">
            <a:extLst>
              <a:ext uri="{FF2B5EF4-FFF2-40B4-BE49-F238E27FC236}">
                <a16:creationId xmlns:a16="http://schemas.microsoft.com/office/drawing/2014/main" id="{2FC2DB3F-35C1-4312-B34E-B7B15826750B}"/>
              </a:ext>
            </a:extLst>
          </p:cNvPr>
          <p:cNvGrpSpPr>
            <a:grpSpLocks noChangeAspect="1"/>
          </p:cNvGrpSpPr>
          <p:nvPr/>
        </p:nvGrpSpPr>
        <p:grpSpPr>
          <a:xfrm>
            <a:off x="8640226" y="3773391"/>
            <a:ext cx="344217" cy="407194"/>
            <a:chOff x="2054979" y="3725862"/>
            <a:chExt cx="531423" cy="628650"/>
          </a:xfrm>
          <a:solidFill>
            <a:schemeClr val="lt1"/>
          </a:solidFill>
        </p:grpSpPr>
        <p:grpSp>
          <p:nvGrpSpPr>
            <p:cNvPr id="132" name="Group 131">
              <a:extLst>
                <a:ext uri="{FF2B5EF4-FFF2-40B4-BE49-F238E27FC236}">
                  <a16:creationId xmlns:a16="http://schemas.microsoft.com/office/drawing/2014/main" id="{95346D2B-4A30-4FC8-9F78-20610ECEAC6D}"/>
                </a:ext>
              </a:extLst>
            </p:cNvPr>
            <p:cNvGrpSpPr/>
            <p:nvPr/>
          </p:nvGrpSpPr>
          <p:grpSpPr>
            <a:xfrm>
              <a:off x="2054979" y="3725862"/>
              <a:ext cx="473075" cy="628650"/>
              <a:chOff x="1289051" y="2987675"/>
              <a:chExt cx="473075" cy="628650"/>
            </a:xfrm>
            <a:grpFill/>
          </p:grpSpPr>
          <p:sp>
            <p:nvSpPr>
              <p:cNvPr id="134" name="Freeform 1059">
                <a:extLst>
                  <a:ext uri="{FF2B5EF4-FFF2-40B4-BE49-F238E27FC236}">
                    <a16:creationId xmlns:a16="http://schemas.microsoft.com/office/drawing/2014/main" id="{4ED7C6AB-2A73-4723-92C0-DE6D92B14BA8}"/>
                  </a:ext>
                </a:extLst>
              </p:cNvPr>
              <p:cNvSpPr>
                <a:spLocks/>
              </p:cNvSpPr>
              <p:nvPr/>
            </p:nvSpPr>
            <p:spPr bwMode="auto">
              <a:xfrm>
                <a:off x="1289051" y="3013075"/>
                <a:ext cx="192088" cy="363538"/>
              </a:xfrm>
              <a:custGeom>
                <a:avLst/>
                <a:gdLst>
                  <a:gd name="T0" fmla="*/ 259 w 259"/>
                  <a:gd name="T1" fmla="*/ 100 h 487"/>
                  <a:gd name="T2" fmla="*/ 234 w 259"/>
                  <a:gd name="T3" fmla="*/ 18 h 487"/>
                  <a:gd name="T4" fmla="*/ 180 w 259"/>
                  <a:gd name="T5" fmla="*/ 2 h 487"/>
                  <a:gd name="T6" fmla="*/ 176 w 259"/>
                  <a:gd name="T7" fmla="*/ 2 h 487"/>
                  <a:gd name="T8" fmla="*/ 167 w 259"/>
                  <a:gd name="T9" fmla="*/ 2 h 487"/>
                  <a:gd name="T10" fmla="*/ 167 w 259"/>
                  <a:gd name="T11" fmla="*/ 282 h 487"/>
                  <a:gd name="T12" fmla="*/ 0 w 259"/>
                  <a:gd name="T13" fmla="*/ 476 h 487"/>
                  <a:gd name="T14" fmla="*/ 12 w 259"/>
                  <a:gd name="T15" fmla="*/ 487 h 487"/>
                  <a:gd name="T16" fmla="*/ 184 w 259"/>
                  <a:gd name="T17" fmla="*/ 288 h 487"/>
                  <a:gd name="T18" fmla="*/ 184 w 259"/>
                  <a:gd name="T19" fmla="*/ 19 h 487"/>
                  <a:gd name="T20" fmla="*/ 222 w 259"/>
                  <a:gd name="T21" fmla="*/ 30 h 487"/>
                  <a:gd name="T22" fmla="*/ 242 w 259"/>
                  <a:gd name="T23" fmla="*/ 100 h 487"/>
                  <a:gd name="T24" fmla="*/ 242 w 259"/>
                  <a:gd name="T25" fmla="*/ 159 h 487"/>
                  <a:gd name="T26" fmla="*/ 259 w 259"/>
                  <a:gd name="T27" fmla="*/ 126 h 487"/>
                  <a:gd name="T28" fmla="*/ 259 w 259"/>
                  <a:gd name="T29" fmla="*/ 10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9" h="487">
                    <a:moveTo>
                      <a:pt x="259" y="100"/>
                    </a:moveTo>
                    <a:cubicBezTo>
                      <a:pt x="259" y="61"/>
                      <a:pt x="250" y="33"/>
                      <a:pt x="234" y="18"/>
                    </a:cubicBezTo>
                    <a:cubicBezTo>
                      <a:pt x="215" y="0"/>
                      <a:pt x="191" y="2"/>
                      <a:pt x="180" y="2"/>
                    </a:cubicBezTo>
                    <a:cubicBezTo>
                      <a:pt x="178" y="2"/>
                      <a:pt x="177" y="2"/>
                      <a:pt x="176" y="2"/>
                    </a:cubicBezTo>
                    <a:lnTo>
                      <a:pt x="167" y="2"/>
                    </a:lnTo>
                    <a:lnTo>
                      <a:pt x="167" y="282"/>
                    </a:lnTo>
                    <a:lnTo>
                      <a:pt x="0" y="476"/>
                    </a:lnTo>
                    <a:lnTo>
                      <a:pt x="12" y="487"/>
                    </a:lnTo>
                    <a:lnTo>
                      <a:pt x="184" y="288"/>
                    </a:lnTo>
                    <a:lnTo>
                      <a:pt x="184" y="19"/>
                    </a:lnTo>
                    <a:cubicBezTo>
                      <a:pt x="194" y="18"/>
                      <a:pt x="210" y="18"/>
                      <a:pt x="222" y="30"/>
                    </a:cubicBezTo>
                    <a:cubicBezTo>
                      <a:pt x="235" y="42"/>
                      <a:pt x="242" y="66"/>
                      <a:pt x="242" y="100"/>
                    </a:cubicBezTo>
                    <a:lnTo>
                      <a:pt x="242" y="159"/>
                    </a:lnTo>
                    <a:lnTo>
                      <a:pt x="259" y="126"/>
                    </a:lnTo>
                    <a:lnTo>
                      <a:pt x="25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35" name="Freeform 1060">
                <a:extLst>
                  <a:ext uri="{FF2B5EF4-FFF2-40B4-BE49-F238E27FC236}">
                    <a16:creationId xmlns:a16="http://schemas.microsoft.com/office/drawing/2014/main" id="{7E0A3551-FD39-430E-8C9C-E60CC6858E25}"/>
                  </a:ext>
                </a:extLst>
              </p:cNvPr>
              <p:cNvSpPr>
                <a:spLocks/>
              </p:cNvSpPr>
              <p:nvPr/>
            </p:nvSpPr>
            <p:spPr bwMode="auto">
              <a:xfrm>
                <a:off x="1289051" y="2987675"/>
                <a:ext cx="473075" cy="628650"/>
              </a:xfrm>
              <a:custGeom>
                <a:avLst/>
                <a:gdLst>
                  <a:gd name="T0" fmla="*/ 532 w 637"/>
                  <a:gd name="T1" fmla="*/ 636 h 846"/>
                  <a:gd name="T2" fmla="*/ 420 w 637"/>
                  <a:gd name="T3" fmla="*/ 637 h 846"/>
                  <a:gd name="T4" fmla="*/ 351 w 637"/>
                  <a:gd name="T5" fmla="*/ 571 h 846"/>
                  <a:gd name="T6" fmla="*/ 374 w 637"/>
                  <a:gd name="T7" fmla="*/ 425 h 846"/>
                  <a:gd name="T8" fmla="*/ 454 w 637"/>
                  <a:gd name="T9" fmla="*/ 321 h 846"/>
                  <a:gd name="T10" fmla="*/ 533 w 637"/>
                  <a:gd name="T11" fmla="*/ 321 h 846"/>
                  <a:gd name="T12" fmla="*/ 617 w 637"/>
                  <a:gd name="T13" fmla="*/ 294 h 846"/>
                  <a:gd name="T14" fmla="*/ 634 w 637"/>
                  <a:gd name="T15" fmla="*/ 233 h 846"/>
                  <a:gd name="T16" fmla="*/ 634 w 637"/>
                  <a:gd name="T17" fmla="*/ 228 h 846"/>
                  <a:gd name="T18" fmla="*/ 634 w 637"/>
                  <a:gd name="T19" fmla="*/ 220 h 846"/>
                  <a:gd name="T20" fmla="*/ 437 w 637"/>
                  <a:gd name="T21" fmla="*/ 220 h 846"/>
                  <a:gd name="T22" fmla="*/ 476 w 637"/>
                  <a:gd name="T23" fmla="*/ 169 h 846"/>
                  <a:gd name="T24" fmla="*/ 505 w 637"/>
                  <a:gd name="T25" fmla="*/ 85 h 846"/>
                  <a:gd name="T26" fmla="*/ 466 w 637"/>
                  <a:gd name="T27" fmla="*/ 31 h 846"/>
                  <a:gd name="T28" fmla="*/ 462 w 637"/>
                  <a:gd name="T29" fmla="*/ 29 h 846"/>
                  <a:gd name="T30" fmla="*/ 456 w 637"/>
                  <a:gd name="T31" fmla="*/ 24 h 846"/>
                  <a:gd name="T32" fmla="*/ 429 w 637"/>
                  <a:gd name="T33" fmla="*/ 60 h 846"/>
                  <a:gd name="T34" fmla="*/ 375 w 637"/>
                  <a:gd name="T35" fmla="*/ 5 h 846"/>
                  <a:gd name="T36" fmla="*/ 370 w 637"/>
                  <a:gd name="T37" fmla="*/ 3 h 846"/>
                  <a:gd name="T38" fmla="*/ 363 w 637"/>
                  <a:gd name="T39" fmla="*/ 0 h 846"/>
                  <a:gd name="T40" fmla="*/ 264 w 637"/>
                  <a:gd name="T41" fmla="*/ 185 h 846"/>
                  <a:gd name="T42" fmla="*/ 259 w 637"/>
                  <a:gd name="T43" fmla="*/ 231 h 846"/>
                  <a:gd name="T44" fmla="*/ 370 w 637"/>
                  <a:gd name="T45" fmla="*/ 22 h 846"/>
                  <a:gd name="T46" fmla="*/ 414 w 637"/>
                  <a:gd name="T47" fmla="*/ 81 h 846"/>
                  <a:gd name="T48" fmla="*/ 412 w 637"/>
                  <a:gd name="T49" fmla="*/ 109 h 846"/>
                  <a:gd name="T50" fmla="*/ 459 w 637"/>
                  <a:gd name="T51" fmla="*/ 47 h 846"/>
                  <a:gd name="T52" fmla="*/ 489 w 637"/>
                  <a:gd name="T53" fmla="*/ 88 h 846"/>
                  <a:gd name="T54" fmla="*/ 463 w 637"/>
                  <a:gd name="T55" fmla="*/ 159 h 846"/>
                  <a:gd name="T56" fmla="*/ 403 w 637"/>
                  <a:gd name="T57" fmla="*/ 237 h 846"/>
                  <a:gd name="T58" fmla="*/ 617 w 637"/>
                  <a:gd name="T59" fmla="*/ 237 h 846"/>
                  <a:gd name="T60" fmla="*/ 605 w 637"/>
                  <a:gd name="T61" fmla="*/ 283 h 846"/>
                  <a:gd name="T62" fmla="*/ 533 w 637"/>
                  <a:gd name="T63" fmla="*/ 304 h 846"/>
                  <a:gd name="T64" fmla="*/ 445 w 637"/>
                  <a:gd name="T65" fmla="*/ 304 h 846"/>
                  <a:gd name="T66" fmla="*/ 358 w 637"/>
                  <a:gd name="T67" fmla="*/ 419 h 846"/>
                  <a:gd name="T68" fmla="*/ 333 w 637"/>
                  <a:gd name="T69" fmla="*/ 577 h 846"/>
                  <a:gd name="T70" fmla="*/ 413 w 637"/>
                  <a:gd name="T71" fmla="*/ 653 h 846"/>
                  <a:gd name="T72" fmla="*/ 532 w 637"/>
                  <a:gd name="T73" fmla="*/ 653 h 846"/>
                  <a:gd name="T74" fmla="*/ 604 w 637"/>
                  <a:gd name="T75" fmla="*/ 675 h 846"/>
                  <a:gd name="T76" fmla="*/ 616 w 637"/>
                  <a:gd name="T77" fmla="*/ 720 h 846"/>
                  <a:gd name="T78" fmla="*/ 133 w 637"/>
                  <a:gd name="T79" fmla="*/ 720 h 846"/>
                  <a:gd name="T80" fmla="*/ 0 w 637"/>
                  <a:gd name="T81" fmla="*/ 833 h 846"/>
                  <a:gd name="T82" fmla="*/ 10 w 637"/>
                  <a:gd name="T83" fmla="*/ 846 h 846"/>
                  <a:gd name="T84" fmla="*/ 139 w 637"/>
                  <a:gd name="T85" fmla="*/ 737 h 846"/>
                  <a:gd name="T86" fmla="*/ 633 w 637"/>
                  <a:gd name="T87" fmla="*/ 737 h 846"/>
                  <a:gd name="T88" fmla="*/ 633 w 637"/>
                  <a:gd name="T89" fmla="*/ 728 h 846"/>
                  <a:gd name="T90" fmla="*/ 633 w 637"/>
                  <a:gd name="T91" fmla="*/ 724 h 846"/>
                  <a:gd name="T92" fmla="*/ 616 w 637"/>
                  <a:gd name="T93" fmla="*/ 663 h 846"/>
                  <a:gd name="T94" fmla="*/ 532 w 637"/>
                  <a:gd name="T95" fmla="*/ 63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7" h="846">
                    <a:moveTo>
                      <a:pt x="532" y="636"/>
                    </a:moveTo>
                    <a:lnTo>
                      <a:pt x="420" y="637"/>
                    </a:lnTo>
                    <a:lnTo>
                      <a:pt x="351" y="571"/>
                    </a:lnTo>
                    <a:lnTo>
                      <a:pt x="374" y="425"/>
                    </a:lnTo>
                    <a:lnTo>
                      <a:pt x="454" y="321"/>
                    </a:lnTo>
                    <a:lnTo>
                      <a:pt x="533" y="321"/>
                    </a:lnTo>
                    <a:cubicBezTo>
                      <a:pt x="572" y="321"/>
                      <a:pt x="600" y="312"/>
                      <a:pt x="617" y="294"/>
                    </a:cubicBezTo>
                    <a:cubicBezTo>
                      <a:pt x="637" y="273"/>
                      <a:pt x="635" y="246"/>
                      <a:pt x="634" y="233"/>
                    </a:cubicBezTo>
                    <a:cubicBezTo>
                      <a:pt x="634" y="231"/>
                      <a:pt x="634" y="230"/>
                      <a:pt x="634" y="228"/>
                    </a:cubicBezTo>
                    <a:lnTo>
                      <a:pt x="634" y="220"/>
                    </a:lnTo>
                    <a:lnTo>
                      <a:pt x="437" y="220"/>
                    </a:lnTo>
                    <a:lnTo>
                      <a:pt x="476" y="169"/>
                    </a:lnTo>
                    <a:cubicBezTo>
                      <a:pt x="500" y="138"/>
                      <a:pt x="509" y="110"/>
                      <a:pt x="505" y="85"/>
                    </a:cubicBezTo>
                    <a:cubicBezTo>
                      <a:pt x="500" y="55"/>
                      <a:pt x="476" y="38"/>
                      <a:pt x="466" y="31"/>
                    </a:cubicBezTo>
                    <a:cubicBezTo>
                      <a:pt x="464" y="30"/>
                      <a:pt x="463" y="29"/>
                      <a:pt x="462" y="29"/>
                    </a:cubicBezTo>
                    <a:lnTo>
                      <a:pt x="456" y="24"/>
                    </a:lnTo>
                    <a:lnTo>
                      <a:pt x="429" y="60"/>
                    </a:lnTo>
                    <a:cubicBezTo>
                      <a:pt x="420" y="25"/>
                      <a:pt x="388" y="11"/>
                      <a:pt x="375" y="5"/>
                    </a:cubicBezTo>
                    <a:cubicBezTo>
                      <a:pt x="373" y="5"/>
                      <a:pt x="371" y="4"/>
                      <a:pt x="370" y="3"/>
                    </a:cubicBezTo>
                    <a:lnTo>
                      <a:pt x="363" y="0"/>
                    </a:lnTo>
                    <a:lnTo>
                      <a:pt x="264" y="185"/>
                    </a:lnTo>
                    <a:lnTo>
                      <a:pt x="259" y="231"/>
                    </a:lnTo>
                    <a:lnTo>
                      <a:pt x="370" y="22"/>
                    </a:lnTo>
                    <a:cubicBezTo>
                      <a:pt x="387" y="29"/>
                      <a:pt x="416" y="43"/>
                      <a:pt x="414" y="81"/>
                    </a:cubicBezTo>
                    <a:lnTo>
                      <a:pt x="412" y="109"/>
                    </a:lnTo>
                    <a:lnTo>
                      <a:pt x="459" y="47"/>
                    </a:lnTo>
                    <a:cubicBezTo>
                      <a:pt x="469" y="54"/>
                      <a:pt x="486" y="67"/>
                      <a:pt x="489" y="88"/>
                    </a:cubicBezTo>
                    <a:cubicBezTo>
                      <a:pt x="492" y="108"/>
                      <a:pt x="483" y="132"/>
                      <a:pt x="463" y="159"/>
                    </a:cubicBezTo>
                    <a:lnTo>
                      <a:pt x="403" y="237"/>
                    </a:lnTo>
                    <a:lnTo>
                      <a:pt x="617" y="237"/>
                    </a:lnTo>
                    <a:cubicBezTo>
                      <a:pt x="618" y="249"/>
                      <a:pt x="618" y="268"/>
                      <a:pt x="605" y="283"/>
                    </a:cubicBezTo>
                    <a:cubicBezTo>
                      <a:pt x="591" y="297"/>
                      <a:pt x="567" y="304"/>
                      <a:pt x="533" y="304"/>
                    </a:cubicBezTo>
                    <a:lnTo>
                      <a:pt x="445" y="304"/>
                    </a:lnTo>
                    <a:lnTo>
                      <a:pt x="358" y="419"/>
                    </a:lnTo>
                    <a:lnTo>
                      <a:pt x="333" y="577"/>
                    </a:lnTo>
                    <a:lnTo>
                      <a:pt x="413" y="653"/>
                    </a:lnTo>
                    <a:lnTo>
                      <a:pt x="532" y="653"/>
                    </a:lnTo>
                    <a:cubicBezTo>
                      <a:pt x="567" y="653"/>
                      <a:pt x="591" y="660"/>
                      <a:pt x="604" y="675"/>
                    </a:cubicBezTo>
                    <a:cubicBezTo>
                      <a:pt x="618" y="689"/>
                      <a:pt x="617" y="708"/>
                      <a:pt x="616" y="720"/>
                    </a:cubicBezTo>
                    <a:lnTo>
                      <a:pt x="133" y="720"/>
                    </a:lnTo>
                    <a:lnTo>
                      <a:pt x="0" y="833"/>
                    </a:lnTo>
                    <a:lnTo>
                      <a:pt x="10" y="846"/>
                    </a:lnTo>
                    <a:lnTo>
                      <a:pt x="139" y="737"/>
                    </a:lnTo>
                    <a:lnTo>
                      <a:pt x="633" y="737"/>
                    </a:lnTo>
                    <a:lnTo>
                      <a:pt x="633" y="728"/>
                    </a:lnTo>
                    <a:cubicBezTo>
                      <a:pt x="633" y="727"/>
                      <a:pt x="633" y="726"/>
                      <a:pt x="633" y="724"/>
                    </a:cubicBezTo>
                    <a:cubicBezTo>
                      <a:pt x="634" y="711"/>
                      <a:pt x="636" y="684"/>
                      <a:pt x="616" y="663"/>
                    </a:cubicBezTo>
                    <a:cubicBezTo>
                      <a:pt x="600" y="645"/>
                      <a:pt x="571" y="636"/>
                      <a:pt x="532" y="6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36" name="Freeform 1061">
                <a:extLst>
                  <a:ext uri="{FF2B5EF4-FFF2-40B4-BE49-F238E27FC236}">
                    <a16:creationId xmlns:a16="http://schemas.microsoft.com/office/drawing/2014/main" id="{95FDD370-99B0-49C2-8E2B-10E9E1B73AC2}"/>
                  </a:ext>
                </a:extLst>
              </p:cNvPr>
              <p:cNvSpPr>
                <a:spLocks/>
              </p:cNvSpPr>
              <p:nvPr/>
            </p:nvSpPr>
            <p:spPr bwMode="auto">
              <a:xfrm>
                <a:off x="1460501" y="3106737"/>
                <a:ext cx="46038" cy="73025"/>
              </a:xfrm>
              <a:custGeom>
                <a:avLst/>
                <a:gdLst>
                  <a:gd name="T0" fmla="*/ 7 w 29"/>
                  <a:gd name="T1" fmla="*/ 46 h 46"/>
                  <a:gd name="T2" fmla="*/ 0 w 29"/>
                  <a:gd name="T3" fmla="*/ 43 h 46"/>
                  <a:gd name="T4" fmla="*/ 22 w 29"/>
                  <a:gd name="T5" fmla="*/ 0 h 46"/>
                  <a:gd name="T6" fmla="*/ 29 w 29"/>
                  <a:gd name="T7" fmla="*/ 4 h 46"/>
                  <a:gd name="T8" fmla="*/ 7 w 29"/>
                  <a:gd name="T9" fmla="*/ 46 h 46"/>
                </a:gdLst>
                <a:ahLst/>
                <a:cxnLst>
                  <a:cxn ang="0">
                    <a:pos x="T0" y="T1"/>
                  </a:cxn>
                  <a:cxn ang="0">
                    <a:pos x="T2" y="T3"/>
                  </a:cxn>
                  <a:cxn ang="0">
                    <a:pos x="T4" y="T5"/>
                  </a:cxn>
                  <a:cxn ang="0">
                    <a:pos x="T6" y="T7"/>
                  </a:cxn>
                  <a:cxn ang="0">
                    <a:pos x="T8" y="T9"/>
                  </a:cxn>
                </a:cxnLst>
                <a:rect l="0" t="0" r="r" b="b"/>
                <a:pathLst>
                  <a:path w="29" h="46">
                    <a:moveTo>
                      <a:pt x="7" y="46"/>
                    </a:moveTo>
                    <a:lnTo>
                      <a:pt x="0" y="43"/>
                    </a:lnTo>
                    <a:lnTo>
                      <a:pt x="22" y="0"/>
                    </a:lnTo>
                    <a:lnTo>
                      <a:pt x="29" y="4"/>
                    </a:lnTo>
                    <a:lnTo>
                      <a:pt x="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37" name="Freeform 1062">
                <a:extLst>
                  <a:ext uri="{FF2B5EF4-FFF2-40B4-BE49-F238E27FC236}">
                    <a16:creationId xmlns:a16="http://schemas.microsoft.com/office/drawing/2014/main" id="{271D6AB5-AE9F-4C30-BFBA-2E0ACB3E0E1F}"/>
                  </a:ext>
                </a:extLst>
              </p:cNvPr>
              <p:cNvSpPr>
                <a:spLocks/>
              </p:cNvSpPr>
              <p:nvPr/>
            </p:nvSpPr>
            <p:spPr bwMode="auto">
              <a:xfrm>
                <a:off x="1482726" y="3151187"/>
                <a:ext cx="130175" cy="115888"/>
              </a:xfrm>
              <a:custGeom>
                <a:avLst/>
                <a:gdLst>
                  <a:gd name="T0" fmla="*/ 5 w 82"/>
                  <a:gd name="T1" fmla="*/ 73 h 73"/>
                  <a:gd name="T2" fmla="*/ 0 w 82"/>
                  <a:gd name="T3" fmla="*/ 67 h 73"/>
                  <a:gd name="T4" fmla="*/ 59 w 82"/>
                  <a:gd name="T5" fmla="*/ 0 h 73"/>
                  <a:gd name="T6" fmla="*/ 82 w 82"/>
                  <a:gd name="T7" fmla="*/ 0 h 73"/>
                  <a:gd name="T8" fmla="*/ 82 w 82"/>
                  <a:gd name="T9" fmla="*/ 8 h 73"/>
                  <a:gd name="T10" fmla="*/ 63 w 82"/>
                  <a:gd name="T11" fmla="*/ 8 h 73"/>
                  <a:gd name="T12" fmla="*/ 5 w 8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82" h="73">
                    <a:moveTo>
                      <a:pt x="5" y="73"/>
                    </a:moveTo>
                    <a:lnTo>
                      <a:pt x="0" y="67"/>
                    </a:lnTo>
                    <a:lnTo>
                      <a:pt x="59" y="0"/>
                    </a:lnTo>
                    <a:lnTo>
                      <a:pt x="82" y="0"/>
                    </a:lnTo>
                    <a:lnTo>
                      <a:pt x="82" y="8"/>
                    </a:lnTo>
                    <a:lnTo>
                      <a:pt x="63" y="8"/>
                    </a:lnTo>
                    <a:lnTo>
                      <a:pt x="5"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38" name="Freeform 1063">
                <a:extLst>
                  <a:ext uri="{FF2B5EF4-FFF2-40B4-BE49-F238E27FC236}">
                    <a16:creationId xmlns:a16="http://schemas.microsoft.com/office/drawing/2014/main" id="{933DC38E-951F-4BFC-AD6C-E485B1CA0474}"/>
                  </a:ext>
                </a:extLst>
              </p:cNvPr>
              <p:cNvSpPr>
                <a:spLocks/>
              </p:cNvSpPr>
              <p:nvPr/>
            </p:nvSpPr>
            <p:spPr bwMode="auto">
              <a:xfrm>
                <a:off x="1474789" y="3041650"/>
                <a:ext cx="134938" cy="171450"/>
              </a:xfrm>
              <a:custGeom>
                <a:avLst/>
                <a:gdLst>
                  <a:gd name="T0" fmla="*/ 6 w 85"/>
                  <a:gd name="T1" fmla="*/ 108 h 108"/>
                  <a:gd name="T2" fmla="*/ 0 w 85"/>
                  <a:gd name="T3" fmla="*/ 103 h 108"/>
                  <a:gd name="T4" fmla="*/ 79 w 85"/>
                  <a:gd name="T5" fmla="*/ 0 h 108"/>
                  <a:gd name="T6" fmla="*/ 85 w 85"/>
                  <a:gd name="T7" fmla="*/ 5 h 108"/>
                  <a:gd name="T8" fmla="*/ 6 w 85"/>
                  <a:gd name="T9" fmla="*/ 108 h 108"/>
                </a:gdLst>
                <a:ahLst/>
                <a:cxnLst>
                  <a:cxn ang="0">
                    <a:pos x="T0" y="T1"/>
                  </a:cxn>
                  <a:cxn ang="0">
                    <a:pos x="T2" y="T3"/>
                  </a:cxn>
                  <a:cxn ang="0">
                    <a:pos x="T4" y="T5"/>
                  </a:cxn>
                  <a:cxn ang="0">
                    <a:pos x="T6" y="T7"/>
                  </a:cxn>
                  <a:cxn ang="0">
                    <a:pos x="T8" y="T9"/>
                  </a:cxn>
                </a:cxnLst>
                <a:rect l="0" t="0" r="r" b="b"/>
                <a:pathLst>
                  <a:path w="85" h="108">
                    <a:moveTo>
                      <a:pt x="6" y="108"/>
                    </a:moveTo>
                    <a:lnTo>
                      <a:pt x="0" y="103"/>
                    </a:lnTo>
                    <a:lnTo>
                      <a:pt x="79" y="0"/>
                    </a:lnTo>
                    <a:lnTo>
                      <a:pt x="85" y="5"/>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sp>
          <p:nvSpPr>
            <p:cNvPr id="133" name="Gear9" descr="{&quot;Key&quot;:&quot;POWER_USER_SHAPE_ICON&quot;,&quot;Value&quot;:&quot;POWER_USER_SHAPE_ICON_STYLE_1&quot;}">
              <a:extLst>
                <a:ext uri="{FF2B5EF4-FFF2-40B4-BE49-F238E27FC236}">
                  <a16:creationId xmlns:a16="http://schemas.microsoft.com/office/drawing/2014/main" id="{0743EB7E-A1C5-45AB-ADA7-2B77CB3BC804}"/>
                </a:ext>
              </a:extLst>
            </p:cNvPr>
            <p:cNvSpPr>
              <a:spLocks noChangeAspect="1" noEditPoints="1"/>
            </p:cNvSpPr>
            <p:nvPr>
              <p:custDataLst>
                <p:tags r:id="rId2"/>
              </p:custDataLst>
            </p:nvPr>
          </p:nvSpPr>
          <p:spPr bwMode="auto">
            <a:xfrm>
              <a:off x="2375563" y="3976348"/>
              <a:ext cx="210839" cy="209321"/>
            </a:xfrm>
            <a:custGeom>
              <a:avLst/>
              <a:gdLst>
                <a:gd name="T0" fmla="*/ 105 w 361"/>
                <a:gd name="T1" fmla="*/ 180 h 360"/>
                <a:gd name="T2" fmla="*/ 255 w 361"/>
                <a:gd name="T3" fmla="*/ 180 h 360"/>
                <a:gd name="T4" fmla="*/ 180 w 361"/>
                <a:gd name="T5" fmla="*/ 271 h 360"/>
                <a:gd name="T6" fmla="*/ 180 w 361"/>
                <a:gd name="T7" fmla="*/ 88 h 360"/>
                <a:gd name="T8" fmla="*/ 180 w 361"/>
                <a:gd name="T9" fmla="*/ 271 h 360"/>
                <a:gd name="T10" fmla="*/ 207 w 361"/>
                <a:gd name="T11" fmla="*/ 343 h 360"/>
                <a:gd name="T12" fmla="*/ 213 w 361"/>
                <a:gd name="T13" fmla="*/ 305 h 360"/>
                <a:gd name="T14" fmla="*/ 251 w 361"/>
                <a:gd name="T15" fmla="*/ 288 h 360"/>
                <a:gd name="T16" fmla="*/ 315 w 361"/>
                <a:gd name="T17" fmla="*/ 277 h 360"/>
                <a:gd name="T18" fmla="*/ 292 w 361"/>
                <a:gd name="T19" fmla="*/ 245 h 360"/>
                <a:gd name="T20" fmla="*/ 307 w 361"/>
                <a:gd name="T21" fmla="*/ 206 h 360"/>
                <a:gd name="T22" fmla="*/ 344 w 361"/>
                <a:gd name="T23" fmla="*/ 153 h 360"/>
                <a:gd name="T24" fmla="*/ 306 w 361"/>
                <a:gd name="T25" fmla="*/ 147 h 360"/>
                <a:gd name="T26" fmla="*/ 289 w 361"/>
                <a:gd name="T27" fmla="*/ 109 h 360"/>
                <a:gd name="T28" fmla="*/ 277 w 361"/>
                <a:gd name="T29" fmla="*/ 45 h 360"/>
                <a:gd name="T30" fmla="*/ 246 w 361"/>
                <a:gd name="T31" fmla="*/ 68 h 360"/>
                <a:gd name="T32" fmla="*/ 207 w 361"/>
                <a:gd name="T33" fmla="*/ 53 h 360"/>
                <a:gd name="T34" fmla="*/ 154 w 361"/>
                <a:gd name="T35" fmla="*/ 16 h 360"/>
                <a:gd name="T36" fmla="*/ 148 w 361"/>
                <a:gd name="T37" fmla="*/ 54 h 360"/>
                <a:gd name="T38" fmla="*/ 109 w 361"/>
                <a:gd name="T39" fmla="*/ 71 h 360"/>
                <a:gd name="T40" fmla="*/ 46 w 361"/>
                <a:gd name="T41" fmla="*/ 83 h 360"/>
                <a:gd name="T42" fmla="*/ 69 w 361"/>
                <a:gd name="T43" fmla="*/ 114 h 360"/>
                <a:gd name="T44" fmla="*/ 53 w 361"/>
                <a:gd name="T45" fmla="*/ 153 h 360"/>
                <a:gd name="T46" fmla="*/ 17 w 361"/>
                <a:gd name="T47" fmla="*/ 206 h 360"/>
                <a:gd name="T48" fmla="*/ 55 w 361"/>
                <a:gd name="T49" fmla="*/ 212 h 360"/>
                <a:gd name="T50" fmla="*/ 72 w 361"/>
                <a:gd name="T51" fmla="*/ 251 h 360"/>
                <a:gd name="T52" fmla="*/ 83 w 361"/>
                <a:gd name="T53" fmla="*/ 314 h 360"/>
                <a:gd name="T54" fmla="*/ 115 w 361"/>
                <a:gd name="T55" fmla="*/ 291 h 360"/>
                <a:gd name="T56" fmla="*/ 154 w 361"/>
                <a:gd name="T57" fmla="*/ 307 h 360"/>
                <a:gd name="T58" fmla="*/ 208 w 361"/>
                <a:gd name="T59" fmla="*/ 360 h 360"/>
                <a:gd name="T60" fmla="*/ 137 w 361"/>
                <a:gd name="T61" fmla="*/ 345 h 360"/>
                <a:gd name="T62" fmla="*/ 112 w 361"/>
                <a:gd name="T63" fmla="*/ 309 h 360"/>
                <a:gd name="T64" fmla="*/ 72 w 361"/>
                <a:gd name="T65" fmla="*/ 327 h 360"/>
                <a:gd name="T66" fmla="*/ 33 w 361"/>
                <a:gd name="T67" fmla="*/ 266 h 360"/>
                <a:gd name="T68" fmla="*/ 41 w 361"/>
                <a:gd name="T69" fmla="*/ 223 h 360"/>
                <a:gd name="T70" fmla="*/ 0 w 361"/>
                <a:gd name="T71" fmla="*/ 208 h 360"/>
                <a:gd name="T72" fmla="*/ 15 w 361"/>
                <a:gd name="T73" fmla="*/ 137 h 360"/>
                <a:gd name="T74" fmla="*/ 51 w 361"/>
                <a:gd name="T75" fmla="*/ 111 h 360"/>
                <a:gd name="T76" fmla="*/ 29 w 361"/>
                <a:gd name="T77" fmla="*/ 83 h 360"/>
                <a:gd name="T78" fmla="*/ 72 w 361"/>
                <a:gd name="T79" fmla="*/ 33 h 360"/>
                <a:gd name="T80" fmla="*/ 112 w 361"/>
                <a:gd name="T81" fmla="*/ 51 h 360"/>
                <a:gd name="T82" fmla="*/ 137 w 361"/>
                <a:gd name="T83" fmla="*/ 15 h 360"/>
                <a:gd name="T84" fmla="*/ 208 w 361"/>
                <a:gd name="T85" fmla="*/ 0 h 360"/>
                <a:gd name="T86" fmla="*/ 223 w 361"/>
                <a:gd name="T87" fmla="*/ 40 h 360"/>
                <a:gd name="T88" fmla="*/ 267 w 361"/>
                <a:gd name="T89" fmla="*/ 33 h 360"/>
                <a:gd name="T90" fmla="*/ 327 w 361"/>
                <a:gd name="T91" fmla="*/ 72 h 360"/>
                <a:gd name="T92" fmla="*/ 309 w 361"/>
                <a:gd name="T93" fmla="*/ 111 h 360"/>
                <a:gd name="T94" fmla="*/ 345 w 361"/>
                <a:gd name="T95" fmla="*/ 137 h 360"/>
                <a:gd name="T96" fmla="*/ 361 w 361"/>
                <a:gd name="T97" fmla="*/ 208 h 360"/>
                <a:gd name="T98" fmla="*/ 320 w 361"/>
                <a:gd name="T99" fmla="*/ 223 h 360"/>
                <a:gd name="T100" fmla="*/ 327 w 361"/>
                <a:gd name="T101" fmla="*/ 266 h 360"/>
                <a:gd name="T102" fmla="*/ 288 w 361"/>
                <a:gd name="T103" fmla="*/ 327 h 360"/>
                <a:gd name="T104" fmla="*/ 249 w 361"/>
                <a:gd name="T105" fmla="*/ 309 h 360"/>
                <a:gd name="T106" fmla="*/ 223 w 361"/>
                <a:gd name="T107" fmla="*/ 34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1" h="360">
                  <a:moveTo>
                    <a:pt x="180" y="105"/>
                  </a:moveTo>
                  <a:cubicBezTo>
                    <a:pt x="139" y="105"/>
                    <a:pt x="105" y="138"/>
                    <a:pt x="105" y="180"/>
                  </a:cubicBezTo>
                  <a:cubicBezTo>
                    <a:pt x="105" y="221"/>
                    <a:pt x="139" y="255"/>
                    <a:pt x="180" y="255"/>
                  </a:cubicBezTo>
                  <a:cubicBezTo>
                    <a:pt x="222" y="255"/>
                    <a:pt x="255" y="221"/>
                    <a:pt x="255" y="180"/>
                  </a:cubicBezTo>
                  <a:cubicBezTo>
                    <a:pt x="255" y="138"/>
                    <a:pt x="222" y="105"/>
                    <a:pt x="180" y="105"/>
                  </a:cubicBezTo>
                  <a:close/>
                  <a:moveTo>
                    <a:pt x="180" y="271"/>
                  </a:moveTo>
                  <a:cubicBezTo>
                    <a:pt x="130" y="271"/>
                    <a:pt x="89" y="230"/>
                    <a:pt x="89" y="180"/>
                  </a:cubicBezTo>
                  <a:cubicBezTo>
                    <a:pt x="89" y="129"/>
                    <a:pt x="130" y="88"/>
                    <a:pt x="180" y="88"/>
                  </a:cubicBezTo>
                  <a:cubicBezTo>
                    <a:pt x="231" y="88"/>
                    <a:pt x="272" y="129"/>
                    <a:pt x="272" y="180"/>
                  </a:cubicBezTo>
                  <a:cubicBezTo>
                    <a:pt x="272" y="230"/>
                    <a:pt x="231" y="271"/>
                    <a:pt x="180" y="271"/>
                  </a:cubicBezTo>
                  <a:close/>
                  <a:moveTo>
                    <a:pt x="154" y="343"/>
                  </a:moveTo>
                  <a:lnTo>
                    <a:pt x="207" y="343"/>
                  </a:lnTo>
                  <a:lnTo>
                    <a:pt x="207" y="307"/>
                  </a:lnTo>
                  <a:lnTo>
                    <a:pt x="213" y="305"/>
                  </a:lnTo>
                  <a:cubicBezTo>
                    <a:pt x="224" y="302"/>
                    <a:pt x="236" y="297"/>
                    <a:pt x="246" y="291"/>
                  </a:cubicBezTo>
                  <a:lnTo>
                    <a:pt x="251" y="288"/>
                  </a:lnTo>
                  <a:lnTo>
                    <a:pt x="277" y="314"/>
                  </a:lnTo>
                  <a:lnTo>
                    <a:pt x="315" y="277"/>
                  </a:lnTo>
                  <a:lnTo>
                    <a:pt x="289" y="251"/>
                  </a:lnTo>
                  <a:lnTo>
                    <a:pt x="292" y="245"/>
                  </a:lnTo>
                  <a:cubicBezTo>
                    <a:pt x="298" y="235"/>
                    <a:pt x="303" y="224"/>
                    <a:pt x="306" y="212"/>
                  </a:cubicBezTo>
                  <a:lnTo>
                    <a:pt x="307" y="206"/>
                  </a:lnTo>
                  <a:lnTo>
                    <a:pt x="344" y="206"/>
                  </a:lnTo>
                  <a:lnTo>
                    <a:pt x="344" y="153"/>
                  </a:lnTo>
                  <a:lnTo>
                    <a:pt x="307" y="153"/>
                  </a:lnTo>
                  <a:lnTo>
                    <a:pt x="306" y="147"/>
                  </a:lnTo>
                  <a:cubicBezTo>
                    <a:pt x="303" y="136"/>
                    <a:pt x="298" y="124"/>
                    <a:pt x="292" y="114"/>
                  </a:cubicBezTo>
                  <a:lnTo>
                    <a:pt x="289" y="109"/>
                  </a:lnTo>
                  <a:lnTo>
                    <a:pt x="315" y="83"/>
                  </a:lnTo>
                  <a:lnTo>
                    <a:pt x="277" y="45"/>
                  </a:lnTo>
                  <a:lnTo>
                    <a:pt x="251" y="71"/>
                  </a:lnTo>
                  <a:lnTo>
                    <a:pt x="246" y="68"/>
                  </a:lnTo>
                  <a:cubicBezTo>
                    <a:pt x="236" y="62"/>
                    <a:pt x="224" y="57"/>
                    <a:pt x="213" y="54"/>
                  </a:cubicBezTo>
                  <a:lnTo>
                    <a:pt x="207" y="53"/>
                  </a:lnTo>
                  <a:lnTo>
                    <a:pt x="207" y="16"/>
                  </a:lnTo>
                  <a:lnTo>
                    <a:pt x="154" y="16"/>
                  </a:lnTo>
                  <a:lnTo>
                    <a:pt x="154" y="53"/>
                  </a:lnTo>
                  <a:lnTo>
                    <a:pt x="148" y="54"/>
                  </a:lnTo>
                  <a:cubicBezTo>
                    <a:pt x="136" y="57"/>
                    <a:pt x="125" y="62"/>
                    <a:pt x="115" y="68"/>
                  </a:cubicBezTo>
                  <a:lnTo>
                    <a:pt x="109" y="71"/>
                  </a:lnTo>
                  <a:lnTo>
                    <a:pt x="83" y="46"/>
                  </a:lnTo>
                  <a:lnTo>
                    <a:pt x="46" y="83"/>
                  </a:lnTo>
                  <a:lnTo>
                    <a:pt x="72" y="109"/>
                  </a:lnTo>
                  <a:lnTo>
                    <a:pt x="69" y="114"/>
                  </a:lnTo>
                  <a:cubicBezTo>
                    <a:pt x="63" y="124"/>
                    <a:pt x="58" y="136"/>
                    <a:pt x="55" y="147"/>
                  </a:cubicBezTo>
                  <a:lnTo>
                    <a:pt x="53" y="153"/>
                  </a:lnTo>
                  <a:lnTo>
                    <a:pt x="17" y="153"/>
                  </a:lnTo>
                  <a:lnTo>
                    <a:pt x="17" y="206"/>
                  </a:lnTo>
                  <a:lnTo>
                    <a:pt x="53" y="206"/>
                  </a:lnTo>
                  <a:lnTo>
                    <a:pt x="55" y="212"/>
                  </a:lnTo>
                  <a:cubicBezTo>
                    <a:pt x="58" y="224"/>
                    <a:pt x="63" y="235"/>
                    <a:pt x="69" y="245"/>
                  </a:cubicBezTo>
                  <a:lnTo>
                    <a:pt x="72" y="251"/>
                  </a:lnTo>
                  <a:lnTo>
                    <a:pt x="46" y="277"/>
                  </a:lnTo>
                  <a:lnTo>
                    <a:pt x="83" y="314"/>
                  </a:lnTo>
                  <a:lnTo>
                    <a:pt x="109" y="288"/>
                  </a:lnTo>
                  <a:lnTo>
                    <a:pt x="115" y="291"/>
                  </a:lnTo>
                  <a:cubicBezTo>
                    <a:pt x="125" y="297"/>
                    <a:pt x="136" y="302"/>
                    <a:pt x="148" y="305"/>
                  </a:cubicBezTo>
                  <a:lnTo>
                    <a:pt x="154" y="307"/>
                  </a:lnTo>
                  <a:lnTo>
                    <a:pt x="154" y="343"/>
                  </a:lnTo>
                  <a:close/>
                  <a:moveTo>
                    <a:pt x="208" y="360"/>
                  </a:moveTo>
                  <a:lnTo>
                    <a:pt x="152" y="360"/>
                  </a:lnTo>
                  <a:cubicBezTo>
                    <a:pt x="144" y="360"/>
                    <a:pt x="137" y="353"/>
                    <a:pt x="137" y="345"/>
                  </a:cubicBezTo>
                  <a:lnTo>
                    <a:pt x="137" y="319"/>
                  </a:lnTo>
                  <a:cubicBezTo>
                    <a:pt x="129" y="317"/>
                    <a:pt x="120" y="313"/>
                    <a:pt x="112" y="309"/>
                  </a:cubicBezTo>
                  <a:lnTo>
                    <a:pt x="94" y="327"/>
                  </a:lnTo>
                  <a:cubicBezTo>
                    <a:pt x="88" y="333"/>
                    <a:pt x="78" y="333"/>
                    <a:pt x="72" y="327"/>
                  </a:cubicBezTo>
                  <a:lnTo>
                    <a:pt x="33" y="288"/>
                  </a:lnTo>
                  <a:cubicBezTo>
                    <a:pt x="27" y="282"/>
                    <a:pt x="27" y="272"/>
                    <a:pt x="33" y="266"/>
                  </a:cubicBezTo>
                  <a:lnTo>
                    <a:pt x="51" y="248"/>
                  </a:lnTo>
                  <a:cubicBezTo>
                    <a:pt x="47" y="240"/>
                    <a:pt x="43" y="232"/>
                    <a:pt x="41" y="223"/>
                  </a:cubicBezTo>
                  <a:lnTo>
                    <a:pt x="15" y="223"/>
                  </a:lnTo>
                  <a:cubicBezTo>
                    <a:pt x="7" y="223"/>
                    <a:pt x="0" y="216"/>
                    <a:pt x="0" y="208"/>
                  </a:cubicBezTo>
                  <a:lnTo>
                    <a:pt x="0" y="152"/>
                  </a:lnTo>
                  <a:cubicBezTo>
                    <a:pt x="0" y="144"/>
                    <a:pt x="7" y="137"/>
                    <a:pt x="15" y="137"/>
                  </a:cubicBezTo>
                  <a:lnTo>
                    <a:pt x="41" y="137"/>
                  </a:lnTo>
                  <a:cubicBezTo>
                    <a:pt x="43" y="128"/>
                    <a:pt x="47" y="119"/>
                    <a:pt x="51" y="111"/>
                  </a:cubicBezTo>
                  <a:lnTo>
                    <a:pt x="33" y="93"/>
                  </a:lnTo>
                  <a:cubicBezTo>
                    <a:pt x="30" y="91"/>
                    <a:pt x="29" y="87"/>
                    <a:pt x="29" y="83"/>
                  </a:cubicBezTo>
                  <a:cubicBezTo>
                    <a:pt x="29" y="79"/>
                    <a:pt x="30" y="75"/>
                    <a:pt x="33" y="72"/>
                  </a:cubicBezTo>
                  <a:lnTo>
                    <a:pt x="72" y="33"/>
                  </a:lnTo>
                  <a:cubicBezTo>
                    <a:pt x="78" y="27"/>
                    <a:pt x="88" y="27"/>
                    <a:pt x="94" y="33"/>
                  </a:cubicBezTo>
                  <a:lnTo>
                    <a:pt x="112" y="51"/>
                  </a:lnTo>
                  <a:cubicBezTo>
                    <a:pt x="120" y="46"/>
                    <a:pt x="129" y="43"/>
                    <a:pt x="137" y="40"/>
                  </a:cubicBezTo>
                  <a:lnTo>
                    <a:pt x="137" y="15"/>
                  </a:lnTo>
                  <a:cubicBezTo>
                    <a:pt x="137" y="6"/>
                    <a:pt x="144" y="0"/>
                    <a:pt x="152" y="0"/>
                  </a:cubicBezTo>
                  <a:lnTo>
                    <a:pt x="208" y="0"/>
                  </a:lnTo>
                  <a:cubicBezTo>
                    <a:pt x="216" y="0"/>
                    <a:pt x="223" y="6"/>
                    <a:pt x="223" y="15"/>
                  </a:cubicBezTo>
                  <a:lnTo>
                    <a:pt x="223" y="40"/>
                  </a:lnTo>
                  <a:cubicBezTo>
                    <a:pt x="232" y="43"/>
                    <a:pt x="241" y="46"/>
                    <a:pt x="249" y="51"/>
                  </a:cubicBezTo>
                  <a:lnTo>
                    <a:pt x="267" y="33"/>
                  </a:lnTo>
                  <a:cubicBezTo>
                    <a:pt x="273" y="27"/>
                    <a:pt x="282" y="27"/>
                    <a:pt x="288" y="33"/>
                  </a:cubicBezTo>
                  <a:lnTo>
                    <a:pt x="327" y="72"/>
                  </a:lnTo>
                  <a:cubicBezTo>
                    <a:pt x="333" y="78"/>
                    <a:pt x="333" y="87"/>
                    <a:pt x="327" y="93"/>
                  </a:cubicBezTo>
                  <a:lnTo>
                    <a:pt x="309" y="111"/>
                  </a:lnTo>
                  <a:cubicBezTo>
                    <a:pt x="314" y="119"/>
                    <a:pt x="317" y="128"/>
                    <a:pt x="320" y="137"/>
                  </a:cubicBezTo>
                  <a:lnTo>
                    <a:pt x="345" y="137"/>
                  </a:lnTo>
                  <a:cubicBezTo>
                    <a:pt x="354" y="137"/>
                    <a:pt x="361" y="144"/>
                    <a:pt x="361" y="152"/>
                  </a:cubicBezTo>
                  <a:lnTo>
                    <a:pt x="361" y="208"/>
                  </a:lnTo>
                  <a:cubicBezTo>
                    <a:pt x="361" y="216"/>
                    <a:pt x="354" y="223"/>
                    <a:pt x="345" y="223"/>
                  </a:cubicBezTo>
                  <a:lnTo>
                    <a:pt x="320" y="223"/>
                  </a:lnTo>
                  <a:cubicBezTo>
                    <a:pt x="317" y="232"/>
                    <a:pt x="314" y="240"/>
                    <a:pt x="309" y="248"/>
                  </a:cubicBezTo>
                  <a:lnTo>
                    <a:pt x="327" y="266"/>
                  </a:lnTo>
                  <a:cubicBezTo>
                    <a:pt x="333" y="272"/>
                    <a:pt x="333" y="282"/>
                    <a:pt x="327" y="288"/>
                  </a:cubicBezTo>
                  <a:lnTo>
                    <a:pt x="288" y="327"/>
                  </a:lnTo>
                  <a:cubicBezTo>
                    <a:pt x="282" y="333"/>
                    <a:pt x="273" y="333"/>
                    <a:pt x="267" y="327"/>
                  </a:cubicBezTo>
                  <a:lnTo>
                    <a:pt x="249" y="309"/>
                  </a:lnTo>
                  <a:cubicBezTo>
                    <a:pt x="241" y="313"/>
                    <a:pt x="232" y="317"/>
                    <a:pt x="223" y="319"/>
                  </a:cubicBezTo>
                  <a:lnTo>
                    <a:pt x="223" y="345"/>
                  </a:lnTo>
                  <a:cubicBezTo>
                    <a:pt x="223" y="353"/>
                    <a:pt x="216" y="360"/>
                    <a:pt x="208" y="360"/>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grpSp>
        <p:nvGrpSpPr>
          <p:cNvPr id="139" name="Plan4" descr="{&quot;Key&quot;:&quot;POWER_USER_SHAPE_ICON&quot;,&quot;Value&quot;:&quot;POWER_USER_SHAPE_ICON_STYLE_1&quot;}">
            <a:extLst>
              <a:ext uri="{FF2B5EF4-FFF2-40B4-BE49-F238E27FC236}">
                <a16:creationId xmlns:a16="http://schemas.microsoft.com/office/drawing/2014/main" id="{CEF182F3-002B-46DC-A940-58556536A9BC}"/>
              </a:ext>
            </a:extLst>
          </p:cNvPr>
          <p:cNvGrpSpPr>
            <a:grpSpLocks noChangeAspect="1"/>
          </p:cNvGrpSpPr>
          <p:nvPr/>
        </p:nvGrpSpPr>
        <p:grpSpPr>
          <a:xfrm>
            <a:off x="8617575" y="2969389"/>
            <a:ext cx="369182" cy="336524"/>
            <a:chOff x="2960688" y="5773738"/>
            <a:chExt cx="825500" cy="752475"/>
          </a:xfrm>
        </p:grpSpPr>
        <p:sp>
          <p:nvSpPr>
            <p:cNvPr id="140" name="Freeform 185">
              <a:extLst>
                <a:ext uri="{FF2B5EF4-FFF2-40B4-BE49-F238E27FC236}">
                  <a16:creationId xmlns:a16="http://schemas.microsoft.com/office/drawing/2014/main" id="{D069708C-77D4-44AB-A2CA-CB447CF3F3CC}"/>
                </a:ext>
              </a:extLst>
            </p:cNvPr>
            <p:cNvSpPr>
              <a:spLocks/>
            </p:cNvSpPr>
            <p:nvPr/>
          </p:nvSpPr>
          <p:spPr bwMode="auto">
            <a:xfrm>
              <a:off x="3365500" y="6122988"/>
              <a:ext cx="420688" cy="331788"/>
            </a:xfrm>
            <a:custGeom>
              <a:avLst/>
              <a:gdLst>
                <a:gd name="T0" fmla="*/ 340 w 562"/>
                <a:gd name="T1" fmla="*/ 440 h 440"/>
                <a:gd name="T2" fmla="*/ 562 w 562"/>
                <a:gd name="T3" fmla="*/ 148 h 440"/>
                <a:gd name="T4" fmla="*/ 0 w 562"/>
                <a:gd name="T5" fmla="*/ 0 h 440"/>
              </a:gdLst>
              <a:ahLst/>
              <a:cxnLst>
                <a:cxn ang="0">
                  <a:pos x="T0" y="T1"/>
                </a:cxn>
                <a:cxn ang="0">
                  <a:pos x="T2" y="T3"/>
                </a:cxn>
                <a:cxn ang="0">
                  <a:pos x="T4" y="T5"/>
                </a:cxn>
              </a:cxnLst>
              <a:rect l="0" t="0" r="r" b="b"/>
              <a:pathLst>
                <a:path w="562" h="440">
                  <a:moveTo>
                    <a:pt x="340" y="440"/>
                  </a:moveTo>
                  <a:lnTo>
                    <a:pt x="562" y="148"/>
                  </a:lnTo>
                  <a:cubicBezTo>
                    <a:pt x="562" y="148"/>
                    <a:pt x="286" y="84"/>
                    <a:pt x="0" y="0"/>
                  </a:cubicBezTo>
                </a:path>
              </a:pathLst>
            </a:custGeom>
            <a:noFill/>
            <a:ln w="19050" cap="rnd">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1" name="Freeform 186">
              <a:extLst>
                <a:ext uri="{FF2B5EF4-FFF2-40B4-BE49-F238E27FC236}">
                  <a16:creationId xmlns:a16="http://schemas.microsoft.com/office/drawing/2014/main" id="{B8AB7E3D-1308-476D-B717-F67063BE6DA8}"/>
                </a:ext>
              </a:extLst>
            </p:cNvPr>
            <p:cNvSpPr>
              <a:spLocks/>
            </p:cNvSpPr>
            <p:nvPr/>
          </p:nvSpPr>
          <p:spPr bwMode="auto">
            <a:xfrm>
              <a:off x="3138488" y="5895975"/>
              <a:ext cx="276225" cy="203200"/>
            </a:xfrm>
            <a:custGeom>
              <a:avLst/>
              <a:gdLst>
                <a:gd name="T0" fmla="*/ 21 w 367"/>
                <a:gd name="T1" fmla="*/ 0 h 269"/>
                <a:gd name="T2" fmla="*/ 0 w 367"/>
                <a:gd name="T3" fmla="*/ 84 h 269"/>
                <a:gd name="T4" fmla="*/ 184 w 367"/>
                <a:gd name="T5" fmla="*/ 269 h 269"/>
                <a:gd name="T6" fmla="*/ 367 w 367"/>
                <a:gd name="T7" fmla="*/ 111 h 269"/>
              </a:gdLst>
              <a:ahLst/>
              <a:cxnLst>
                <a:cxn ang="0">
                  <a:pos x="T0" y="T1"/>
                </a:cxn>
                <a:cxn ang="0">
                  <a:pos x="T2" y="T3"/>
                </a:cxn>
                <a:cxn ang="0">
                  <a:pos x="T4" y="T5"/>
                </a:cxn>
                <a:cxn ang="0">
                  <a:pos x="T6" y="T7"/>
                </a:cxn>
              </a:cxnLst>
              <a:rect l="0" t="0" r="r" b="b"/>
              <a:pathLst>
                <a:path w="367" h="269">
                  <a:moveTo>
                    <a:pt x="21" y="0"/>
                  </a:moveTo>
                  <a:cubicBezTo>
                    <a:pt x="8" y="25"/>
                    <a:pt x="0" y="53"/>
                    <a:pt x="0" y="84"/>
                  </a:cubicBezTo>
                  <a:cubicBezTo>
                    <a:pt x="0" y="186"/>
                    <a:pt x="82" y="269"/>
                    <a:pt x="184" y="269"/>
                  </a:cubicBezTo>
                  <a:cubicBezTo>
                    <a:pt x="277" y="269"/>
                    <a:pt x="354" y="200"/>
                    <a:pt x="367" y="111"/>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2" name="Freeform 187">
              <a:extLst>
                <a:ext uri="{FF2B5EF4-FFF2-40B4-BE49-F238E27FC236}">
                  <a16:creationId xmlns:a16="http://schemas.microsoft.com/office/drawing/2014/main" id="{24A70DC8-29B4-43DB-9E9F-0869409FFB0D}"/>
                </a:ext>
              </a:extLst>
            </p:cNvPr>
            <p:cNvSpPr>
              <a:spLocks/>
            </p:cNvSpPr>
            <p:nvPr/>
          </p:nvSpPr>
          <p:spPr bwMode="auto">
            <a:xfrm>
              <a:off x="3144838" y="5773738"/>
              <a:ext cx="309563" cy="201613"/>
            </a:xfrm>
            <a:custGeom>
              <a:avLst/>
              <a:gdLst>
                <a:gd name="T0" fmla="*/ 377 w 412"/>
                <a:gd name="T1" fmla="*/ 269 h 269"/>
                <a:gd name="T2" fmla="*/ 250 w 412"/>
                <a:gd name="T3" fmla="*/ 10 h 269"/>
                <a:gd name="T4" fmla="*/ 193 w 412"/>
                <a:gd name="T5" fmla="*/ 1 h 269"/>
                <a:gd name="T6" fmla="*/ 0 w 412"/>
                <a:gd name="T7" fmla="*/ 144 h 269"/>
              </a:gdLst>
              <a:ahLst/>
              <a:cxnLst>
                <a:cxn ang="0">
                  <a:pos x="T0" y="T1"/>
                </a:cxn>
                <a:cxn ang="0">
                  <a:pos x="T2" y="T3"/>
                </a:cxn>
                <a:cxn ang="0">
                  <a:pos x="T4" y="T5"/>
                </a:cxn>
                <a:cxn ang="0">
                  <a:pos x="T6" y="T7"/>
                </a:cxn>
              </a:cxnLst>
              <a:rect l="0" t="0" r="r" b="b"/>
              <a:pathLst>
                <a:path w="412" h="269">
                  <a:moveTo>
                    <a:pt x="377" y="269"/>
                  </a:moveTo>
                  <a:cubicBezTo>
                    <a:pt x="412" y="151"/>
                    <a:pt x="352" y="43"/>
                    <a:pt x="250" y="10"/>
                  </a:cubicBezTo>
                  <a:cubicBezTo>
                    <a:pt x="231" y="3"/>
                    <a:pt x="212" y="1"/>
                    <a:pt x="193" y="1"/>
                  </a:cubicBezTo>
                  <a:cubicBezTo>
                    <a:pt x="103" y="0"/>
                    <a:pt x="22" y="67"/>
                    <a:pt x="0" y="144"/>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3" name="Line 188">
              <a:extLst>
                <a:ext uri="{FF2B5EF4-FFF2-40B4-BE49-F238E27FC236}">
                  <a16:creationId xmlns:a16="http://schemas.microsoft.com/office/drawing/2014/main" id="{FB17FAFF-029A-4872-A129-1587A2D6D5EE}"/>
                </a:ext>
              </a:extLst>
            </p:cNvPr>
            <p:cNvSpPr>
              <a:spLocks noChangeShapeType="1"/>
            </p:cNvSpPr>
            <p:nvPr/>
          </p:nvSpPr>
          <p:spPr bwMode="auto">
            <a:xfrm>
              <a:off x="3133725" y="5881688"/>
              <a:ext cx="344488" cy="109538"/>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4" name="Freeform 189">
              <a:extLst>
                <a:ext uri="{FF2B5EF4-FFF2-40B4-BE49-F238E27FC236}">
                  <a16:creationId xmlns:a16="http://schemas.microsoft.com/office/drawing/2014/main" id="{AB1B9AA4-6606-44D5-86B8-809D095FC3CB}"/>
                </a:ext>
              </a:extLst>
            </p:cNvPr>
            <p:cNvSpPr>
              <a:spLocks/>
            </p:cNvSpPr>
            <p:nvPr/>
          </p:nvSpPr>
          <p:spPr bwMode="auto">
            <a:xfrm>
              <a:off x="2960688" y="6121400"/>
              <a:ext cx="614363" cy="404813"/>
            </a:xfrm>
            <a:custGeom>
              <a:avLst/>
              <a:gdLst>
                <a:gd name="T0" fmla="*/ 318 w 818"/>
                <a:gd name="T1" fmla="*/ 511 h 537"/>
                <a:gd name="T2" fmla="*/ 0 w 818"/>
                <a:gd name="T3" fmla="*/ 511 h 537"/>
                <a:gd name="T4" fmla="*/ 43 w 818"/>
                <a:gd name="T5" fmla="*/ 199 h 537"/>
                <a:gd name="T6" fmla="*/ 248 w 818"/>
                <a:gd name="T7" fmla="*/ 0 h 537"/>
                <a:gd name="T8" fmla="*/ 433 w 818"/>
                <a:gd name="T9" fmla="*/ 140 h 537"/>
                <a:gd name="T10" fmla="*/ 529 w 818"/>
                <a:gd name="T11" fmla="*/ 367 h 537"/>
                <a:gd name="T12" fmla="*/ 770 w 818"/>
                <a:gd name="T13" fmla="*/ 392 h 537"/>
                <a:gd name="T14" fmla="*/ 818 w 818"/>
                <a:gd name="T15" fmla="*/ 463 h 537"/>
                <a:gd name="T16" fmla="*/ 733 w 818"/>
                <a:gd name="T17" fmla="*/ 537 h 537"/>
                <a:gd name="T18" fmla="*/ 458 w 818"/>
                <a:gd name="T19" fmla="*/ 537 h 537"/>
                <a:gd name="T20" fmla="*/ 367 w 818"/>
                <a:gd name="T21" fmla="*/ 475 h 537"/>
                <a:gd name="T22" fmla="*/ 266 w 818"/>
                <a:gd name="T23" fmla="*/ 267 h 537"/>
                <a:gd name="T24" fmla="*/ 266 w 818"/>
                <a:gd name="T25" fmla="*/ 26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8" h="537">
                  <a:moveTo>
                    <a:pt x="318" y="511"/>
                  </a:moveTo>
                  <a:lnTo>
                    <a:pt x="0" y="511"/>
                  </a:lnTo>
                  <a:lnTo>
                    <a:pt x="43" y="199"/>
                  </a:lnTo>
                  <a:cubicBezTo>
                    <a:pt x="65" y="61"/>
                    <a:pt x="144" y="0"/>
                    <a:pt x="248" y="0"/>
                  </a:cubicBezTo>
                  <a:cubicBezTo>
                    <a:pt x="323" y="0"/>
                    <a:pt x="393" y="42"/>
                    <a:pt x="433" y="140"/>
                  </a:cubicBezTo>
                  <a:lnTo>
                    <a:pt x="529" y="367"/>
                  </a:lnTo>
                  <a:lnTo>
                    <a:pt x="770" y="392"/>
                  </a:lnTo>
                  <a:cubicBezTo>
                    <a:pt x="798" y="401"/>
                    <a:pt x="818" y="422"/>
                    <a:pt x="818" y="463"/>
                  </a:cubicBezTo>
                  <a:cubicBezTo>
                    <a:pt x="818" y="511"/>
                    <a:pt x="787" y="537"/>
                    <a:pt x="733" y="537"/>
                  </a:cubicBezTo>
                  <a:lnTo>
                    <a:pt x="458" y="537"/>
                  </a:lnTo>
                  <a:cubicBezTo>
                    <a:pt x="418" y="537"/>
                    <a:pt x="387" y="515"/>
                    <a:pt x="367" y="475"/>
                  </a:cubicBezTo>
                  <a:cubicBezTo>
                    <a:pt x="341" y="420"/>
                    <a:pt x="295" y="326"/>
                    <a:pt x="266" y="267"/>
                  </a:cubicBezTo>
                  <a:lnTo>
                    <a:pt x="266" y="267"/>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5" name="Line 190">
              <a:extLst>
                <a:ext uri="{FF2B5EF4-FFF2-40B4-BE49-F238E27FC236}">
                  <a16:creationId xmlns:a16="http://schemas.microsoft.com/office/drawing/2014/main" id="{6F4987E5-0AFD-40A1-8C9F-4FCF1E72AC8E}"/>
                </a:ext>
              </a:extLst>
            </p:cNvPr>
            <p:cNvSpPr>
              <a:spLocks noChangeShapeType="1"/>
            </p:cNvSpPr>
            <p:nvPr/>
          </p:nvSpPr>
          <p:spPr bwMode="auto">
            <a:xfrm flipV="1">
              <a:off x="3546475" y="6359525"/>
              <a:ext cx="46038" cy="60325"/>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6" name="Freeform 191">
              <a:extLst>
                <a:ext uri="{FF2B5EF4-FFF2-40B4-BE49-F238E27FC236}">
                  <a16:creationId xmlns:a16="http://schemas.microsoft.com/office/drawing/2014/main" id="{619484C8-D8D5-48D8-B8BC-6995E58356CF}"/>
                </a:ext>
              </a:extLst>
            </p:cNvPr>
            <p:cNvSpPr>
              <a:spLocks/>
            </p:cNvSpPr>
            <p:nvPr/>
          </p:nvSpPr>
          <p:spPr bwMode="auto">
            <a:xfrm>
              <a:off x="3311525" y="6199188"/>
              <a:ext cx="346075" cy="112713"/>
            </a:xfrm>
            <a:custGeom>
              <a:avLst/>
              <a:gdLst>
                <a:gd name="T0" fmla="*/ 422 w 461"/>
                <a:gd name="T1" fmla="*/ 150 h 150"/>
                <a:gd name="T2" fmla="*/ 461 w 461"/>
                <a:gd name="T3" fmla="*/ 101 h 150"/>
                <a:gd name="T4" fmla="*/ 87 w 461"/>
                <a:gd name="T5" fmla="*/ 0 h 150"/>
                <a:gd name="T6" fmla="*/ 0 w 461"/>
                <a:gd name="T7" fmla="*/ 104 h 150"/>
              </a:gdLst>
              <a:ahLst/>
              <a:cxnLst>
                <a:cxn ang="0">
                  <a:pos x="T0" y="T1"/>
                </a:cxn>
                <a:cxn ang="0">
                  <a:pos x="T2" y="T3"/>
                </a:cxn>
                <a:cxn ang="0">
                  <a:pos x="T4" y="T5"/>
                </a:cxn>
                <a:cxn ang="0">
                  <a:pos x="T6" y="T7"/>
                </a:cxn>
              </a:cxnLst>
              <a:rect l="0" t="0" r="r" b="b"/>
              <a:pathLst>
                <a:path w="461" h="150">
                  <a:moveTo>
                    <a:pt x="422" y="150"/>
                  </a:moveTo>
                  <a:lnTo>
                    <a:pt x="461" y="101"/>
                  </a:lnTo>
                  <a:lnTo>
                    <a:pt x="87" y="0"/>
                  </a:lnTo>
                  <a:lnTo>
                    <a:pt x="0" y="104"/>
                  </a:lnTo>
                </a:path>
              </a:pathLst>
            </a:custGeom>
            <a:noFill/>
            <a:ln w="19050" cap="rnd">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47" name="Freeform 192">
              <a:extLst>
                <a:ext uri="{FF2B5EF4-FFF2-40B4-BE49-F238E27FC236}">
                  <a16:creationId xmlns:a16="http://schemas.microsoft.com/office/drawing/2014/main" id="{19FBB5EB-6B93-4D37-A538-2C1B8A1D9A68}"/>
                </a:ext>
              </a:extLst>
            </p:cNvPr>
            <p:cNvSpPr>
              <a:spLocks/>
            </p:cNvSpPr>
            <p:nvPr/>
          </p:nvSpPr>
          <p:spPr bwMode="auto">
            <a:xfrm>
              <a:off x="3395663" y="6234113"/>
              <a:ext cx="109538" cy="88900"/>
            </a:xfrm>
            <a:custGeom>
              <a:avLst/>
              <a:gdLst>
                <a:gd name="T0" fmla="*/ 0 w 148"/>
                <a:gd name="T1" fmla="*/ 99 h 118"/>
                <a:gd name="T2" fmla="*/ 56 w 148"/>
                <a:gd name="T3" fmla="*/ 118 h 118"/>
                <a:gd name="T4" fmla="*/ 148 w 148"/>
                <a:gd name="T5" fmla="*/ 0 h 118"/>
              </a:gdLst>
              <a:ahLst/>
              <a:cxnLst>
                <a:cxn ang="0">
                  <a:pos x="T0" y="T1"/>
                </a:cxn>
                <a:cxn ang="0">
                  <a:pos x="T2" y="T3"/>
                </a:cxn>
                <a:cxn ang="0">
                  <a:pos x="T4" y="T5"/>
                </a:cxn>
              </a:cxnLst>
              <a:rect l="0" t="0" r="r" b="b"/>
              <a:pathLst>
                <a:path w="148" h="118">
                  <a:moveTo>
                    <a:pt x="0" y="99"/>
                  </a:moveTo>
                  <a:lnTo>
                    <a:pt x="56" y="118"/>
                  </a:lnTo>
                  <a:lnTo>
                    <a:pt x="148" y="0"/>
                  </a:lnTo>
                </a:path>
              </a:pathLst>
            </a:custGeom>
            <a:noFill/>
            <a:ln w="19050" cap="rnd">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grpSp>
        <p:nvGrpSpPr>
          <p:cNvPr id="148" name="Optimization2" descr="{&quot;Key&quot;:&quot;POWER_USER_SHAPE_ICON&quot;,&quot;Value&quot;:&quot;POWER_USER_SHAPE_ICON_STYLE_1&quot;}">
            <a:extLst>
              <a:ext uri="{FF2B5EF4-FFF2-40B4-BE49-F238E27FC236}">
                <a16:creationId xmlns:a16="http://schemas.microsoft.com/office/drawing/2014/main" id="{7CEBCB9C-78D6-4682-A997-DF1A6062CDCA}"/>
              </a:ext>
            </a:extLst>
          </p:cNvPr>
          <p:cNvGrpSpPr>
            <a:grpSpLocks noChangeAspect="1"/>
          </p:cNvGrpSpPr>
          <p:nvPr/>
        </p:nvGrpSpPr>
        <p:grpSpPr>
          <a:xfrm>
            <a:off x="8576813" y="2195112"/>
            <a:ext cx="369463" cy="370176"/>
            <a:chOff x="4994275" y="1627188"/>
            <a:chExt cx="822326" cy="823913"/>
          </a:xfrm>
          <a:noFill/>
        </p:grpSpPr>
        <p:sp>
          <p:nvSpPr>
            <p:cNvPr id="149" name="Freeform 77">
              <a:extLst>
                <a:ext uri="{FF2B5EF4-FFF2-40B4-BE49-F238E27FC236}">
                  <a16:creationId xmlns:a16="http://schemas.microsoft.com/office/drawing/2014/main" id="{7FDB9663-3614-4035-A8DC-E4D79B884DD4}"/>
                </a:ext>
              </a:extLst>
            </p:cNvPr>
            <p:cNvSpPr>
              <a:spLocks/>
            </p:cNvSpPr>
            <p:nvPr/>
          </p:nvSpPr>
          <p:spPr bwMode="auto">
            <a:xfrm>
              <a:off x="5535613" y="2170113"/>
              <a:ext cx="90488" cy="90488"/>
            </a:xfrm>
            <a:custGeom>
              <a:avLst/>
              <a:gdLst>
                <a:gd name="T0" fmla="*/ 25 w 57"/>
                <a:gd name="T1" fmla="*/ 0 h 57"/>
                <a:gd name="T2" fmla="*/ 57 w 57"/>
                <a:gd name="T3" fmla="*/ 32 h 57"/>
                <a:gd name="T4" fmla="*/ 33 w 57"/>
                <a:gd name="T5" fmla="*/ 57 h 57"/>
                <a:gd name="T6" fmla="*/ 0 w 57"/>
                <a:gd name="T7" fmla="*/ 25 h 57"/>
                <a:gd name="T8" fmla="*/ 25 w 57"/>
                <a:gd name="T9" fmla="*/ 0 h 57"/>
              </a:gdLst>
              <a:ahLst/>
              <a:cxnLst>
                <a:cxn ang="0">
                  <a:pos x="T0" y="T1"/>
                </a:cxn>
                <a:cxn ang="0">
                  <a:pos x="T2" y="T3"/>
                </a:cxn>
                <a:cxn ang="0">
                  <a:pos x="T4" y="T5"/>
                </a:cxn>
                <a:cxn ang="0">
                  <a:pos x="T6" y="T7"/>
                </a:cxn>
                <a:cxn ang="0">
                  <a:pos x="T8" y="T9"/>
                </a:cxn>
              </a:cxnLst>
              <a:rect l="0" t="0" r="r" b="b"/>
              <a:pathLst>
                <a:path w="57" h="57">
                  <a:moveTo>
                    <a:pt x="25" y="0"/>
                  </a:moveTo>
                  <a:lnTo>
                    <a:pt x="57" y="32"/>
                  </a:lnTo>
                  <a:lnTo>
                    <a:pt x="33" y="57"/>
                  </a:lnTo>
                  <a:lnTo>
                    <a:pt x="0" y="25"/>
                  </a:lnTo>
                  <a:lnTo>
                    <a:pt x="25" y="0"/>
                  </a:ln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0" name="Freeform 78">
              <a:extLst>
                <a:ext uri="{FF2B5EF4-FFF2-40B4-BE49-F238E27FC236}">
                  <a16:creationId xmlns:a16="http://schemas.microsoft.com/office/drawing/2014/main" id="{F50BA756-9433-4FD4-BC68-79B9A23C135F}"/>
                </a:ext>
              </a:extLst>
            </p:cNvPr>
            <p:cNvSpPr>
              <a:spLocks/>
            </p:cNvSpPr>
            <p:nvPr/>
          </p:nvSpPr>
          <p:spPr bwMode="auto">
            <a:xfrm>
              <a:off x="5572125" y="2206625"/>
              <a:ext cx="244475" cy="244475"/>
            </a:xfrm>
            <a:custGeom>
              <a:avLst/>
              <a:gdLst>
                <a:gd name="T0" fmla="*/ 0 w 361"/>
                <a:gd name="T1" fmla="*/ 114 h 362"/>
                <a:gd name="T2" fmla="*/ 217 w 361"/>
                <a:gd name="T3" fmla="*/ 330 h 362"/>
                <a:gd name="T4" fmla="*/ 330 w 361"/>
                <a:gd name="T5" fmla="*/ 330 h 362"/>
                <a:gd name="T6" fmla="*/ 330 w 361"/>
                <a:gd name="T7" fmla="*/ 330 h 362"/>
                <a:gd name="T8" fmla="*/ 330 w 361"/>
                <a:gd name="T9" fmla="*/ 217 h 362"/>
                <a:gd name="T10" fmla="*/ 113 w 361"/>
                <a:gd name="T11" fmla="*/ 0 h 362"/>
                <a:gd name="T12" fmla="*/ 0 w 361"/>
                <a:gd name="T13" fmla="*/ 114 h 362"/>
              </a:gdLst>
              <a:ahLst/>
              <a:cxnLst>
                <a:cxn ang="0">
                  <a:pos x="T0" y="T1"/>
                </a:cxn>
                <a:cxn ang="0">
                  <a:pos x="T2" y="T3"/>
                </a:cxn>
                <a:cxn ang="0">
                  <a:pos x="T4" y="T5"/>
                </a:cxn>
                <a:cxn ang="0">
                  <a:pos x="T6" y="T7"/>
                </a:cxn>
                <a:cxn ang="0">
                  <a:pos x="T8" y="T9"/>
                </a:cxn>
                <a:cxn ang="0">
                  <a:pos x="T10" y="T11"/>
                </a:cxn>
                <a:cxn ang="0">
                  <a:pos x="T12" y="T13"/>
                </a:cxn>
              </a:cxnLst>
              <a:rect l="0" t="0" r="r" b="b"/>
              <a:pathLst>
                <a:path w="361" h="362">
                  <a:moveTo>
                    <a:pt x="0" y="114"/>
                  </a:moveTo>
                  <a:lnTo>
                    <a:pt x="217" y="330"/>
                  </a:lnTo>
                  <a:cubicBezTo>
                    <a:pt x="248" y="362"/>
                    <a:pt x="299" y="362"/>
                    <a:pt x="330" y="330"/>
                  </a:cubicBezTo>
                  <a:lnTo>
                    <a:pt x="330" y="330"/>
                  </a:lnTo>
                  <a:cubicBezTo>
                    <a:pt x="361" y="299"/>
                    <a:pt x="361" y="249"/>
                    <a:pt x="330" y="217"/>
                  </a:cubicBezTo>
                  <a:lnTo>
                    <a:pt x="113" y="0"/>
                  </a:lnTo>
                  <a:lnTo>
                    <a:pt x="0" y="114"/>
                  </a:ln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1" name="Freeform 79">
              <a:extLst>
                <a:ext uri="{FF2B5EF4-FFF2-40B4-BE49-F238E27FC236}">
                  <a16:creationId xmlns:a16="http://schemas.microsoft.com/office/drawing/2014/main" id="{DF3AA26C-BF3C-4D3D-B4B4-F01258B44DB3}"/>
                </a:ext>
              </a:extLst>
            </p:cNvPr>
            <p:cNvSpPr>
              <a:spLocks/>
            </p:cNvSpPr>
            <p:nvPr/>
          </p:nvSpPr>
          <p:spPr bwMode="auto">
            <a:xfrm>
              <a:off x="4994275" y="1627188"/>
              <a:ext cx="684213" cy="685800"/>
            </a:xfrm>
            <a:custGeom>
              <a:avLst/>
              <a:gdLst>
                <a:gd name="T0" fmla="*/ 835 w 1016"/>
                <a:gd name="T1" fmla="*/ 181 h 1016"/>
                <a:gd name="T2" fmla="*/ 835 w 1016"/>
                <a:gd name="T3" fmla="*/ 835 h 1016"/>
                <a:gd name="T4" fmla="*/ 181 w 1016"/>
                <a:gd name="T5" fmla="*/ 835 h 1016"/>
                <a:gd name="T6" fmla="*/ 181 w 1016"/>
                <a:gd name="T7" fmla="*/ 181 h 1016"/>
                <a:gd name="T8" fmla="*/ 835 w 1016"/>
                <a:gd name="T9" fmla="*/ 181 h 1016"/>
              </a:gdLst>
              <a:ahLst/>
              <a:cxnLst>
                <a:cxn ang="0">
                  <a:pos x="T0" y="T1"/>
                </a:cxn>
                <a:cxn ang="0">
                  <a:pos x="T2" y="T3"/>
                </a:cxn>
                <a:cxn ang="0">
                  <a:pos x="T4" y="T5"/>
                </a:cxn>
                <a:cxn ang="0">
                  <a:pos x="T6" y="T7"/>
                </a:cxn>
                <a:cxn ang="0">
                  <a:pos x="T8" y="T9"/>
                </a:cxn>
              </a:cxnLst>
              <a:rect l="0" t="0" r="r" b="b"/>
              <a:pathLst>
                <a:path w="1016" h="1016">
                  <a:moveTo>
                    <a:pt x="835" y="181"/>
                  </a:moveTo>
                  <a:cubicBezTo>
                    <a:pt x="1016" y="361"/>
                    <a:pt x="1016" y="654"/>
                    <a:pt x="835" y="835"/>
                  </a:cubicBezTo>
                  <a:cubicBezTo>
                    <a:pt x="655" y="1016"/>
                    <a:pt x="362" y="1016"/>
                    <a:pt x="181" y="835"/>
                  </a:cubicBezTo>
                  <a:cubicBezTo>
                    <a:pt x="0" y="654"/>
                    <a:pt x="0" y="361"/>
                    <a:pt x="181" y="181"/>
                  </a:cubicBezTo>
                  <a:cubicBezTo>
                    <a:pt x="362" y="0"/>
                    <a:pt x="655" y="0"/>
                    <a:pt x="835" y="181"/>
                  </a:cubicBez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2" name="Freeform 80">
              <a:extLst>
                <a:ext uri="{FF2B5EF4-FFF2-40B4-BE49-F238E27FC236}">
                  <a16:creationId xmlns:a16="http://schemas.microsoft.com/office/drawing/2014/main" id="{D6139B18-FD2C-4061-A9E4-818DCE83D1C0}"/>
                </a:ext>
              </a:extLst>
            </p:cNvPr>
            <p:cNvSpPr>
              <a:spLocks/>
            </p:cNvSpPr>
            <p:nvPr/>
          </p:nvSpPr>
          <p:spPr bwMode="auto">
            <a:xfrm>
              <a:off x="5064125" y="1698625"/>
              <a:ext cx="542925" cy="544513"/>
            </a:xfrm>
            <a:custGeom>
              <a:avLst/>
              <a:gdLst>
                <a:gd name="T0" fmla="*/ 663 w 806"/>
                <a:gd name="T1" fmla="*/ 143 h 806"/>
                <a:gd name="T2" fmla="*/ 663 w 806"/>
                <a:gd name="T3" fmla="*/ 663 h 806"/>
                <a:gd name="T4" fmla="*/ 144 w 806"/>
                <a:gd name="T5" fmla="*/ 663 h 806"/>
                <a:gd name="T6" fmla="*/ 144 w 806"/>
                <a:gd name="T7" fmla="*/ 143 h 806"/>
                <a:gd name="T8" fmla="*/ 663 w 806"/>
                <a:gd name="T9" fmla="*/ 143 h 806"/>
              </a:gdLst>
              <a:ahLst/>
              <a:cxnLst>
                <a:cxn ang="0">
                  <a:pos x="T0" y="T1"/>
                </a:cxn>
                <a:cxn ang="0">
                  <a:pos x="T2" y="T3"/>
                </a:cxn>
                <a:cxn ang="0">
                  <a:pos x="T4" y="T5"/>
                </a:cxn>
                <a:cxn ang="0">
                  <a:pos x="T6" y="T7"/>
                </a:cxn>
                <a:cxn ang="0">
                  <a:pos x="T8" y="T9"/>
                </a:cxn>
              </a:cxnLst>
              <a:rect l="0" t="0" r="r" b="b"/>
              <a:pathLst>
                <a:path w="806" h="806">
                  <a:moveTo>
                    <a:pt x="663" y="143"/>
                  </a:moveTo>
                  <a:cubicBezTo>
                    <a:pt x="806" y="287"/>
                    <a:pt x="806" y="519"/>
                    <a:pt x="663" y="663"/>
                  </a:cubicBezTo>
                  <a:cubicBezTo>
                    <a:pt x="520" y="806"/>
                    <a:pt x="287" y="806"/>
                    <a:pt x="144" y="663"/>
                  </a:cubicBezTo>
                  <a:cubicBezTo>
                    <a:pt x="0" y="519"/>
                    <a:pt x="0" y="287"/>
                    <a:pt x="144" y="143"/>
                  </a:cubicBezTo>
                  <a:cubicBezTo>
                    <a:pt x="287" y="0"/>
                    <a:pt x="520" y="0"/>
                    <a:pt x="663" y="143"/>
                  </a:cubicBez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3" name="Freeform 81">
              <a:extLst>
                <a:ext uri="{FF2B5EF4-FFF2-40B4-BE49-F238E27FC236}">
                  <a16:creationId xmlns:a16="http://schemas.microsoft.com/office/drawing/2014/main" id="{45A60F5C-B29F-4D4A-95B4-09E0AD90993C}"/>
                </a:ext>
              </a:extLst>
            </p:cNvPr>
            <p:cNvSpPr>
              <a:spLocks/>
            </p:cNvSpPr>
            <p:nvPr/>
          </p:nvSpPr>
          <p:spPr bwMode="auto">
            <a:xfrm>
              <a:off x="5153025" y="1785938"/>
              <a:ext cx="366713" cy="368300"/>
            </a:xfrm>
            <a:custGeom>
              <a:avLst/>
              <a:gdLst>
                <a:gd name="T0" fmla="*/ 545 w 545"/>
                <a:gd name="T1" fmla="*/ 242 h 546"/>
                <a:gd name="T2" fmla="*/ 504 w 545"/>
                <a:gd name="T3" fmla="*/ 218 h 546"/>
                <a:gd name="T4" fmla="*/ 469 w 545"/>
                <a:gd name="T5" fmla="*/ 178 h 546"/>
                <a:gd name="T6" fmla="*/ 485 w 545"/>
                <a:gd name="T7" fmla="*/ 138 h 546"/>
                <a:gd name="T8" fmla="*/ 443 w 545"/>
                <a:gd name="T9" fmla="*/ 58 h 546"/>
                <a:gd name="T10" fmla="*/ 397 w 545"/>
                <a:gd name="T11" fmla="*/ 70 h 546"/>
                <a:gd name="T12" fmla="*/ 344 w 545"/>
                <a:gd name="T13" fmla="*/ 67 h 546"/>
                <a:gd name="T14" fmla="*/ 327 w 545"/>
                <a:gd name="T15" fmla="*/ 27 h 546"/>
                <a:gd name="T16" fmla="*/ 241 w 545"/>
                <a:gd name="T17" fmla="*/ 0 h 546"/>
                <a:gd name="T18" fmla="*/ 217 w 545"/>
                <a:gd name="T19" fmla="*/ 41 h 546"/>
                <a:gd name="T20" fmla="*/ 177 w 545"/>
                <a:gd name="T21" fmla="*/ 76 h 546"/>
                <a:gd name="T22" fmla="*/ 137 w 545"/>
                <a:gd name="T23" fmla="*/ 60 h 546"/>
                <a:gd name="T24" fmla="*/ 58 w 545"/>
                <a:gd name="T25" fmla="*/ 102 h 546"/>
                <a:gd name="T26" fmla="*/ 70 w 545"/>
                <a:gd name="T27" fmla="*/ 148 h 546"/>
                <a:gd name="T28" fmla="*/ 66 w 545"/>
                <a:gd name="T29" fmla="*/ 200 h 546"/>
                <a:gd name="T30" fmla="*/ 24 w 545"/>
                <a:gd name="T31" fmla="*/ 218 h 546"/>
                <a:gd name="T32" fmla="*/ 0 w 545"/>
                <a:gd name="T33" fmla="*/ 304 h 546"/>
                <a:gd name="T34" fmla="*/ 41 w 545"/>
                <a:gd name="T35" fmla="*/ 328 h 546"/>
                <a:gd name="T36" fmla="*/ 76 w 545"/>
                <a:gd name="T37" fmla="*/ 368 h 546"/>
                <a:gd name="T38" fmla="*/ 59 w 545"/>
                <a:gd name="T39" fmla="*/ 408 h 546"/>
                <a:gd name="T40" fmla="*/ 101 w 545"/>
                <a:gd name="T41" fmla="*/ 488 h 546"/>
                <a:gd name="T42" fmla="*/ 147 w 545"/>
                <a:gd name="T43" fmla="*/ 476 h 546"/>
                <a:gd name="T44" fmla="*/ 200 w 545"/>
                <a:gd name="T45" fmla="*/ 479 h 546"/>
                <a:gd name="T46" fmla="*/ 217 w 545"/>
                <a:gd name="T47" fmla="*/ 519 h 546"/>
                <a:gd name="T48" fmla="*/ 303 w 545"/>
                <a:gd name="T49" fmla="*/ 546 h 546"/>
                <a:gd name="T50" fmla="*/ 327 w 545"/>
                <a:gd name="T51" fmla="*/ 505 h 546"/>
                <a:gd name="T52" fmla="*/ 367 w 545"/>
                <a:gd name="T53" fmla="*/ 470 h 546"/>
                <a:gd name="T54" fmla="*/ 408 w 545"/>
                <a:gd name="T55" fmla="*/ 486 h 546"/>
                <a:gd name="T56" fmla="*/ 487 w 545"/>
                <a:gd name="T57" fmla="*/ 444 h 546"/>
                <a:gd name="T58" fmla="*/ 475 w 545"/>
                <a:gd name="T59" fmla="*/ 398 h 546"/>
                <a:gd name="T60" fmla="*/ 478 w 545"/>
                <a:gd name="T61" fmla="*/ 346 h 546"/>
                <a:gd name="T62" fmla="*/ 521 w 545"/>
                <a:gd name="T63" fmla="*/ 32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5" h="546">
                  <a:moveTo>
                    <a:pt x="545" y="304"/>
                  </a:moveTo>
                  <a:lnTo>
                    <a:pt x="545" y="242"/>
                  </a:lnTo>
                  <a:cubicBezTo>
                    <a:pt x="545" y="229"/>
                    <a:pt x="534" y="218"/>
                    <a:pt x="521" y="218"/>
                  </a:cubicBezTo>
                  <a:lnTo>
                    <a:pt x="504" y="218"/>
                  </a:lnTo>
                  <a:cubicBezTo>
                    <a:pt x="492" y="218"/>
                    <a:pt x="482" y="211"/>
                    <a:pt x="478" y="200"/>
                  </a:cubicBezTo>
                  <a:cubicBezTo>
                    <a:pt x="476" y="193"/>
                    <a:pt x="473" y="185"/>
                    <a:pt x="469" y="178"/>
                  </a:cubicBezTo>
                  <a:cubicBezTo>
                    <a:pt x="464" y="168"/>
                    <a:pt x="467" y="156"/>
                    <a:pt x="474" y="149"/>
                  </a:cubicBezTo>
                  <a:lnTo>
                    <a:pt x="485" y="138"/>
                  </a:lnTo>
                  <a:cubicBezTo>
                    <a:pt x="496" y="127"/>
                    <a:pt x="496" y="111"/>
                    <a:pt x="487" y="102"/>
                  </a:cubicBezTo>
                  <a:lnTo>
                    <a:pt x="443" y="58"/>
                  </a:lnTo>
                  <a:cubicBezTo>
                    <a:pt x="434" y="49"/>
                    <a:pt x="419" y="49"/>
                    <a:pt x="409" y="58"/>
                  </a:cubicBezTo>
                  <a:lnTo>
                    <a:pt x="397" y="70"/>
                  </a:lnTo>
                  <a:cubicBezTo>
                    <a:pt x="389" y="78"/>
                    <a:pt x="377" y="81"/>
                    <a:pt x="367" y="76"/>
                  </a:cubicBezTo>
                  <a:cubicBezTo>
                    <a:pt x="359" y="72"/>
                    <a:pt x="352" y="69"/>
                    <a:pt x="344" y="67"/>
                  </a:cubicBezTo>
                  <a:cubicBezTo>
                    <a:pt x="334" y="63"/>
                    <a:pt x="327" y="53"/>
                    <a:pt x="327" y="42"/>
                  </a:cubicBezTo>
                  <a:lnTo>
                    <a:pt x="327" y="27"/>
                  </a:lnTo>
                  <a:cubicBezTo>
                    <a:pt x="327" y="11"/>
                    <a:pt x="316" y="0"/>
                    <a:pt x="303" y="0"/>
                  </a:cubicBezTo>
                  <a:lnTo>
                    <a:pt x="241" y="0"/>
                  </a:lnTo>
                  <a:cubicBezTo>
                    <a:pt x="228" y="0"/>
                    <a:pt x="217" y="11"/>
                    <a:pt x="217" y="24"/>
                  </a:cubicBezTo>
                  <a:lnTo>
                    <a:pt x="217" y="41"/>
                  </a:lnTo>
                  <a:cubicBezTo>
                    <a:pt x="217" y="53"/>
                    <a:pt x="210" y="63"/>
                    <a:pt x="200" y="67"/>
                  </a:cubicBezTo>
                  <a:cubicBezTo>
                    <a:pt x="192" y="70"/>
                    <a:pt x="184" y="73"/>
                    <a:pt x="177" y="76"/>
                  </a:cubicBezTo>
                  <a:cubicBezTo>
                    <a:pt x="167" y="81"/>
                    <a:pt x="156" y="79"/>
                    <a:pt x="148" y="71"/>
                  </a:cubicBezTo>
                  <a:lnTo>
                    <a:pt x="137" y="60"/>
                  </a:lnTo>
                  <a:cubicBezTo>
                    <a:pt x="126" y="49"/>
                    <a:pt x="111" y="49"/>
                    <a:pt x="101" y="58"/>
                  </a:cubicBezTo>
                  <a:lnTo>
                    <a:pt x="58" y="102"/>
                  </a:lnTo>
                  <a:cubicBezTo>
                    <a:pt x="48" y="111"/>
                    <a:pt x="48" y="127"/>
                    <a:pt x="58" y="136"/>
                  </a:cubicBezTo>
                  <a:lnTo>
                    <a:pt x="70" y="148"/>
                  </a:lnTo>
                  <a:cubicBezTo>
                    <a:pt x="78" y="156"/>
                    <a:pt x="80" y="168"/>
                    <a:pt x="75" y="179"/>
                  </a:cubicBezTo>
                  <a:cubicBezTo>
                    <a:pt x="72" y="186"/>
                    <a:pt x="69" y="193"/>
                    <a:pt x="66" y="200"/>
                  </a:cubicBezTo>
                  <a:cubicBezTo>
                    <a:pt x="62" y="211"/>
                    <a:pt x="52" y="218"/>
                    <a:pt x="41" y="218"/>
                  </a:cubicBezTo>
                  <a:lnTo>
                    <a:pt x="24" y="218"/>
                  </a:lnTo>
                  <a:cubicBezTo>
                    <a:pt x="10" y="218"/>
                    <a:pt x="0" y="229"/>
                    <a:pt x="0" y="242"/>
                  </a:cubicBezTo>
                  <a:lnTo>
                    <a:pt x="0" y="304"/>
                  </a:lnTo>
                  <a:cubicBezTo>
                    <a:pt x="0" y="317"/>
                    <a:pt x="10" y="328"/>
                    <a:pt x="24" y="328"/>
                  </a:cubicBezTo>
                  <a:lnTo>
                    <a:pt x="41" y="328"/>
                  </a:lnTo>
                  <a:cubicBezTo>
                    <a:pt x="52" y="328"/>
                    <a:pt x="62" y="335"/>
                    <a:pt x="66" y="346"/>
                  </a:cubicBezTo>
                  <a:cubicBezTo>
                    <a:pt x="69" y="353"/>
                    <a:pt x="72" y="361"/>
                    <a:pt x="76" y="368"/>
                  </a:cubicBezTo>
                  <a:cubicBezTo>
                    <a:pt x="80" y="378"/>
                    <a:pt x="78" y="390"/>
                    <a:pt x="70" y="397"/>
                  </a:cubicBezTo>
                  <a:lnTo>
                    <a:pt x="59" y="408"/>
                  </a:lnTo>
                  <a:cubicBezTo>
                    <a:pt x="48" y="419"/>
                    <a:pt x="48" y="434"/>
                    <a:pt x="58" y="444"/>
                  </a:cubicBezTo>
                  <a:lnTo>
                    <a:pt x="101" y="488"/>
                  </a:lnTo>
                  <a:cubicBezTo>
                    <a:pt x="111" y="497"/>
                    <a:pt x="126" y="497"/>
                    <a:pt x="135" y="488"/>
                  </a:cubicBezTo>
                  <a:lnTo>
                    <a:pt x="147" y="476"/>
                  </a:lnTo>
                  <a:cubicBezTo>
                    <a:pt x="155" y="467"/>
                    <a:pt x="168" y="465"/>
                    <a:pt x="178" y="470"/>
                  </a:cubicBezTo>
                  <a:cubicBezTo>
                    <a:pt x="185" y="474"/>
                    <a:pt x="193" y="477"/>
                    <a:pt x="200" y="479"/>
                  </a:cubicBezTo>
                  <a:cubicBezTo>
                    <a:pt x="211" y="483"/>
                    <a:pt x="217" y="493"/>
                    <a:pt x="217" y="504"/>
                  </a:cubicBezTo>
                  <a:lnTo>
                    <a:pt x="217" y="519"/>
                  </a:lnTo>
                  <a:cubicBezTo>
                    <a:pt x="217" y="535"/>
                    <a:pt x="228" y="546"/>
                    <a:pt x="241" y="546"/>
                  </a:cubicBezTo>
                  <a:lnTo>
                    <a:pt x="303" y="546"/>
                  </a:lnTo>
                  <a:cubicBezTo>
                    <a:pt x="316" y="546"/>
                    <a:pt x="327" y="535"/>
                    <a:pt x="327" y="522"/>
                  </a:cubicBezTo>
                  <a:lnTo>
                    <a:pt x="327" y="505"/>
                  </a:lnTo>
                  <a:cubicBezTo>
                    <a:pt x="327" y="493"/>
                    <a:pt x="334" y="483"/>
                    <a:pt x="345" y="479"/>
                  </a:cubicBezTo>
                  <a:cubicBezTo>
                    <a:pt x="353" y="476"/>
                    <a:pt x="360" y="473"/>
                    <a:pt x="367" y="470"/>
                  </a:cubicBezTo>
                  <a:cubicBezTo>
                    <a:pt x="377" y="465"/>
                    <a:pt x="389" y="467"/>
                    <a:pt x="397" y="475"/>
                  </a:cubicBezTo>
                  <a:lnTo>
                    <a:pt x="408" y="486"/>
                  </a:lnTo>
                  <a:cubicBezTo>
                    <a:pt x="419" y="497"/>
                    <a:pt x="434" y="497"/>
                    <a:pt x="443" y="488"/>
                  </a:cubicBezTo>
                  <a:lnTo>
                    <a:pt x="487" y="444"/>
                  </a:lnTo>
                  <a:cubicBezTo>
                    <a:pt x="496" y="434"/>
                    <a:pt x="496" y="419"/>
                    <a:pt x="487" y="410"/>
                  </a:cubicBezTo>
                  <a:lnTo>
                    <a:pt x="475" y="398"/>
                  </a:lnTo>
                  <a:cubicBezTo>
                    <a:pt x="467" y="390"/>
                    <a:pt x="464" y="377"/>
                    <a:pt x="469" y="367"/>
                  </a:cubicBezTo>
                  <a:cubicBezTo>
                    <a:pt x="473" y="360"/>
                    <a:pt x="476" y="353"/>
                    <a:pt x="478" y="346"/>
                  </a:cubicBezTo>
                  <a:cubicBezTo>
                    <a:pt x="482" y="335"/>
                    <a:pt x="492" y="328"/>
                    <a:pt x="504" y="328"/>
                  </a:cubicBezTo>
                  <a:lnTo>
                    <a:pt x="521" y="328"/>
                  </a:lnTo>
                  <a:cubicBezTo>
                    <a:pt x="534" y="328"/>
                    <a:pt x="545" y="317"/>
                    <a:pt x="545" y="304"/>
                  </a:cubicBez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4" name="Freeform 82">
              <a:extLst>
                <a:ext uri="{FF2B5EF4-FFF2-40B4-BE49-F238E27FC236}">
                  <a16:creationId xmlns:a16="http://schemas.microsoft.com/office/drawing/2014/main" id="{058FE027-E796-451B-AD4F-B88C3AD047CD}"/>
                </a:ext>
              </a:extLst>
            </p:cNvPr>
            <p:cNvSpPr>
              <a:spLocks/>
            </p:cNvSpPr>
            <p:nvPr/>
          </p:nvSpPr>
          <p:spPr bwMode="auto">
            <a:xfrm>
              <a:off x="5245100" y="1879600"/>
              <a:ext cx="182563" cy="182563"/>
            </a:xfrm>
            <a:custGeom>
              <a:avLst/>
              <a:gdLst>
                <a:gd name="T0" fmla="*/ 154 w 269"/>
                <a:gd name="T1" fmla="*/ 257 h 270"/>
                <a:gd name="T2" fmla="*/ 12 w 269"/>
                <a:gd name="T3" fmla="*/ 115 h 270"/>
                <a:gd name="T4" fmla="*/ 115 w 269"/>
                <a:gd name="T5" fmla="*/ 13 h 270"/>
                <a:gd name="T6" fmla="*/ 256 w 269"/>
                <a:gd name="T7" fmla="*/ 154 h 270"/>
                <a:gd name="T8" fmla="*/ 154 w 269"/>
                <a:gd name="T9" fmla="*/ 257 h 270"/>
              </a:gdLst>
              <a:ahLst/>
              <a:cxnLst>
                <a:cxn ang="0">
                  <a:pos x="T0" y="T1"/>
                </a:cxn>
                <a:cxn ang="0">
                  <a:pos x="T2" y="T3"/>
                </a:cxn>
                <a:cxn ang="0">
                  <a:pos x="T4" y="T5"/>
                </a:cxn>
                <a:cxn ang="0">
                  <a:pos x="T6" y="T7"/>
                </a:cxn>
                <a:cxn ang="0">
                  <a:pos x="T8" y="T9"/>
                </a:cxn>
              </a:cxnLst>
              <a:rect l="0" t="0" r="r" b="b"/>
              <a:pathLst>
                <a:path w="269" h="270">
                  <a:moveTo>
                    <a:pt x="154" y="257"/>
                  </a:moveTo>
                  <a:cubicBezTo>
                    <a:pt x="70" y="270"/>
                    <a:pt x="0" y="199"/>
                    <a:pt x="12" y="115"/>
                  </a:cubicBezTo>
                  <a:cubicBezTo>
                    <a:pt x="20" y="63"/>
                    <a:pt x="63" y="21"/>
                    <a:pt x="115" y="13"/>
                  </a:cubicBezTo>
                  <a:cubicBezTo>
                    <a:pt x="198" y="0"/>
                    <a:pt x="269" y="71"/>
                    <a:pt x="256" y="154"/>
                  </a:cubicBezTo>
                  <a:cubicBezTo>
                    <a:pt x="248" y="206"/>
                    <a:pt x="206" y="249"/>
                    <a:pt x="154" y="257"/>
                  </a:cubicBez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5" name="Freeform 83">
              <a:extLst>
                <a:ext uri="{FF2B5EF4-FFF2-40B4-BE49-F238E27FC236}">
                  <a16:creationId xmlns:a16="http://schemas.microsoft.com/office/drawing/2014/main" id="{21A47EE8-EB4A-46CD-A145-AB04551DAA11}"/>
                </a:ext>
              </a:extLst>
            </p:cNvPr>
            <p:cNvSpPr>
              <a:spLocks noEditPoints="1"/>
            </p:cNvSpPr>
            <p:nvPr/>
          </p:nvSpPr>
          <p:spPr bwMode="auto">
            <a:xfrm>
              <a:off x="5018088" y="1652588"/>
              <a:ext cx="666750" cy="654050"/>
            </a:xfrm>
            <a:custGeom>
              <a:avLst/>
              <a:gdLst>
                <a:gd name="T0" fmla="*/ 471 w 988"/>
                <a:gd name="T1" fmla="*/ 17 h 969"/>
                <a:gd name="T2" fmla="*/ 150 w 988"/>
                <a:gd name="T3" fmla="*/ 150 h 969"/>
                <a:gd name="T4" fmla="*/ 17 w 988"/>
                <a:gd name="T5" fmla="*/ 471 h 969"/>
                <a:gd name="T6" fmla="*/ 150 w 988"/>
                <a:gd name="T7" fmla="*/ 792 h 969"/>
                <a:gd name="T8" fmla="*/ 793 w 988"/>
                <a:gd name="T9" fmla="*/ 792 h 969"/>
                <a:gd name="T10" fmla="*/ 793 w 988"/>
                <a:gd name="T11" fmla="*/ 150 h 969"/>
                <a:gd name="T12" fmla="*/ 471 w 988"/>
                <a:gd name="T13" fmla="*/ 17 h 969"/>
                <a:gd name="T14" fmla="*/ 471 w 988"/>
                <a:gd name="T15" fmla="*/ 942 h 969"/>
                <a:gd name="T16" fmla="*/ 138 w 988"/>
                <a:gd name="T17" fmla="*/ 804 h 969"/>
                <a:gd name="T18" fmla="*/ 0 w 988"/>
                <a:gd name="T19" fmla="*/ 471 h 969"/>
                <a:gd name="T20" fmla="*/ 138 w 988"/>
                <a:gd name="T21" fmla="*/ 138 h 969"/>
                <a:gd name="T22" fmla="*/ 471 w 988"/>
                <a:gd name="T23" fmla="*/ 0 h 969"/>
                <a:gd name="T24" fmla="*/ 804 w 988"/>
                <a:gd name="T25" fmla="*/ 138 h 969"/>
                <a:gd name="T26" fmla="*/ 804 w 988"/>
                <a:gd name="T27" fmla="*/ 804 h 969"/>
                <a:gd name="T28" fmla="*/ 471 w 988"/>
                <a:gd name="T29" fmla="*/ 942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8" h="969">
                  <a:moveTo>
                    <a:pt x="471" y="17"/>
                  </a:moveTo>
                  <a:cubicBezTo>
                    <a:pt x="350" y="17"/>
                    <a:pt x="236" y="64"/>
                    <a:pt x="150" y="150"/>
                  </a:cubicBezTo>
                  <a:cubicBezTo>
                    <a:pt x="64" y="235"/>
                    <a:pt x="17" y="350"/>
                    <a:pt x="17" y="471"/>
                  </a:cubicBezTo>
                  <a:cubicBezTo>
                    <a:pt x="17" y="592"/>
                    <a:pt x="64" y="706"/>
                    <a:pt x="150" y="792"/>
                  </a:cubicBezTo>
                  <a:cubicBezTo>
                    <a:pt x="327" y="969"/>
                    <a:pt x="615" y="969"/>
                    <a:pt x="793" y="792"/>
                  </a:cubicBezTo>
                  <a:cubicBezTo>
                    <a:pt x="970" y="615"/>
                    <a:pt x="970" y="327"/>
                    <a:pt x="793" y="150"/>
                  </a:cubicBezTo>
                  <a:cubicBezTo>
                    <a:pt x="707" y="64"/>
                    <a:pt x="593" y="17"/>
                    <a:pt x="471" y="17"/>
                  </a:cubicBezTo>
                  <a:close/>
                  <a:moveTo>
                    <a:pt x="471" y="942"/>
                  </a:moveTo>
                  <a:cubicBezTo>
                    <a:pt x="351" y="942"/>
                    <a:pt x="230" y="896"/>
                    <a:pt x="138" y="804"/>
                  </a:cubicBezTo>
                  <a:cubicBezTo>
                    <a:pt x="49" y="715"/>
                    <a:pt x="0" y="597"/>
                    <a:pt x="0" y="471"/>
                  </a:cubicBezTo>
                  <a:cubicBezTo>
                    <a:pt x="0" y="345"/>
                    <a:pt x="49" y="227"/>
                    <a:pt x="138" y="138"/>
                  </a:cubicBezTo>
                  <a:cubicBezTo>
                    <a:pt x="227" y="49"/>
                    <a:pt x="345" y="0"/>
                    <a:pt x="471" y="0"/>
                  </a:cubicBezTo>
                  <a:cubicBezTo>
                    <a:pt x="597" y="0"/>
                    <a:pt x="715" y="49"/>
                    <a:pt x="804" y="138"/>
                  </a:cubicBezTo>
                  <a:cubicBezTo>
                    <a:pt x="988" y="322"/>
                    <a:pt x="988" y="620"/>
                    <a:pt x="804" y="804"/>
                  </a:cubicBezTo>
                  <a:cubicBezTo>
                    <a:pt x="713" y="896"/>
                    <a:pt x="592" y="942"/>
                    <a:pt x="471" y="942"/>
                  </a:cubicBez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6" name="Freeform 84">
              <a:extLst>
                <a:ext uri="{FF2B5EF4-FFF2-40B4-BE49-F238E27FC236}">
                  <a16:creationId xmlns:a16="http://schemas.microsoft.com/office/drawing/2014/main" id="{930475FE-7D03-4649-BBB4-36DD56D46FE4}"/>
                </a:ext>
              </a:extLst>
            </p:cNvPr>
            <p:cNvSpPr>
              <a:spLocks noEditPoints="1"/>
            </p:cNvSpPr>
            <p:nvPr/>
          </p:nvSpPr>
          <p:spPr bwMode="auto">
            <a:xfrm>
              <a:off x="5070475" y="1716088"/>
              <a:ext cx="531813" cy="520700"/>
            </a:xfrm>
            <a:custGeom>
              <a:avLst/>
              <a:gdLst>
                <a:gd name="T0" fmla="*/ 393 w 787"/>
                <a:gd name="T1" fmla="*/ 17 h 770"/>
                <a:gd name="T2" fmla="*/ 140 w 787"/>
                <a:gd name="T3" fmla="*/ 122 h 770"/>
                <a:gd name="T4" fmla="*/ 140 w 787"/>
                <a:gd name="T5" fmla="*/ 630 h 770"/>
                <a:gd name="T6" fmla="*/ 647 w 787"/>
                <a:gd name="T7" fmla="*/ 630 h 770"/>
                <a:gd name="T8" fmla="*/ 647 w 787"/>
                <a:gd name="T9" fmla="*/ 122 h 770"/>
                <a:gd name="T10" fmla="*/ 393 w 787"/>
                <a:gd name="T11" fmla="*/ 17 h 770"/>
                <a:gd name="T12" fmla="*/ 393 w 787"/>
                <a:gd name="T13" fmla="*/ 751 h 770"/>
                <a:gd name="T14" fmla="*/ 128 w 787"/>
                <a:gd name="T15" fmla="*/ 641 h 770"/>
                <a:gd name="T16" fmla="*/ 18 w 787"/>
                <a:gd name="T17" fmla="*/ 376 h 770"/>
                <a:gd name="T18" fmla="*/ 128 w 787"/>
                <a:gd name="T19" fmla="*/ 110 h 770"/>
                <a:gd name="T20" fmla="*/ 393 w 787"/>
                <a:gd name="T21" fmla="*/ 0 h 770"/>
                <a:gd name="T22" fmla="*/ 659 w 787"/>
                <a:gd name="T23" fmla="*/ 110 h 770"/>
                <a:gd name="T24" fmla="*/ 769 w 787"/>
                <a:gd name="T25" fmla="*/ 376 h 770"/>
                <a:gd name="T26" fmla="*/ 659 w 787"/>
                <a:gd name="T27" fmla="*/ 641 h 770"/>
                <a:gd name="T28" fmla="*/ 393 w 787"/>
                <a:gd name="T29" fmla="*/ 751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7" h="770">
                  <a:moveTo>
                    <a:pt x="393" y="17"/>
                  </a:moveTo>
                  <a:cubicBezTo>
                    <a:pt x="301" y="17"/>
                    <a:pt x="209" y="52"/>
                    <a:pt x="140" y="122"/>
                  </a:cubicBezTo>
                  <a:cubicBezTo>
                    <a:pt x="0" y="262"/>
                    <a:pt x="0" y="490"/>
                    <a:pt x="140" y="630"/>
                  </a:cubicBezTo>
                  <a:cubicBezTo>
                    <a:pt x="279" y="770"/>
                    <a:pt x="507" y="770"/>
                    <a:pt x="647" y="630"/>
                  </a:cubicBezTo>
                  <a:cubicBezTo>
                    <a:pt x="787" y="490"/>
                    <a:pt x="787" y="262"/>
                    <a:pt x="647" y="122"/>
                  </a:cubicBezTo>
                  <a:cubicBezTo>
                    <a:pt x="577" y="52"/>
                    <a:pt x="485" y="17"/>
                    <a:pt x="393" y="17"/>
                  </a:cubicBezTo>
                  <a:close/>
                  <a:moveTo>
                    <a:pt x="393" y="751"/>
                  </a:moveTo>
                  <a:cubicBezTo>
                    <a:pt x="293" y="751"/>
                    <a:pt x="199" y="712"/>
                    <a:pt x="128" y="641"/>
                  </a:cubicBezTo>
                  <a:cubicBezTo>
                    <a:pt x="57" y="571"/>
                    <a:pt x="18" y="476"/>
                    <a:pt x="18" y="376"/>
                  </a:cubicBezTo>
                  <a:cubicBezTo>
                    <a:pt x="18" y="276"/>
                    <a:pt x="57" y="181"/>
                    <a:pt x="128" y="110"/>
                  </a:cubicBezTo>
                  <a:cubicBezTo>
                    <a:pt x="199" y="39"/>
                    <a:pt x="293" y="0"/>
                    <a:pt x="393" y="0"/>
                  </a:cubicBezTo>
                  <a:cubicBezTo>
                    <a:pt x="494" y="0"/>
                    <a:pt x="588" y="39"/>
                    <a:pt x="659" y="110"/>
                  </a:cubicBezTo>
                  <a:cubicBezTo>
                    <a:pt x="730" y="181"/>
                    <a:pt x="769" y="276"/>
                    <a:pt x="769" y="376"/>
                  </a:cubicBezTo>
                  <a:cubicBezTo>
                    <a:pt x="769" y="476"/>
                    <a:pt x="730" y="571"/>
                    <a:pt x="659" y="641"/>
                  </a:cubicBezTo>
                  <a:cubicBezTo>
                    <a:pt x="588" y="712"/>
                    <a:pt x="494" y="751"/>
                    <a:pt x="393" y="751"/>
                  </a:cubicBez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7" name="Freeform 85">
              <a:extLst>
                <a:ext uri="{FF2B5EF4-FFF2-40B4-BE49-F238E27FC236}">
                  <a16:creationId xmlns:a16="http://schemas.microsoft.com/office/drawing/2014/main" id="{EA8123CC-680E-4691-B832-CBC79A368AB9}"/>
                </a:ext>
              </a:extLst>
            </p:cNvPr>
            <p:cNvSpPr>
              <a:spLocks noEditPoints="1"/>
            </p:cNvSpPr>
            <p:nvPr/>
          </p:nvSpPr>
          <p:spPr bwMode="auto">
            <a:xfrm>
              <a:off x="5564188" y="2198688"/>
              <a:ext cx="252413" cy="252413"/>
            </a:xfrm>
            <a:custGeom>
              <a:avLst/>
              <a:gdLst>
                <a:gd name="T0" fmla="*/ 24 w 374"/>
                <a:gd name="T1" fmla="*/ 125 h 373"/>
                <a:gd name="T2" fmla="*/ 235 w 374"/>
                <a:gd name="T3" fmla="*/ 336 h 373"/>
                <a:gd name="T4" fmla="*/ 285 w 374"/>
                <a:gd name="T5" fmla="*/ 357 h 373"/>
                <a:gd name="T6" fmla="*/ 336 w 374"/>
                <a:gd name="T7" fmla="*/ 336 h 373"/>
                <a:gd name="T8" fmla="*/ 357 w 374"/>
                <a:gd name="T9" fmla="*/ 285 h 373"/>
                <a:gd name="T10" fmla="*/ 336 w 374"/>
                <a:gd name="T11" fmla="*/ 234 h 373"/>
                <a:gd name="T12" fmla="*/ 125 w 374"/>
                <a:gd name="T13" fmla="*/ 23 h 373"/>
                <a:gd name="T14" fmla="*/ 24 w 374"/>
                <a:gd name="T15" fmla="*/ 125 h 373"/>
                <a:gd name="T16" fmla="*/ 285 w 374"/>
                <a:gd name="T17" fmla="*/ 373 h 373"/>
                <a:gd name="T18" fmla="*/ 223 w 374"/>
                <a:gd name="T19" fmla="*/ 347 h 373"/>
                <a:gd name="T20" fmla="*/ 0 w 374"/>
                <a:gd name="T21" fmla="*/ 125 h 373"/>
                <a:gd name="T22" fmla="*/ 125 w 374"/>
                <a:gd name="T23" fmla="*/ 0 h 373"/>
                <a:gd name="T24" fmla="*/ 348 w 374"/>
                <a:gd name="T25" fmla="*/ 222 h 373"/>
                <a:gd name="T26" fmla="*/ 374 w 374"/>
                <a:gd name="T27" fmla="*/ 285 h 373"/>
                <a:gd name="T28" fmla="*/ 348 w 374"/>
                <a:gd name="T29" fmla="*/ 347 h 373"/>
                <a:gd name="T30" fmla="*/ 285 w 374"/>
                <a:gd name="T31"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373">
                  <a:moveTo>
                    <a:pt x="24" y="125"/>
                  </a:moveTo>
                  <a:lnTo>
                    <a:pt x="235" y="336"/>
                  </a:lnTo>
                  <a:cubicBezTo>
                    <a:pt x="248" y="349"/>
                    <a:pt x="266" y="357"/>
                    <a:pt x="285" y="357"/>
                  </a:cubicBezTo>
                  <a:cubicBezTo>
                    <a:pt x="304" y="357"/>
                    <a:pt x="322" y="349"/>
                    <a:pt x="336" y="336"/>
                  </a:cubicBezTo>
                  <a:cubicBezTo>
                    <a:pt x="349" y="322"/>
                    <a:pt x="357" y="304"/>
                    <a:pt x="357" y="285"/>
                  </a:cubicBezTo>
                  <a:cubicBezTo>
                    <a:pt x="357" y="266"/>
                    <a:pt x="349" y="248"/>
                    <a:pt x="336" y="234"/>
                  </a:cubicBezTo>
                  <a:lnTo>
                    <a:pt x="125" y="23"/>
                  </a:lnTo>
                  <a:lnTo>
                    <a:pt x="24" y="125"/>
                  </a:lnTo>
                  <a:close/>
                  <a:moveTo>
                    <a:pt x="285" y="373"/>
                  </a:moveTo>
                  <a:cubicBezTo>
                    <a:pt x="262" y="373"/>
                    <a:pt x="240" y="364"/>
                    <a:pt x="223" y="347"/>
                  </a:cubicBezTo>
                  <a:lnTo>
                    <a:pt x="0" y="125"/>
                  </a:lnTo>
                  <a:lnTo>
                    <a:pt x="125" y="0"/>
                  </a:lnTo>
                  <a:lnTo>
                    <a:pt x="348" y="222"/>
                  </a:lnTo>
                  <a:cubicBezTo>
                    <a:pt x="364" y="239"/>
                    <a:pt x="374" y="261"/>
                    <a:pt x="374" y="285"/>
                  </a:cubicBezTo>
                  <a:cubicBezTo>
                    <a:pt x="374" y="309"/>
                    <a:pt x="364" y="331"/>
                    <a:pt x="348" y="347"/>
                  </a:cubicBezTo>
                  <a:cubicBezTo>
                    <a:pt x="331" y="364"/>
                    <a:pt x="309" y="373"/>
                    <a:pt x="285" y="373"/>
                  </a:cubicBez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8" name="Freeform 86">
              <a:extLst>
                <a:ext uri="{FF2B5EF4-FFF2-40B4-BE49-F238E27FC236}">
                  <a16:creationId xmlns:a16="http://schemas.microsoft.com/office/drawing/2014/main" id="{A03CE849-CD92-4EE5-9D9E-E47E81748106}"/>
                </a:ext>
              </a:extLst>
            </p:cNvPr>
            <p:cNvSpPr>
              <a:spLocks/>
            </p:cNvSpPr>
            <p:nvPr/>
          </p:nvSpPr>
          <p:spPr bwMode="auto">
            <a:xfrm>
              <a:off x="5532438" y="2206625"/>
              <a:ext cx="58738" cy="58738"/>
            </a:xfrm>
            <a:custGeom>
              <a:avLst/>
              <a:gdLst>
                <a:gd name="T0" fmla="*/ 32 w 37"/>
                <a:gd name="T1" fmla="*/ 37 h 37"/>
                <a:gd name="T2" fmla="*/ 0 w 37"/>
                <a:gd name="T3" fmla="*/ 5 h 37"/>
                <a:gd name="T4" fmla="*/ 5 w 37"/>
                <a:gd name="T5" fmla="*/ 0 h 37"/>
                <a:gd name="T6" fmla="*/ 37 w 37"/>
                <a:gd name="T7" fmla="*/ 32 h 37"/>
                <a:gd name="T8" fmla="*/ 32 w 37"/>
                <a:gd name="T9" fmla="*/ 37 h 37"/>
              </a:gdLst>
              <a:ahLst/>
              <a:cxnLst>
                <a:cxn ang="0">
                  <a:pos x="T0" y="T1"/>
                </a:cxn>
                <a:cxn ang="0">
                  <a:pos x="T2" y="T3"/>
                </a:cxn>
                <a:cxn ang="0">
                  <a:pos x="T4" y="T5"/>
                </a:cxn>
                <a:cxn ang="0">
                  <a:pos x="T6" y="T7"/>
                </a:cxn>
                <a:cxn ang="0">
                  <a:pos x="T8" y="T9"/>
                </a:cxn>
              </a:cxnLst>
              <a:rect l="0" t="0" r="r" b="b"/>
              <a:pathLst>
                <a:path w="37" h="37">
                  <a:moveTo>
                    <a:pt x="32" y="37"/>
                  </a:moveTo>
                  <a:lnTo>
                    <a:pt x="0" y="5"/>
                  </a:lnTo>
                  <a:lnTo>
                    <a:pt x="5" y="0"/>
                  </a:lnTo>
                  <a:lnTo>
                    <a:pt x="37" y="32"/>
                  </a:lnTo>
                  <a:lnTo>
                    <a:pt x="32" y="37"/>
                  </a:ln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59" name="Freeform 87">
              <a:extLst>
                <a:ext uri="{FF2B5EF4-FFF2-40B4-BE49-F238E27FC236}">
                  <a16:creationId xmlns:a16="http://schemas.microsoft.com/office/drawing/2014/main" id="{62204D9E-3F51-4100-B1E6-082C3EC88AB0}"/>
                </a:ext>
              </a:extLst>
            </p:cNvPr>
            <p:cNvSpPr>
              <a:spLocks/>
            </p:cNvSpPr>
            <p:nvPr/>
          </p:nvSpPr>
          <p:spPr bwMode="auto">
            <a:xfrm>
              <a:off x="5572125" y="2166938"/>
              <a:ext cx="58738" cy="58738"/>
            </a:xfrm>
            <a:custGeom>
              <a:avLst/>
              <a:gdLst>
                <a:gd name="T0" fmla="*/ 32 w 37"/>
                <a:gd name="T1" fmla="*/ 37 h 37"/>
                <a:gd name="T2" fmla="*/ 0 w 37"/>
                <a:gd name="T3" fmla="*/ 5 h 37"/>
                <a:gd name="T4" fmla="*/ 5 w 37"/>
                <a:gd name="T5" fmla="*/ 0 h 37"/>
                <a:gd name="T6" fmla="*/ 37 w 37"/>
                <a:gd name="T7" fmla="*/ 32 h 37"/>
                <a:gd name="T8" fmla="*/ 32 w 37"/>
                <a:gd name="T9" fmla="*/ 37 h 37"/>
              </a:gdLst>
              <a:ahLst/>
              <a:cxnLst>
                <a:cxn ang="0">
                  <a:pos x="T0" y="T1"/>
                </a:cxn>
                <a:cxn ang="0">
                  <a:pos x="T2" y="T3"/>
                </a:cxn>
                <a:cxn ang="0">
                  <a:pos x="T4" y="T5"/>
                </a:cxn>
                <a:cxn ang="0">
                  <a:pos x="T6" y="T7"/>
                </a:cxn>
                <a:cxn ang="0">
                  <a:pos x="T8" y="T9"/>
                </a:cxn>
              </a:cxnLst>
              <a:rect l="0" t="0" r="r" b="b"/>
              <a:pathLst>
                <a:path w="37" h="37">
                  <a:moveTo>
                    <a:pt x="32" y="37"/>
                  </a:moveTo>
                  <a:lnTo>
                    <a:pt x="0" y="5"/>
                  </a:lnTo>
                  <a:lnTo>
                    <a:pt x="5" y="0"/>
                  </a:lnTo>
                  <a:lnTo>
                    <a:pt x="37" y="32"/>
                  </a:lnTo>
                  <a:lnTo>
                    <a:pt x="32" y="37"/>
                  </a:lnTo>
                  <a:close/>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60" name="Freeform 88">
              <a:extLst>
                <a:ext uri="{FF2B5EF4-FFF2-40B4-BE49-F238E27FC236}">
                  <a16:creationId xmlns:a16="http://schemas.microsoft.com/office/drawing/2014/main" id="{33953A2E-DB6F-44A6-BCEC-A6A7DF234DB0}"/>
                </a:ext>
              </a:extLst>
            </p:cNvPr>
            <p:cNvSpPr>
              <a:spLocks noEditPoints="1"/>
            </p:cNvSpPr>
            <p:nvPr/>
          </p:nvSpPr>
          <p:spPr bwMode="auto">
            <a:xfrm>
              <a:off x="5146675" y="1781175"/>
              <a:ext cx="379413" cy="379413"/>
            </a:xfrm>
            <a:custGeom>
              <a:avLst/>
              <a:gdLst>
                <a:gd name="T0" fmla="*/ 212 w 562"/>
                <a:gd name="T1" fmla="*/ 479 h 562"/>
                <a:gd name="T2" fmla="*/ 250 w 562"/>
                <a:gd name="T3" fmla="*/ 545 h 562"/>
                <a:gd name="T4" fmla="*/ 328 w 562"/>
                <a:gd name="T5" fmla="*/ 513 h 562"/>
                <a:gd name="T6" fmla="*/ 411 w 562"/>
                <a:gd name="T7" fmla="*/ 477 h 562"/>
                <a:gd name="T8" fmla="*/ 446 w 562"/>
                <a:gd name="T9" fmla="*/ 490 h 562"/>
                <a:gd name="T10" fmla="*/ 478 w 562"/>
                <a:gd name="T11" fmla="*/ 412 h 562"/>
                <a:gd name="T12" fmla="*/ 513 w 562"/>
                <a:gd name="T13" fmla="*/ 328 h 562"/>
                <a:gd name="T14" fmla="*/ 546 w 562"/>
                <a:gd name="T15" fmla="*/ 250 h 562"/>
                <a:gd name="T16" fmla="*/ 479 w 562"/>
                <a:gd name="T17" fmla="*/ 211 h 562"/>
                <a:gd name="T18" fmla="*/ 488 w 562"/>
                <a:gd name="T19" fmla="*/ 140 h 562"/>
                <a:gd name="T20" fmla="*/ 446 w 562"/>
                <a:gd name="T21" fmla="*/ 72 h 562"/>
                <a:gd name="T22" fmla="*/ 372 w 562"/>
                <a:gd name="T23" fmla="*/ 91 h 562"/>
                <a:gd name="T24" fmla="*/ 328 w 562"/>
                <a:gd name="T25" fmla="*/ 35 h 562"/>
                <a:gd name="T26" fmla="*/ 235 w 562"/>
                <a:gd name="T27" fmla="*/ 32 h 562"/>
                <a:gd name="T28" fmla="*/ 190 w 562"/>
                <a:gd name="T29" fmla="*/ 92 h 562"/>
                <a:gd name="T30" fmla="*/ 127 w 562"/>
                <a:gd name="T31" fmla="*/ 68 h 562"/>
                <a:gd name="T32" fmla="*/ 68 w 562"/>
                <a:gd name="T33" fmla="*/ 127 h 562"/>
                <a:gd name="T34" fmla="*/ 92 w 562"/>
                <a:gd name="T35" fmla="*/ 190 h 562"/>
                <a:gd name="T36" fmla="*/ 33 w 562"/>
                <a:gd name="T37" fmla="*/ 234 h 562"/>
                <a:gd name="T38" fmla="*/ 33 w 562"/>
                <a:gd name="T39" fmla="*/ 328 h 562"/>
                <a:gd name="T40" fmla="*/ 92 w 562"/>
                <a:gd name="T41" fmla="*/ 372 h 562"/>
                <a:gd name="T42" fmla="*/ 68 w 562"/>
                <a:gd name="T43" fmla="*/ 435 h 562"/>
                <a:gd name="T44" fmla="*/ 138 w 562"/>
                <a:gd name="T45" fmla="*/ 490 h 562"/>
                <a:gd name="T46" fmla="*/ 312 w 562"/>
                <a:gd name="T47" fmla="*/ 562 h 562"/>
                <a:gd name="T48" fmla="*/ 218 w 562"/>
                <a:gd name="T49" fmla="*/ 512 h 562"/>
                <a:gd name="T50" fmla="*/ 162 w 562"/>
                <a:gd name="T51" fmla="*/ 489 h 562"/>
                <a:gd name="T52" fmla="*/ 61 w 562"/>
                <a:gd name="T53" fmla="*/ 458 h 562"/>
                <a:gd name="T54" fmla="*/ 77 w 562"/>
                <a:gd name="T55" fmla="*/ 380 h 562"/>
                <a:gd name="T56" fmla="*/ 33 w 562"/>
                <a:gd name="T57" fmla="*/ 344 h 562"/>
                <a:gd name="T58" fmla="*/ 33 w 562"/>
                <a:gd name="T59" fmla="*/ 218 h 562"/>
                <a:gd name="T60" fmla="*/ 77 w 562"/>
                <a:gd name="T61" fmla="*/ 183 h 562"/>
                <a:gd name="T62" fmla="*/ 61 w 562"/>
                <a:gd name="T63" fmla="*/ 104 h 562"/>
                <a:gd name="T64" fmla="*/ 163 w 562"/>
                <a:gd name="T65" fmla="*/ 73 h 562"/>
                <a:gd name="T66" fmla="*/ 218 w 562"/>
                <a:gd name="T67" fmla="*/ 49 h 562"/>
                <a:gd name="T68" fmla="*/ 312 w 562"/>
                <a:gd name="T69" fmla="*/ 0 h 562"/>
                <a:gd name="T70" fmla="*/ 356 w 562"/>
                <a:gd name="T71" fmla="*/ 67 h 562"/>
                <a:gd name="T72" fmla="*/ 412 w 562"/>
                <a:gd name="T73" fmla="*/ 60 h 562"/>
                <a:gd name="T74" fmla="*/ 500 w 562"/>
                <a:gd name="T75" fmla="*/ 151 h 562"/>
                <a:gd name="T76" fmla="*/ 495 w 562"/>
                <a:gd name="T77" fmla="*/ 205 h 562"/>
                <a:gd name="T78" fmla="*/ 562 w 562"/>
                <a:gd name="T79" fmla="*/ 250 h 562"/>
                <a:gd name="T80" fmla="*/ 513 w 562"/>
                <a:gd name="T81" fmla="*/ 344 h 562"/>
                <a:gd name="T82" fmla="*/ 490 w 562"/>
                <a:gd name="T83" fmla="*/ 400 h 562"/>
                <a:gd name="T84" fmla="*/ 458 w 562"/>
                <a:gd name="T85" fmla="*/ 501 h 562"/>
                <a:gd name="T86" fmla="*/ 400 w 562"/>
                <a:gd name="T87" fmla="*/ 489 h 562"/>
                <a:gd name="T88" fmla="*/ 345 w 562"/>
                <a:gd name="T89" fmla="*/ 513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62">
                  <a:moveTo>
                    <a:pt x="176" y="467"/>
                  </a:moveTo>
                  <a:cubicBezTo>
                    <a:pt x="181" y="467"/>
                    <a:pt x="186" y="468"/>
                    <a:pt x="191" y="471"/>
                  </a:cubicBezTo>
                  <a:cubicBezTo>
                    <a:pt x="198" y="474"/>
                    <a:pt x="205" y="477"/>
                    <a:pt x="212" y="479"/>
                  </a:cubicBezTo>
                  <a:cubicBezTo>
                    <a:pt x="226" y="484"/>
                    <a:pt x="235" y="497"/>
                    <a:pt x="235" y="512"/>
                  </a:cubicBezTo>
                  <a:lnTo>
                    <a:pt x="235" y="527"/>
                  </a:lnTo>
                  <a:cubicBezTo>
                    <a:pt x="235" y="538"/>
                    <a:pt x="241" y="545"/>
                    <a:pt x="250" y="545"/>
                  </a:cubicBezTo>
                  <a:lnTo>
                    <a:pt x="312" y="545"/>
                  </a:lnTo>
                  <a:cubicBezTo>
                    <a:pt x="321" y="545"/>
                    <a:pt x="328" y="538"/>
                    <a:pt x="328" y="530"/>
                  </a:cubicBezTo>
                  <a:lnTo>
                    <a:pt x="328" y="513"/>
                  </a:lnTo>
                  <a:cubicBezTo>
                    <a:pt x="328" y="497"/>
                    <a:pt x="337" y="484"/>
                    <a:pt x="351" y="479"/>
                  </a:cubicBezTo>
                  <a:cubicBezTo>
                    <a:pt x="359" y="476"/>
                    <a:pt x="366" y="474"/>
                    <a:pt x="373" y="470"/>
                  </a:cubicBezTo>
                  <a:cubicBezTo>
                    <a:pt x="386" y="464"/>
                    <a:pt x="401" y="467"/>
                    <a:pt x="411" y="477"/>
                  </a:cubicBezTo>
                  <a:lnTo>
                    <a:pt x="423" y="488"/>
                  </a:lnTo>
                  <a:cubicBezTo>
                    <a:pt x="426" y="492"/>
                    <a:pt x="431" y="494"/>
                    <a:pt x="435" y="494"/>
                  </a:cubicBezTo>
                  <a:cubicBezTo>
                    <a:pt x="439" y="494"/>
                    <a:pt x="443" y="493"/>
                    <a:pt x="446" y="490"/>
                  </a:cubicBezTo>
                  <a:lnTo>
                    <a:pt x="490" y="446"/>
                  </a:lnTo>
                  <a:cubicBezTo>
                    <a:pt x="496" y="440"/>
                    <a:pt x="496" y="430"/>
                    <a:pt x="490" y="424"/>
                  </a:cubicBezTo>
                  <a:lnTo>
                    <a:pt x="478" y="412"/>
                  </a:lnTo>
                  <a:cubicBezTo>
                    <a:pt x="467" y="401"/>
                    <a:pt x="464" y="385"/>
                    <a:pt x="471" y="372"/>
                  </a:cubicBezTo>
                  <a:cubicBezTo>
                    <a:pt x="474" y="365"/>
                    <a:pt x="477" y="358"/>
                    <a:pt x="479" y="351"/>
                  </a:cubicBezTo>
                  <a:cubicBezTo>
                    <a:pt x="484" y="337"/>
                    <a:pt x="498" y="328"/>
                    <a:pt x="513" y="328"/>
                  </a:cubicBezTo>
                  <a:lnTo>
                    <a:pt x="530" y="328"/>
                  </a:lnTo>
                  <a:cubicBezTo>
                    <a:pt x="539" y="328"/>
                    <a:pt x="546" y="321"/>
                    <a:pt x="546" y="312"/>
                  </a:cubicBezTo>
                  <a:lnTo>
                    <a:pt x="546" y="250"/>
                  </a:lnTo>
                  <a:cubicBezTo>
                    <a:pt x="546" y="241"/>
                    <a:pt x="539" y="234"/>
                    <a:pt x="530" y="234"/>
                  </a:cubicBezTo>
                  <a:lnTo>
                    <a:pt x="513" y="234"/>
                  </a:lnTo>
                  <a:cubicBezTo>
                    <a:pt x="498" y="234"/>
                    <a:pt x="484" y="225"/>
                    <a:pt x="479" y="211"/>
                  </a:cubicBezTo>
                  <a:cubicBezTo>
                    <a:pt x="477" y="204"/>
                    <a:pt x="474" y="196"/>
                    <a:pt x="471" y="190"/>
                  </a:cubicBezTo>
                  <a:cubicBezTo>
                    <a:pt x="464" y="177"/>
                    <a:pt x="467" y="161"/>
                    <a:pt x="477" y="151"/>
                  </a:cubicBezTo>
                  <a:lnTo>
                    <a:pt x="488" y="140"/>
                  </a:lnTo>
                  <a:cubicBezTo>
                    <a:pt x="492" y="136"/>
                    <a:pt x="494" y="131"/>
                    <a:pt x="494" y="127"/>
                  </a:cubicBezTo>
                  <a:cubicBezTo>
                    <a:pt x="495" y="123"/>
                    <a:pt x="493" y="119"/>
                    <a:pt x="490" y="116"/>
                  </a:cubicBezTo>
                  <a:lnTo>
                    <a:pt x="446" y="72"/>
                  </a:lnTo>
                  <a:cubicBezTo>
                    <a:pt x="440" y="66"/>
                    <a:pt x="430" y="66"/>
                    <a:pt x="424" y="72"/>
                  </a:cubicBezTo>
                  <a:lnTo>
                    <a:pt x="412" y="84"/>
                  </a:lnTo>
                  <a:cubicBezTo>
                    <a:pt x="401" y="95"/>
                    <a:pt x="385" y="98"/>
                    <a:pt x="372" y="91"/>
                  </a:cubicBezTo>
                  <a:cubicBezTo>
                    <a:pt x="365" y="88"/>
                    <a:pt x="358" y="85"/>
                    <a:pt x="350" y="83"/>
                  </a:cubicBezTo>
                  <a:cubicBezTo>
                    <a:pt x="337" y="78"/>
                    <a:pt x="328" y="65"/>
                    <a:pt x="328" y="50"/>
                  </a:cubicBezTo>
                  <a:lnTo>
                    <a:pt x="328" y="35"/>
                  </a:lnTo>
                  <a:cubicBezTo>
                    <a:pt x="328" y="24"/>
                    <a:pt x="321" y="17"/>
                    <a:pt x="312" y="17"/>
                  </a:cubicBezTo>
                  <a:lnTo>
                    <a:pt x="250" y="17"/>
                  </a:lnTo>
                  <a:cubicBezTo>
                    <a:pt x="242" y="17"/>
                    <a:pt x="235" y="24"/>
                    <a:pt x="235" y="32"/>
                  </a:cubicBezTo>
                  <a:lnTo>
                    <a:pt x="235" y="49"/>
                  </a:lnTo>
                  <a:cubicBezTo>
                    <a:pt x="235" y="64"/>
                    <a:pt x="225" y="78"/>
                    <a:pt x="211" y="83"/>
                  </a:cubicBezTo>
                  <a:cubicBezTo>
                    <a:pt x="204" y="85"/>
                    <a:pt x="197" y="88"/>
                    <a:pt x="190" y="92"/>
                  </a:cubicBezTo>
                  <a:cubicBezTo>
                    <a:pt x="177" y="98"/>
                    <a:pt x="161" y="95"/>
                    <a:pt x="151" y="85"/>
                  </a:cubicBezTo>
                  <a:lnTo>
                    <a:pt x="140" y="74"/>
                  </a:lnTo>
                  <a:cubicBezTo>
                    <a:pt x="136" y="70"/>
                    <a:pt x="132" y="68"/>
                    <a:pt x="127" y="68"/>
                  </a:cubicBezTo>
                  <a:cubicBezTo>
                    <a:pt x="123" y="68"/>
                    <a:pt x="119" y="69"/>
                    <a:pt x="116" y="72"/>
                  </a:cubicBezTo>
                  <a:lnTo>
                    <a:pt x="73" y="116"/>
                  </a:lnTo>
                  <a:cubicBezTo>
                    <a:pt x="70" y="119"/>
                    <a:pt x="68" y="123"/>
                    <a:pt x="68" y="127"/>
                  </a:cubicBezTo>
                  <a:cubicBezTo>
                    <a:pt x="68" y="131"/>
                    <a:pt x="70" y="135"/>
                    <a:pt x="73" y="138"/>
                  </a:cubicBezTo>
                  <a:lnTo>
                    <a:pt x="85" y="150"/>
                  </a:lnTo>
                  <a:cubicBezTo>
                    <a:pt x="95" y="161"/>
                    <a:pt x="98" y="177"/>
                    <a:pt x="92" y="190"/>
                  </a:cubicBezTo>
                  <a:cubicBezTo>
                    <a:pt x="88" y="197"/>
                    <a:pt x="86" y="204"/>
                    <a:pt x="83" y="211"/>
                  </a:cubicBezTo>
                  <a:cubicBezTo>
                    <a:pt x="78" y="225"/>
                    <a:pt x="65" y="234"/>
                    <a:pt x="50" y="234"/>
                  </a:cubicBezTo>
                  <a:lnTo>
                    <a:pt x="33" y="234"/>
                  </a:lnTo>
                  <a:cubicBezTo>
                    <a:pt x="24" y="234"/>
                    <a:pt x="17" y="241"/>
                    <a:pt x="17" y="250"/>
                  </a:cubicBezTo>
                  <a:lnTo>
                    <a:pt x="17" y="312"/>
                  </a:lnTo>
                  <a:cubicBezTo>
                    <a:pt x="17" y="321"/>
                    <a:pt x="24" y="328"/>
                    <a:pt x="33" y="328"/>
                  </a:cubicBezTo>
                  <a:lnTo>
                    <a:pt x="50" y="328"/>
                  </a:lnTo>
                  <a:cubicBezTo>
                    <a:pt x="65" y="328"/>
                    <a:pt x="78" y="337"/>
                    <a:pt x="83" y="351"/>
                  </a:cubicBezTo>
                  <a:cubicBezTo>
                    <a:pt x="86" y="358"/>
                    <a:pt x="89" y="365"/>
                    <a:pt x="92" y="372"/>
                  </a:cubicBezTo>
                  <a:cubicBezTo>
                    <a:pt x="98" y="385"/>
                    <a:pt x="96" y="401"/>
                    <a:pt x="85" y="411"/>
                  </a:cubicBezTo>
                  <a:lnTo>
                    <a:pt x="74" y="422"/>
                  </a:lnTo>
                  <a:cubicBezTo>
                    <a:pt x="70" y="426"/>
                    <a:pt x="68" y="430"/>
                    <a:pt x="68" y="435"/>
                  </a:cubicBezTo>
                  <a:cubicBezTo>
                    <a:pt x="68" y="439"/>
                    <a:pt x="70" y="443"/>
                    <a:pt x="73" y="446"/>
                  </a:cubicBezTo>
                  <a:lnTo>
                    <a:pt x="116" y="490"/>
                  </a:lnTo>
                  <a:cubicBezTo>
                    <a:pt x="122" y="496"/>
                    <a:pt x="132" y="496"/>
                    <a:pt x="138" y="490"/>
                  </a:cubicBezTo>
                  <a:lnTo>
                    <a:pt x="150" y="478"/>
                  </a:lnTo>
                  <a:cubicBezTo>
                    <a:pt x="157" y="471"/>
                    <a:pt x="166" y="467"/>
                    <a:pt x="176" y="467"/>
                  </a:cubicBezTo>
                  <a:close/>
                  <a:moveTo>
                    <a:pt x="312" y="562"/>
                  </a:moveTo>
                  <a:lnTo>
                    <a:pt x="250" y="562"/>
                  </a:lnTo>
                  <a:cubicBezTo>
                    <a:pt x="232" y="562"/>
                    <a:pt x="218" y="547"/>
                    <a:pt x="218" y="527"/>
                  </a:cubicBezTo>
                  <a:lnTo>
                    <a:pt x="218" y="512"/>
                  </a:lnTo>
                  <a:cubicBezTo>
                    <a:pt x="218" y="504"/>
                    <a:pt x="213" y="497"/>
                    <a:pt x="207" y="495"/>
                  </a:cubicBezTo>
                  <a:cubicBezTo>
                    <a:pt x="199" y="492"/>
                    <a:pt x="191" y="489"/>
                    <a:pt x="183" y="486"/>
                  </a:cubicBezTo>
                  <a:cubicBezTo>
                    <a:pt x="176" y="482"/>
                    <a:pt x="168" y="484"/>
                    <a:pt x="162" y="489"/>
                  </a:cubicBezTo>
                  <a:lnTo>
                    <a:pt x="150" y="501"/>
                  </a:lnTo>
                  <a:cubicBezTo>
                    <a:pt x="138" y="514"/>
                    <a:pt x="117" y="514"/>
                    <a:pt x="105" y="501"/>
                  </a:cubicBezTo>
                  <a:lnTo>
                    <a:pt x="61" y="458"/>
                  </a:lnTo>
                  <a:cubicBezTo>
                    <a:pt x="48" y="445"/>
                    <a:pt x="48" y="424"/>
                    <a:pt x="62" y="410"/>
                  </a:cubicBezTo>
                  <a:lnTo>
                    <a:pt x="73" y="399"/>
                  </a:lnTo>
                  <a:cubicBezTo>
                    <a:pt x="79" y="394"/>
                    <a:pt x="80" y="386"/>
                    <a:pt x="77" y="380"/>
                  </a:cubicBezTo>
                  <a:cubicBezTo>
                    <a:pt x="73" y="372"/>
                    <a:pt x="70" y="364"/>
                    <a:pt x="67" y="356"/>
                  </a:cubicBezTo>
                  <a:cubicBezTo>
                    <a:pt x="65" y="349"/>
                    <a:pt x="58" y="344"/>
                    <a:pt x="50" y="344"/>
                  </a:cubicBezTo>
                  <a:lnTo>
                    <a:pt x="33" y="344"/>
                  </a:lnTo>
                  <a:cubicBezTo>
                    <a:pt x="15" y="344"/>
                    <a:pt x="0" y="330"/>
                    <a:pt x="0" y="312"/>
                  </a:cubicBezTo>
                  <a:lnTo>
                    <a:pt x="0" y="250"/>
                  </a:lnTo>
                  <a:cubicBezTo>
                    <a:pt x="0" y="232"/>
                    <a:pt x="15" y="218"/>
                    <a:pt x="33" y="218"/>
                  </a:cubicBezTo>
                  <a:lnTo>
                    <a:pt x="50" y="218"/>
                  </a:lnTo>
                  <a:cubicBezTo>
                    <a:pt x="58" y="218"/>
                    <a:pt x="65" y="213"/>
                    <a:pt x="67" y="205"/>
                  </a:cubicBezTo>
                  <a:cubicBezTo>
                    <a:pt x="70" y="198"/>
                    <a:pt x="73" y="190"/>
                    <a:pt x="77" y="183"/>
                  </a:cubicBezTo>
                  <a:cubicBezTo>
                    <a:pt x="80" y="176"/>
                    <a:pt x="78" y="168"/>
                    <a:pt x="73" y="162"/>
                  </a:cubicBezTo>
                  <a:lnTo>
                    <a:pt x="61" y="150"/>
                  </a:lnTo>
                  <a:cubicBezTo>
                    <a:pt x="48" y="137"/>
                    <a:pt x="48" y="117"/>
                    <a:pt x="61" y="104"/>
                  </a:cubicBezTo>
                  <a:lnTo>
                    <a:pt x="105" y="60"/>
                  </a:lnTo>
                  <a:cubicBezTo>
                    <a:pt x="118" y="47"/>
                    <a:pt x="138" y="48"/>
                    <a:pt x="152" y="62"/>
                  </a:cubicBezTo>
                  <a:lnTo>
                    <a:pt x="163" y="73"/>
                  </a:lnTo>
                  <a:cubicBezTo>
                    <a:pt x="168" y="78"/>
                    <a:pt x="176" y="80"/>
                    <a:pt x="183" y="77"/>
                  </a:cubicBezTo>
                  <a:cubicBezTo>
                    <a:pt x="190" y="73"/>
                    <a:pt x="198" y="70"/>
                    <a:pt x="206" y="67"/>
                  </a:cubicBezTo>
                  <a:cubicBezTo>
                    <a:pt x="213" y="64"/>
                    <a:pt x="218" y="57"/>
                    <a:pt x="218" y="49"/>
                  </a:cubicBezTo>
                  <a:lnTo>
                    <a:pt x="218" y="32"/>
                  </a:lnTo>
                  <a:cubicBezTo>
                    <a:pt x="218" y="14"/>
                    <a:pt x="233" y="0"/>
                    <a:pt x="250" y="0"/>
                  </a:cubicBezTo>
                  <a:lnTo>
                    <a:pt x="312" y="0"/>
                  </a:lnTo>
                  <a:cubicBezTo>
                    <a:pt x="331" y="0"/>
                    <a:pt x="345" y="15"/>
                    <a:pt x="345" y="35"/>
                  </a:cubicBezTo>
                  <a:lnTo>
                    <a:pt x="345" y="50"/>
                  </a:lnTo>
                  <a:cubicBezTo>
                    <a:pt x="345" y="58"/>
                    <a:pt x="349" y="64"/>
                    <a:pt x="356" y="67"/>
                  </a:cubicBezTo>
                  <a:cubicBezTo>
                    <a:pt x="364" y="70"/>
                    <a:pt x="372" y="73"/>
                    <a:pt x="379" y="76"/>
                  </a:cubicBezTo>
                  <a:cubicBezTo>
                    <a:pt x="386" y="80"/>
                    <a:pt x="395" y="78"/>
                    <a:pt x="400" y="72"/>
                  </a:cubicBezTo>
                  <a:lnTo>
                    <a:pt x="412" y="60"/>
                  </a:lnTo>
                  <a:cubicBezTo>
                    <a:pt x="425" y="48"/>
                    <a:pt x="446" y="48"/>
                    <a:pt x="458" y="60"/>
                  </a:cubicBezTo>
                  <a:lnTo>
                    <a:pt x="502" y="104"/>
                  </a:lnTo>
                  <a:cubicBezTo>
                    <a:pt x="515" y="117"/>
                    <a:pt x="514" y="138"/>
                    <a:pt x="500" y="151"/>
                  </a:cubicBezTo>
                  <a:lnTo>
                    <a:pt x="489" y="163"/>
                  </a:lnTo>
                  <a:cubicBezTo>
                    <a:pt x="484" y="168"/>
                    <a:pt x="482" y="176"/>
                    <a:pt x="486" y="182"/>
                  </a:cubicBezTo>
                  <a:cubicBezTo>
                    <a:pt x="489" y="190"/>
                    <a:pt x="492" y="197"/>
                    <a:pt x="495" y="205"/>
                  </a:cubicBezTo>
                  <a:cubicBezTo>
                    <a:pt x="498" y="213"/>
                    <a:pt x="505" y="218"/>
                    <a:pt x="513" y="218"/>
                  </a:cubicBezTo>
                  <a:lnTo>
                    <a:pt x="530" y="218"/>
                  </a:lnTo>
                  <a:cubicBezTo>
                    <a:pt x="548" y="218"/>
                    <a:pt x="562" y="232"/>
                    <a:pt x="562" y="250"/>
                  </a:cubicBezTo>
                  <a:lnTo>
                    <a:pt x="562" y="312"/>
                  </a:lnTo>
                  <a:cubicBezTo>
                    <a:pt x="562" y="330"/>
                    <a:pt x="548" y="344"/>
                    <a:pt x="530" y="344"/>
                  </a:cubicBezTo>
                  <a:lnTo>
                    <a:pt x="513" y="344"/>
                  </a:lnTo>
                  <a:cubicBezTo>
                    <a:pt x="505" y="344"/>
                    <a:pt x="498" y="349"/>
                    <a:pt x="495" y="356"/>
                  </a:cubicBezTo>
                  <a:cubicBezTo>
                    <a:pt x="493" y="364"/>
                    <a:pt x="489" y="371"/>
                    <a:pt x="486" y="379"/>
                  </a:cubicBezTo>
                  <a:cubicBezTo>
                    <a:pt x="483" y="386"/>
                    <a:pt x="484" y="394"/>
                    <a:pt x="490" y="400"/>
                  </a:cubicBezTo>
                  <a:lnTo>
                    <a:pt x="502" y="412"/>
                  </a:lnTo>
                  <a:cubicBezTo>
                    <a:pt x="514" y="425"/>
                    <a:pt x="514" y="445"/>
                    <a:pt x="502" y="458"/>
                  </a:cubicBezTo>
                  <a:lnTo>
                    <a:pt x="458" y="501"/>
                  </a:lnTo>
                  <a:cubicBezTo>
                    <a:pt x="452" y="508"/>
                    <a:pt x="443" y="511"/>
                    <a:pt x="435" y="511"/>
                  </a:cubicBezTo>
                  <a:cubicBezTo>
                    <a:pt x="426" y="510"/>
                    <a:pt x="417" y="507"/>
                    <a:pt x="411" y="500"/>
                  </a:cubicBezTo>
                  <a:lnTo>
                    <a:pt x="400" y="489"/>
                  </a:lnTo>
                  <a:cubicBezTo>
                    <a:pt x="394" y="483"/>
                    <a:pt x="386" y="482"/>
                    <a:pt x="380" y="485"/>
                  </a:cubicBezTo>
                  <a:cubicBezTo>
                    <a:pt x="372" y="489"/>
                    <a:pt x="365" y="492"/>
                    <a:pt x="357" y="495"/>
                  </a:cubicBezTo>
                  <a:cubicBezTo>
                    <a:pt x="349" y="497"/>
                    <a:pt x="345" y="505"/>
                    <a:pt x="345" y="513"/>
                  </a:cubicBezTo>
                  <a:lnTo>
                    <a:pt x="345" y="530"/>
                  </a:lnTo>
                  <a:cubicBezTo>
                    <a:pt x="345" y="547"/>
                    <a:pt x="330" y="562"/>
                    <a:pt x="312" y="562"/>
                  </a:cubicBez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sp>
          <p:nvSpPr>
            <p:cNvPr id="161" name="Freeform 89">
              <a:extLst>
                <a:ext uri="{FF2B5EF4-FFF2-40B4-BE49-F238E27FC236}">
                  <a16:creationId xmlns:a16="http://schemas.microsoft.com/office/drawing/2014/main" id="{33C1DD66-E27A-4878-A68F-FDDB3F976B92}"/>
                </a:ext>
              </a:extLst>
            </p:cNvPr>
            <p:cNvSpPr>
              <a:spLocks noEditPoints="1"/>
            </p:cNvSpPr>
            <p:nvPr/>
          </p:nvSpPr>
          <p:spPr bwMode="auto">
            <a:xfrm>
              <a:off x="5245100" y="1878013"/>
              <a:ext cx="184150" cy="180975"/>
            </a:xfrm>
            <a:custGeom>
              <a:avLst/>
              <a:gdLst>
                <a:gd name="T0" fmla="*/ 136 w 273"/>
                <a:gd name="T1" fmla="*/ 22 h 269"/>
                <a:gd name="T2" fmla="*/ 118 w 273"/>
                <a:gd name="T3" fmla="*/ 23 h 269"/>
                <a:gd name="T4" fmla="*/ 23 w 273"/>
                <a:gd name="T5" fmla="*/ 119 h 269"/>
                <a:gd name="T6" fmla="*/ 55 w 273"/>
                <a:gd name="T7" fmla="*/ 218 h 269"/>
                <a:gd name="T8" fmla="*/ 155 w 273"/>
                <a:gd name="T9" fmla="*/ 251 h 269"/>
                <a:gd name="T10" fmla="*/ 250 w 273"/>
                <a:gd name="T11" fmla="*/ 155 h 269"/>
                <a:gd name="T12" fmla="*/ 218 w 273"/>
                <a:gd name="T13" fmla="*/ 56 h 269"/>
                <a:gd name="T14" fmla="*/ 136 w 273"/>
                <a:gd name="T15" fmla="*/ 22 h 269"/>
                <a:gd name="T16" fmla="*/ 136 w 273"/>
                <a:gd name="T17" fmla="*/ 269 h 269"/>
                <a:gd name="T18" fmla="*/ 43 w 273"/>
                <a:gd name="T19" fmla="*/ 230 h 269"/>
                <a:gd name="T20" fmla="*/ 6 w 273"/>
                <a:gd name="T21" fmla="*/ 116 h 269"/>
                <a:gd name="T22" fmla="*/ 116 w 273"/>
                <a:gd name="T23" fmla="*/ 7 h 269"/>
                <a:gd name="T24" fmla="*/ 229 w 273"/>
                <a:gd name="T25" fmla="*/ 44 h 269"/>
                <a:gd name="T26" fmla="*/ 266 w 273"/>
                <a:gd name="T27" fmla="*/ 158 h 269"/>
                <a:gd name="T28" fmla="*/ 157 w 273"/>
                <a:gd name="T29" fmla="*/ 267 h 269"/>
                <a:gd name="T30" fmla="*/ 156 w 273"/>
                <a:gd name="T31" fmla="*/ 259 h 269"/>
                <a:gd name="T32" fmla="*/ 157 w 273"/>
                <a:gd name="T33" fmla="*/ 267 h 269"/>
                <a:gd name="T34" fmla="*/ 136 w 273"/>
                <a:gd name="T35"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269">
                  <a:moveTo>
                    <a:pt x="136" y="22"/>
                  </a:moveTo>
                  <a:cubicBezTo>
                    <a:pt x="130" y="22"/>
                    <a:pt x="124" y="22"/>
                    <a:pt x="118" y="23"/>
                  </a:cubicBezTo>
                  <a:cubicBezTo>
                    <a:pt x="69" y="31"/>
                    <a:pt x="30" y="70"/>
                    <a:pt x="23" y="119"/>
                  </a:cubicBezTo>
                  <a:cubicBezTo>
                    <a:pt x="17" y="156"/>
                    <a:pt x="29" y="192"/>
                    <a:pt x="55" y="218"/>
                  </a:cubicBezTo>
                  <a:cubicBezTo>
                    <a:pt x="81" y="244"/>
                    <a:pt x="117" y="256"/>
                    <a:pt x="155" y="251"/>
                  </a:cubicBezTo>
                  <a:cubicBezTo>
                    <a:pt x="203" y="243"/>
                    <a:pt x="242" y="204"/>
                    <a:pt x="250" y="155"/>
                  </a:cubicBezTo>
                  <a:cubicBezTo>
                    <a:pt x="256" y="118"/>
                    <a:pt x="244" y="82"/>
                    <a:pt x="218" y="56"/>
                  </a:cubicBezTo>
                  <a:cubicBezTo>
                    <a:pt x="196" y="34"/>
                    <a:pt x="167" y="22"/>
                    <a:pt x="136" y="22"/>
                  </a:cubicBezTo>
                  <a:close/>
                  <a:moveTo>
                    <a:pt x="136" y="269"/>
                  </a:moveTo>
                  <a:cubicBezTo>
                    <a:pt x="101" y="269"/>
                    <a:pt x="68" y="255"/>
                    <a:pt x="43" y="230"/>
                  </a:cubicBezTo>
                  <a:cubicBezTo>
                    <a:pt x="13" y="200"/>
                    <a:pt x="0" y="159"/>
                    <a:pt x="6" y="116"/>
                  </a:cubicBezTo>
                  <a:cubicBezTo>
                    <a:pt x="15" y="60"/>
                    <a:pt x="60" y="15"/>
                    <a:pt x="116" y="7"/>
                  </a:cubicBezTo>
                  <a:cubicBezTo>
                    <a:pt x="158" y="0"/>
                    <a:pt x="199" y="14"/>
                    <a:pt x="229" y="44"/>
                  </a:cubicBezTo>
                  <a:cubicBezTo>
                    <a:pt x="259" y="74"/>
                    <a:pt x="273" y="115"/>
                    <a:pt x="266" y="158"/>
                  </a:cubicBezTo>
                  <a:cubicBezTo>
                    <a:pt x="258" y="214"/>
                    <a:pt x="213" y="258"/>
                    <a:pt x="157" y="267"/>
                  </a:cubicBezTo>
                  <a:lnTo>
                    <a:pt x="156" y="259"/>
                  </a:lnTo>
                  <a:lnTo>
                    <a:pt x="157" y="267"/>
                  </a:lnTo>
                  <a:cubicBezTo>
                    <a:pt x="150" y="268"/>
                    <a:pt x="143" y="269"/>
                    <a:pt x="136" y="269"/>
                  </a:cubicBezTo>
                </a:path>
              </a:pathLst>
            </a:custGeom>
            <a:grpFill/>
            <a:ln w="9525">
              <a:solidFill>
                <a:schemeClr val="lt1"/>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200" kern="1200" dirty="0">
                <a:solidFill>
                  <a:prstClr val="black"/>
                </a:solidFill>
                <a:ea typeface="+mn-ea"/>
                <a:cs typeface="+mn-cs"/>
              </a:endParaRPr>
            </a:p>
          </p:txBody>
        </p:sp>
      </p:grpSp>
      <p:sp>
        <p:nvSpPr>
          <p:cNvPr id="162" name="Rectangle 45">
            <a:extLst>
              <a:ext uri="{FF2B5EF4-FFF2-40B4-BE49-F238E27FC236}">
                <a16:creationId xmlns:a16="http://schemas.microsoft.com/office/drawing/2014/main" id="{441279AE-E4A6-43CC-9062-881468976B41}"/>
              </a:ext>
            </a:extLst>
          </p:cNvPr>
          <p:cNvSpPr>
            <a:spLocks noChangeArrowheads="1"/>
          </p:cNvSpPr>
          <p:nvPr/>
        </p:nvSpPr>
        <p:spPr bwMode="gray">
          <a:xfrm>
            <a:off x="6206200" y="1153143"/>
            <a:ext cx="2778243"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63" name="Google Shape;412;p18">
            <a:extLst>
              <a:ext uri="{FF2B5EF4-FFF2-40B4-BE49-F238E27FC236}">
                <a16:creationId xmlns:a16="http://schemas.microsoft.com/office/drawing/2014/main" id="{70F97829-C408-4E6C-8031-C71496B4E1BC}"/>
              </a:ext>
            </a:extLst>
          </p:cNvPr>
          <p:cNvSpPr txBox="1">
            <a:spLocks/>
          </p:cNvSpPr>
          <p:nvPr/>
        </p:nvSpPr>
        <p:spPr>
          <a:xfrm>
            <a:off x="6595910" y="1245701"/>
            <a:ext cx="2269269"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SVM</a:t>
            </a:r>
            <a:endParaRPr lang="en-US"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left)">
                                      <p:cBhvr>
                                        <p:cTn id="7" dur="500"/>
                                        <p:tgtEl>
                                          <p:spTgt spid="6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20"/>
                                        </p:tgtEl>
                                        <p:attrNameLst>
                                          <p:attrName>style.visibility</p:attrName>
                                        </p:attrNameLst>
                                      </p:cBhvr>
                                      <p:to>
                                        <p:strVal val="visible"/>
                                      </p:to>
                                    </p:set>
                                    <p:animEffect transition="in" filter="wipe(left)">
                                      <p:cBhvr>
                                        <p:cTn id="11" dur="500"/>
                                        <p:tgtEl>
                                          <p:spTgt spid="12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62"/>
                                        </p:tgtEl>
                                        <p:attrNameLst>
                                          <p:attrName>style.visibility</p:attrName>
                                        </p:attrNameLst>
                                      </p:cBhvr>
                                      <p:to>
                                        <p:strVal val="visible"/>
                                      </p:to>
                                    </p:set>
                                    <p:animEffect transition="in" filter="wipe(left)">
                                      <p:cBhvr>
                                        <p:cTn id="15"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120" grpId="0" animBg="1"/>
      <p:bldP spid="16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45">
            <a:extLst>
              <a:ext uri="{FF2B5EF4-FFF2-40B4-BE49-F238E27FC236}">
                <a16:creationId xmlns:a16="http://schemas.microsoft.com/office/drawing/2014/main" id="{7303A885-B93D-4DF5-8338-071ACAD35155}"/>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30" name="Google Shape;412;p18">
            <a:extLst>
              <a:ext uri="{FF2B5EF4-FFF2-40B4-BE49-F238E27FC236}">
                <a16:creationId xmlns:a16="http://schemas.microsoft.com/office/drawing/2014/main" id="{A7879615-32F4-4460-9EB7-FB7B88FC4AE8}"/>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KẾT LUẬN</a:t>
            </a:r>
            <a:endParaRPr lang="en-US" dirty="0">
              <a:solidFill>
                <a:schemeClr val="bg1"/>
              </a:solidFill>
            </a:endParaRPr>
          </a:p>
        </p:txBody>
      </p:sp>
      <p:pic>
        <p:nvPicPr>
          <p:cNvPr id="6" name="Picture 5">
            <a:extLst>
              <a:ext uri="{FF2B5EF4-FFF2-40B4-BE49-F238E27FC236}">
                <a16:creationId xmlns:a16="http://schemas.microsoft.com/office/drawing/2014/main" id="{A8C9EFA9-670A-42A3-A973-2714EABD3EE0}"/>
              </a:ext>
            </a:extLst>
          </p:cNvPr>
          <p:cNvPicPr>
            <a:picLocks noChangeAspect="1"/>
          </p:cNvPicPr>
          <p:nvPr/>
        </p:nvPicPr>
        <p:blipFill rotWithShape="1">
          <a:blip r:embed="rId4"/>
          <a:srcRect l="8373" t="7144" r="4079"/>
          <a:stretch/>
        </p:blipFill>
        <p:spPr>
          <a:xfrm>
            <a:off x="1765977" y="810099"/>
            <a:ext cx="5447599" cy="4333401"/>
          </a:xfrm>
          <a:prstGeom prst="rect">
            <a:avLst/>
          </a:prstGeom>
        </p:spPr>
      </p:pic>
    </p:spTree>
    <p:custDataLst>
      <p:tags r:id="rId1"/>
    </p:custDataLst>
    <p:extLst>
      <p:ext uri="{BB962C8B-B14F-4D97-AF65-F5344CB8AC3E}">
        <p14:creationId xmlns:p14="http://schemas.microsoft.com/office/powerpoint/2010/main" val="2038763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wipe(left)">
                                      <p:cBhvr>
                                        <p:cTn id="7"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59"/>
        <p:cNvGrpSpPr/>
        <p:nvPr/>
      </p:nvGrpSpPr>
      <p:grpSpPr>
        <a:xfrm>
          <a:off x="0" y="0"/>
          <a:ext cx="0" cy="0"/>
          <a:chOff x="0" y="0"/>
          <a:chExt cx="0" cy="0"/>
        </a:xfrm>
      </p:grpSpPr>
      <p:sp>
        <p:nvSpPr>
          <p:cNvPr id="88" name="Rectangle 45">
            <a:extLst>
              <a:ext uri="{FF2B5EF4-FFF2-40B4-BE49-F238E27FC236}">
                <a16:creationId xmlns:a16="http://schemas.microsoft.com/office/drawing/2014/main" id="{F4412117-A25F-4F32-A743-3C5C1825581E}"/>
              </a:ext>
            </a:extLst>
          </p:cNvPr>
          <p:cNvSpPr>
            <a:spLocks noChangeArrowheads="1"/>
          </p:cNvSpPr>
          <p:nvPr/>
        </p:nvSpPr>
        <p:spPr bwMode="gray">
          <a:xfrm>
            <a:off x="0" y="282563"/>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360" name="Google Shape;360;p18"/>
          <p:cNvSpPr/>
          <p:nvPr/>
        </p:nvSpPr>
        <p:spPr>
          <a:xfrm>
            <a:off x="457200" y="1324425"/>
            <a:ext cx="2889300" cy="3407700"/>
          </a:xfrm>
          <a:prstGeom prst="roundRect">
            <a:avLst>
              <a:gd name="adj" fmla="val 14082"/>
            </a:avLst>
          </a:prstGeom>
          <a:solidFill>
            <a:srgbClr val="E4EA27">
              <a:alpha val="2509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18"/>
          <p:cNvSpPr txBox="1"/>
          <p:nvPr/>
        </p:nvSpPr>
        <p:spPr>
          <a:xfrm>
            <a:off x="609577" y="1441213"/>
            <a:ext cx="2546700" cy="6501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600" b="1">
                <a:latin typeface="Tahoma" panose="020B0604030504040204" pitchFamily="34" charset="0"/>
                <a:ea typeface="Tahoma" panose="020B0604030504040204" pitchFamily="34" charset="0"/>
                <a:cs typeface="Tahoma" panose="020B0604030504040204" pitchFamily="34" charset="0"/>
              </a:rPr>
              <a:t>Theo báo cáo từ Kaspersky</a:t>
            </a:r>
          </a:p>
          <a:p>
            <a:pPr marL="0" lvl="0" indent="0" algn="ctr" rtl="0">
              <a:spcBef>
                <a:spcPts val="0"/>
              </a:spcBef>
              <a:spcAft>
                <a:spcPts val="0"/>
              </a:spcAft>
              <a:buNone/>
            </a:pPr>
            <a:r>
              <a:rPr lang="en-US" sz="900" b="1">
                <a:solidFill>
                  <a:srgbClr val="000000"/>
                </a:solidFill>
                <a:latin typeface="Tahoma" panose="020B0604030504040204" pitchFamily="34" charset="0"/>
                <a:ea typeface="Tahoma" panose="020B0604030504040204" pitchFamily="34" charset="0"/>
                <a:cs typeface="Tahoma" panose="020B0604030504040204" pitchFamily="34" charset="0"/>
                <a:sym typeface="Fira Sans Extra Condensed"/>
              </a:rPr>
              <a:t>(nguồn: Báo Thanh niên – 25/12/2024)</a:t>
            </a:r>
            <a:endParaRPr lang="en-US" sz="700" b="1">
              <a:solidFill>
                <a:srgbClr val="000000"/>
              </a:solidFill>
              <a:latin typeface="Tahoma" panose="020B0604030504040204" pitchFamily="34" charset="0"/>
              <a:ea typeface="Tahoma" panose="020B0604030504040204" pitchFamily="34" charset="0"/>
              <a:cs typeface="Tahoma" panose="020B0604030504040204" pitchFamily="34" charset="0"/>
              <a:sym typeface="Fira Sans Extra Condensed"/>
            </a:endParaRPr>
          </a:p>
        </p:txBody>
      </p:sp>
      <p:grpSp>
        <p:nvGrpSpPr>
          <p:cNvPr id="362" name="Google Shape;362;p18"/>
          <p:cNvGrpSpPr/>
          <p:nvPr/>
        </p:nvGrpSpPr>
        <p:grpSpPr>
          <a:xfrm>
            <a:off x="851113" y="2915825"/>
            <a:ext cx="2133450" cy="1431550"/>
            <a:chOff x="851113" y="2915825"/>
            <a:chExt cx="2133450" cy="1431550"/>
          </a:xfrm>
        </p:grpSpPr>
        <p:sp>
          <p:nvSpPr>
            <p:cNvPr id="363" name="Google Shape;363;p18"/>
            <p:cNvSpPr/>
            <p:nvPr/>
          </p:nvSpPr>
          <p:spPr>
            <a:xfrm>
              <a:off x="863938" y="3086225"/>
              <a:ext cx="2076150" cy="1071900"/>
            </a:xfrm>
            <a:custGeom>
              <a:avLst/>
              <a:gdLst/>
              <a:ahLst/>
              <a:cxnLst/>
              <a:rect l="l" t="t" r="r" b="b"/>
              <a:pathLst>
                <a:path w="83046" h="42876" extrusionOk="0">
                  <a:moveTo>
                    <a:pt x="40299" y="1"/>
                  </a:moveTo>
                  <a:lnTo>
                    <a:pt x="39445" y="15"/>
                  </a:lnTo>
                  <a:lnTo>
                    <a:pt x="38592" y="44"/>
                  </a:lnTo>
                  <a:lnTo>
                    <a:pt x="37752" y="100"/>
                  </a:lnTo>
                  <a:lnTo>
                    <a:pt x="36912" y="157"/>
                  </a:lnTo>
                  <a:lnTo>
                    <a:pt x="36087" y="243"/>
                  </a:lnTo>
                  <a:lnTo>
                    <a:pt x="35262" y="328"/>
                  </a:lnTo>
                  <a:lnTo>
                    <a:pt x="34436" y="442"/>
                  </a:lnTo>
                  <a:lnTo>
                    <a:pt x="33640" y="570"/>
                  </a:lnTo>
                  <a:lnTo>
                    <a:pt x="32843" y="698"/>
                  </a:lnTo>
                  <a:lnTo>
                    <a:pt x="32046" y="855"/>
                  </a:lnTo>
                  <a:lnTo>
                    <a:pt x="31263" y="1025"/>
                  </a:lnTo>
                  <a:lnTo>
                    <a:pt x="30481" y="1196"/>
                  </a:lnTo>
                  <a:lnTo>
                    <a:pt x="29712" y="1395"/>
                  </a:lnTo>
                  <a:lnTo>
                    <a:pt x="28958" y="1595"/>
                  </a:lnTo>
                  <a:lnTo>
                    <a:pt x="28204" y="1808"/>
                  </a:lnTo>
                  <a:lnTo>
                    <a:pt x="27464" y="2036"/>
                  </a:lnTo>
                  <a:lnTo>
                    <a:pt x="26724" y="2263"/>
                  </a:lnTo>
                  <a:lnTo>
                    <a:pt x="25998" y="2520"/>
                  </a:lnTo>
                  <a:lnTo>
                    <a:pt x="25272" y="2776"/>
                  </a:lnTo>
                  <a:lnTo>
                    <a:pt x="24575" y="3032"/>
                  </a:lnTo>
                  <a:lnTo>
                    <a:pt x="23864" y="3316"/>
                  </a:lnTo>
                  <a:lnTo>
                    <a:pt x="23181" y="3601"/>
                  </a:lnTo>
                  <a:lnTo>
                    <a:pt x="22483" y="3886"/>
                  </a:lnTo>
                  <a:lnTo>
                    <a:pt x="21815" y="4184"/>
                  </a:lnTo>
                  <a:lnTo>
                    <a:pt x="21146" y="4497"/>
                  </a:lnTo>
                  <a:lnTo>
                    <a:pt x="20491" y="4811"/>
                  </a:lnTo>
                  <a:lnTo>
                    <a:pt x="19837" y="5138"/>
                  </a:lnTo>
                  <a:lnTo>
                    <a:pt x="19196" y="5465"/>
                  </a:lnTo>
                  <a:lnTo>
                    <a:pt x="18570" y="5792"/>
                  </a:lnTo>
                  <a:lnTo>
                    <a:pt x="17944" y="6134"/>
                  </a:lnTo>
                  <a:lnTo>
                    <a:pt x="17332" y="6475"/>
                  </a:lnTo>
                  <a:lnTo>
                    <a:pt x="16137" y="7187"/>
                  </a:lnTo>
                  <a:lnTo>
                    <a:pt x="14984" y="7898"/>
                  </a:lnTo>
                  <a:lnTo>
                    <a:pt x="13860" y="8624"/>
                  </a:lnTo>
                  <a:lnTo>
                    <a:pt x="12779" y="9364"/>
                  </a:lnTo>
                  <a:lnTo>
                    <a:pt x="11740" y="10104"/>
                  </a:lnTo>
                  <a:lnTo>
                    <a:pt x="10729" y="10858"/>
                  </a:lnTo>
                  <a:lnTo>
                    <a:pt x="9776" y="11598"/>
                  </a:lnTo>
                  <a:lnTo>
                    <a:pt x="8851" y="12338"/>
                  </a:lnTo>
                  <a:lnTo>
                    <a:pt x="7983" y="13078"/>
                  </a:lnTo>
                  <a:lnTo>
                    <a:pt x="7143" y="13790"/>
                  </a:lnTo>
                  <a:lnTo>
                    <a:pt x="6347" y="14501"/>
                  </a:lnTo>
                  <a:lnTo>
                    <a:pt x="5607" y="15184"/>
                  </a:lnTo>
                  <a:lnTo>
                    <a:pt x="4895" y="15853"/>
                  </a:lnTo>
                  <a:lnTo>
                    <a:pt x="4241" y="16508"/>
                  </a:lnTo>
                  <a:lnTo>
                    <a:pt x="3629" y="17119"/>
                  </a:lnTo>
                  <a:lnTo>
                    <a:pt x="3060" y="17717"/>
                  </a:lnTo>
                  <a:lnTo>
                    <a:pt x="2533" y="18258"/>
                  </a:lnTo>
                  <a:lnTo>
                    <a:pt x="2063" y="18784"/>
                  </a:lnTo>
                  <a:lnTo>
                    <a:pt x="1637" y="19254"/>
                  </a:lnTo>
                  <a:lnTo>
                    <a:pt x="925" y="20079"/>
                  </a:lnTo>
                  <a:lnTo>
                    <a:pt x="413" y="20691"/>
                  </a:lnTo>
                  <a:lnTo>
                    <a:pt x="0" y="21218"/>
                  </a:lnTo>
                  <a:lnTo>
                    <a:pt x="1039" y="22342"/>
                  </a:lnTo>
                  <a:lnTo>
                    <a:pt x="2078" y="23423"/>
                  </a:lnTo>
                  <a:lnTo>
                    <a:pt x="3102" y="24476"/>
                  </a:lnTo>
                  <a:lnTo>
                    <a:pt x="4141" y="25501"/>
                  </a:lnTo>
                  <a:lnTo>
                    <a:pt x="5166" y="26483"/>
                  </a:lnTo>
                  <a:lnTo>
                    <a:pt x="6204" y="27436"/>
                  </a:lnTo>
                  <a:lnTo>
                    <a:pt x="7229" y="28361"/>
                  </a:lnTo>
                  <a:lnTo>
                    <a:pt x="8253" y="29243"/>
                  </a:lnTo>
                  <a:lnTo>
                    <a:pt x="9264" y="30097"/>
                  </a:lnTo>
                  <a:lnTo>
                    <a:pt x="10288" y="30922"/>
                  </a:lnTo>
                  <a:lnTo>
                    <a:pt x="11299" y="31719"/>
                  </a:lnTo>
                  <a:lnTo>
                    <a:pt x="12309" y="32474"/>
                  </a:lnTo>
                  <a:lnTo>
                    <a:pt x="13319" y="33199"/>
                  </a:lnTo>
                  <a:lnTo>
                    <a:pt x="14315" y="33897"/>
                  </a:lnTo>
                  <a:lnTo>
                    <a:pt x="15326" y="34565"/>
                  </a:lnTo>
                  <a:lnTo>
                    <a:pt x="16322" y="35206"/>
                  </a:lnTo>
                  <a:lnTo>
                    <a:pt x="17304" y="35818"/>
                  </a:lnTo>
                  <a:lnTo>
                    <a:pt x="18300" y="36401"/>
                  </a:lnTo>
                  <a:lnTo>
                    <a:pt x="19282" y="36956"/>
                  </a:lnTo>
                  <a:lnTo>
                    <a:pt x="20263" y="37482"/>
                  </a:lnTo>
                  <a:lnTo>
                    <a:pt x="21245" y="37981"/>
                  </a:lnTo>
                  <a:lnTo>
                    <a:pt x="22213" y="38450"/>
                  </a:lnTo>
                  <a:lnTo>
                    <a:pt x="23195" y="38891"/>
                  </a:lnTo>
                  <a:lnTo>
                    <a:pt x="24148" y="39318"/>
                  </a:lnTo>
                  <a:lnTo>
                    <a:pt x="25116" y="39702"/>
                  </a:lnTo>
                  <a:lnTo>
                    <a:pt x="26069" y="40072"/>
                  </a:lnTo>
                  <a:lnTo>
                    <a:pt x="27023" y="40414"/>
                  </a:lnTo>
                  <a:lnTo>
                    <a:pt x="27976" y="40741"/>
                  </a:lnTo>
                  <a:lnTo>
                    <a:pt x="28915" y="41040"/>
                  </a:lnTo>
                  <a:lnTo>
                    <a:pt x="29854" y="41310"/>
                  </a:lnTo>
                  <a:lnTo>
                    <a:pt x="30779" y="41552"/>
                  </a:lnTo>
                  <a:lnTo>
                    <a:pt x="31704" y="41780"/>
                  </a:lnTo>
                  <a:lnTo>
                    <a:pt x="32629" y="41979"/>
                  </a:lnTo>
                  <a:lnTo>
                    <a:pt x="33554" y="42164"/>
                  </a:lnTo>
                  <a:lnTo>
                    <a:pt x="34465" y="42321"/>
                  </a:lnTo>
                  <a:lnTo>
                    <a:pt x="35376" y="42463"/>
                  </a:lnTo>
                  <a:lnTo>
                    <a:pt x="36272" y="42577"/>
                  </a:lnTo>
                  <a:lnTo>
                    <a:pt x="37169" y="42676"/>
                  </a:lnTo>
                  <a:lnTo>
                    <a:pt x="38051" y="42762"/>
                  </a:lnTo>
                  <a:lnTo>
                    <a:pt x="38933" y="42819"/>
                  </a:lnTo>
                  <a:lnTo>
                    <a:pt x="39815" y="42847"/>
                  </a:lnTo>
                  <a:lnTo>
                    <a:pt x="40683" y="42876"/>
                  </a:lnTo>
                  <a:lnTo>
                    <a:pt x="41551" y="42876"/>
                  </a:lnTo>
                  <a:lnTo>
                    <a:pt x="42419" y="42861"/>
                  </a:lnTo>
                  <a:lnTo>
                    <a:pt x="43273" y="42833"/>
                  </a:lnTo>
                  <a:lnTo>
                    <a:pt x="44113" y="42776"/>
                  </a:lnTo>
                  <a:lnTo>
                    <a:pt x="44952" y="42719"/>
                  </a:lnTo>
                  <a:lnTo>
                    <a:pt x="45792" y="42634"/>
                  </a:lnTo>
                  <a:lnTo>
                    <a:pt x="46617" y="42534"/>
                  </a:lnTo>
                  <a:lnTo>
                    <a:pt x="47443" y="42420"/>
                  </a:lnTo>
                  <a:lnTo>
                    <a:pt x="48254" y="42306"/>
                  </a:lnTo>
                  <a:lnTo>
                    <a:pt x="49065" y="42164"/>
                  </a:lnTo>
                  <a:lnTo>
                    <a:pt x="49862" y="42008"/>
                  </a:lnTo>
                  <a:lnTo>
                    <a:pt x="50659" y="41837"/>
                  </a:lnTo>
                  <a:lnTo>
                    <a:pt x="51441" y="41652"/>
                  </a:lnTo>
                  <a:lnTo>
                    <a:pt x="52224" y="41453"/>
                  </a:lnTo>
                  <a:lnTo>
                    <a:pt x="52992" y="41253"/>
                  </a:lnTo>
                  <a:lnTo>
                    <a:pt x="53761" y="41026"/>
                  </a:lnTo>
                  <a:lnTo>
                    <a:pt x="54515" y="40798"/>
                  </a:lnTo>
                  <a:lnTo>
                    <a:pt x="55255" y="40556"/>
                  </a:lnTo>
                  <a:lnTo>
                    <a:pt x="55995" y="40314"/>
                  </a:lnTo>
                  <a:lnTo>
                    <a:pt x="56735" y="40044"/>
                  </a:lnTo>
                  <a:lnTo>
                    <a:pt x="57460" y="39773"/>
                  </a:lnTo>
                  <a:lnTo>
                    <a:pt x="58172" y="39489"/>
                  </a:lnTo>
                  <a:lnTo>
                    <a:pt x="58883" y="39204"/>
                  </a:lnTo>
                  <a:lnTo>
                    <a:pt x="59581" y="38905"/>
                  </a:lnTo>
                  <a:lnTo>
                    <a:pt x="60278" y="38592"/>
                  </a:lnTo>
                  <a:lnTo>
                    <a:pt x="60961" y="38279"/>
                  </a:lnTo>
                  <a:lnTo>
                    <a:pt x="61644" y="37966"/>
                  </a:lnTo>
                  <a:lnTo>
                    <a:pt x="62299" y="37639"/>
                  </a:lnTo>
                  <a:lnTo>
                    <a:pt x="62967" y="37297"/>
                  </a:lnTo>
                  <a:lnTo>
                    <a:pt x="63608" y="36956"/>
                  </a:lnTo>
                  <a:lnTo>
                    <a:pt x="64248" y="36614"/>
                  </a:lnTo>
                  <a:lnTo>
                    <a:pt x="64888" y="36259"/>
                  </a:lnTo>
                  <a:lnTo>
                    <a:pt x="66112" y="35547"/>
                  </a:lnTo>
                  <a:lnTo>
                    <a:pt x="67322" y="34807"/>
                  </a:lnTo>
                  <a:lnTo>
                    <a:pt x="68474" y="34067"/>
                  </a:lnTo>
                  <a:lnTo>
                    <a:pt x="69599" y="33313"/>
                  </a:lnTo>
                  <a:lnTo>
                    <a:pt x="70680" y="32559"/>
                  </a:lnTo>
                  <a:lnTo>
                    <a:pt x="71719" y="31790"/>
                  </a:lnTo>
                  <a:lnTo>
                    <a:pt x="72729" y="31036"/>
                  </a:lnTo>
                  <a:lnTo>
                    <a:pt x="73682" y="30282"/>
                  </a:lnTo>
                  <a:lnTo>
                    <a:pt x="74607" y="29528"/>
                  </a:lnTo>
                  <a:lnTo>
                    <a:pt x="75475" y="28788"/>
                  </a:lnTo>
                  <a:lnTo>
                    <a:pt x="76315" y="28062"/>
                  </a:lnTo>
                  <a:lnTo>
                    <a:pt x="77098" y="27365"/>
                  </a:lnTo>
                  <a:lnTo>
                    <a:pt x="77838" y="26682"/>
                  </a:lnTo>
                  <a:lnTo>
                    <a:pt x="78535" y="26027"/>
                  </a:lnTo>
                  <a:lnTo>
                    <a:pt x="79189" y="25387"/>
                  </a:lnTo>
                  <a:lnTo>
                    <a:pt x="79787" y="24789"/>
                  </a:lnTo>
                  <a:lnTo>
                    <a:pt x="80342" y="24220"/>
                  </a:lnTo>
                  <a:lnTo>
                    <a:pt x="81295" y="23210"/>
                  </a:lnTo>
                  <a:lnTo>
                    <a:pt x="82050" y="22385"/>
                  </a:lnTo>
                  <a:lnTo>
                    <a:pt x="82590" y="21744"/>
                  </a:lnTo>
                  <a:lnTo>
                    <a:pt x="83046" y="21218"/>
                  </a:lnTo>
                  <a:lnTo>
                    <a:pt x="81936" y="20108"/>
                  </a:lnTo>
                  <a:lnTo>
                    <a:pt x="80840" y="19040"/>
                  </a:lnTo>
                  <a:lnTo>
                    <a:pt x="79744" y="18016"/>
                  </a:lnTo>
                  <a:lnTo>
                    <a:pt x="78663" y="17020"/>
                  </a:lnTo>
                  <a:lnTo>
                    <a:pt x="77581" y="16052"/>
                  </a:lnTo>
                  <a:lnTo>
                    <a:pt x="76500" y="15113"/>
                  </a:lnTo>
                  <a:lnTo>
                    <a:pt x="75419" y="14217"/>
                  </a:lnTo>
                  <a:lnTo>
                    <a:pt x="74351" y="13348"/>
                  </a:lnTo>
                  <a:lnTo>
                    <a:pt x="73284" y="12509"/>
                  </a:lnTo>
                  <a:lnTo>
                    <a:pt x="72231" y="11712"/>
                  </a:lnTo>
                  <a:lnTo>
                    <a:pt x="71164" y="10929"/>
                  </a:lnTo>
                  <a:lnTo>
                    <a:pt x="70111" y="10189"/>
                  </a:lnTo>
                  <a:lnTo>
                    <a:pt x="69072" y="9478"/>
                  </a:lnTo>
                  <a:lnTo>
                    <a:pt x="68033" y="8795"/>
                  </a:lnTo>
                  <a:lnTo>
                    <a:pt x="66994" y="8140"/>
                  </a:lnTo>
                  <a:lnTo>
                    <a:pt x="65956" y="7514"/>
                  </a:lnTo>
                  <a:lnTo>
                    <a:pt x="64931" y="6917"/>
                  </a:lnTo>
                  <a:lnTo>
                    <a:pt x="63907" y="6347"/>
                  </a:lnTo>
                  <a:lnTo>
                    <a:pt x="62896" y="5807"/>
                  </a:lnTo>
                  <a:lnTo>
                    <a:pt x="61886" y="5280"/>
                  </a:lnTo>
                  <a:lnTo>
                    <a:pt x="60876" y="4796"/>
                  </a:lnTo>
                  <a:lnTo>
                    <a:pt x="59879" y="4341"/>
                  </a:lnTo>
                  <a:lnTo>
                    <a:pt x="58883" y="3900"/>
                  </a:lnTo>
                  <a:lnTo>
                    <a:pt x="57902" y="3487"/>
                  </a:lnTo>
                  <a:lnTo>
                    <a:pt x="56920" y="3103"/>
                  </a:lnTo>
                  <a:lnTo>
                    <a:pt x="55938" y="2747"/>
                  </a:lnTo>
                  <a:lnTo>
                    <a:pt x="54970" y="2406"/>
                  </a:lnTo>
                  <a:lnTo>
                    <a:pt x="54003" y="2093"/>
                  </a:lnTo>
                  <a:lnTo>
                    <a:pt x="53049" y="1808"/>
                  </a:lnTo>
                  <a:lnTo>
                    <a:pt x="52096" y="1538"/>
                  </a:lnTo>
                  <a:lnTo>
                    <a:pt x="51142" y="1296"/>
                  </a:lnTo>
                  <a:lnTo>
                    <a:pt x="50203" y="1082"/>
                  </a:lnTo>
                  <a:lnTo>
                    <a:pt x="49278" y="883"/>
                  </a:lnTo>
                  <a:lnTo>
                    <a:pt x="48353" y="698"/>
                  </a:lnTo>
                  <a:lnTo>
                    <a:pt x="47428" y="542"/>
                  </a:lnTo>
                  <a:lnTo>
                    <a:pt x="46518" y="413"/>
                  </a:lnTo>
                  <a:lnTo>
                    <a:pt x="45607" y="285"/>
                  </a:lnTo>
                  <a:lnTo>
                    <a:pt x="44710" y="200"/>
                  </a:lnTo>
                  <a:lnTo>
                    <a:pt x="43814" y="115"/>
                  </a:lnTo>
                  <a:lnTo>
                    <a:pt x="42917" y="58"/>
                  </a:lnTo>
                  <a:lnTo>
                    <a:pt x="42049" y="29"/>
                  </a:lnTo>
                  <a:lnTo>
                    <a:pt x="4116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18"/>
            <p:cNvSpPr/>
            <p:nvPr/>
          </p:nvSpPr>
          <p:spPr>
            <a:xfrm>
              <a:off x="863938" y="3086225"/>
              <a:ext cx="2076150" cy="1071900"/>
            </a:xfrm>
            <a:custGeom>
              <a:avLst/>
              <a:gdLst/>
              <a:ahLst/>
              <a:cxnLst/>
              <a:rect l="l" t="t" r="r" b="b"/>
              <a:pathLst>
                <a:path w="83046" h="42876" fill="none" extrusionOk="0">
                  <a:moveTo>
                    <a:pt x="0" y="21218"/>
                  </a:moveTo>
                  <a:lnTo>
                    <a:pt x="0" y="21218"/>
                  </a:lnTo>
                  <a:lnTo>
                    <a:pt x="413" y="20691"/>
                  </a:lnTo>
                  <a:lnTo>
                    <a:pt x="925" y="20079"/>
                  </a:lnTo>
                  <a:lnTo>
                    <a:pt x="1637" y="19254"/>
                  </a:lnTo>
                  <a:lnTo>
                    <a:pt x="2063" y="18784"/>
                  </a:lnTo>
                  <a:lnTo>
                    <a:pt x="2533" y="18258"/>
                  </a:lnTo>
                  <a:lnTo>
                    <a:pt x="3060" y="17717"/>
                  </a:lnTo>
                  <a:lnTo>
                    <a:pt x="3629" y="17119"/>
                  </a:lnTo>
                  <a:lnTo>
                    <a:pt x="4241" y="16508"/>
                  </a:lnTo>
                  <a:lnTo>
                    <a:pt x="4895" y="15853"/>
                  </a:lnTo>
                  <a:lnTo>
                    <a:pt x="5607" y="15184"/>
                  </a:lnTo>
                  <a:lnTo>
                    <a:pt x="6347" y="14501"/>
                  </a:lnTo>
                  <a:lnTo>
                    <a:pt x="7143" y="13790"/>
                  </a:lnTo>
                  <a:lnTo>
                    <a:pt x="7983" y="13078"/>
                  </a:lnTo>
                  <a:lnTo>
                    <a:pt x="8851" y="12338"/>
                  </a:lnTo>
                  <a:lnTo>
                    <a:pt x="9776" y="11598"/>
                  </a:lnTo>
                  <a:lnTo>
                    <a:pt x="10729" y="10858"/>
                  </a:lnTo>
                  <a:lnTo>
                    <a:pt x="11740" y="10104"/>
                  </a:lnTo>
                  <a:lnTo>
                    <a:pt x="12779" y="9364"/>
                  </a:lnTo>
                  <a:lnTo>
                    <a:pt x="13860" y="8624"/>
                  </a:lnTo>
                  <a:lnTo>
                    <a:pt x="14984" y="7898"/>
                  </a:lnTo>
                  <a:lnTo>
                    <a:pt x="16137" y="7187"/>
                  </a:lnTo>
                  <a:lnTo>
                    <a:pt x="17332" y="6475"/>
                  </a:lnTo>
                  <a:lnTo>
                    <a:pt x="17944" y="6134"/>
                  </a:lnTo>
                  <a:lnTo>
                    <a:pt x="18570" y="5792"/>
                  </a:lnTo>
                  <a:lnTo>
                    <a:pt x="19196" y="5465"/>
                  </a:lnTo>
                  <a:lnTo>
                    <a:pt x="19837" y="5138"/>
                  </a:lnTo>
                  <a:lnTo>
                    <a:pt x="20491" y="4811"/>
                  </a:lnTo>
                  <a:lnTo>
                    <a:pt x="21146" y="4497"/>
                  </a:lnTo>
                  <a:lnTo>
                    <a:pt x="21815" y="4184"/>
                  </a:lnTo>
                  <a:lnTo>
                    <a:pt x="22483" y="3886"/>
                  </a:lnTo>
                  <a:lnTo>
                    <a:pt x="23181" y="3601"/>
                  </a:lnTo>
                  <a:lnTo>
                    <a:pt x="23864" y="3316"/>
                  </a:lnTo>
                  <a:lnTo>
                    <a:pt x="24575" y="3032"/>
                  </a:lnTo>
                  <a:lnTo>
                    <a:pt x="25272" y="2776"/>
                  </a:lnTo>
                  <a:lnTo>
                    <a:pt x="25998" y="2520"/>
                  </a:lnTo>
                  <a:lnTo>
                    <a:pt x="26724" y="2263"/>
                  </a:lnTo>
                  <a:lnTo>
                    <a:pt x="27464" y="2036"/>
                  </a:lnTo>
                  <a:lnTo>
                    <a:pt x="28204" y="1808"/>
                  </a:lnTo>
                  <a:lnTo>
                    <a:pt x="28958" y="1595"/>
                  </a:lnTo>
                  <a:lnTo>
                    <a:pt x="29712" y="1395"/>
                  </a:lnTo>
                  <a:lnTo>
                    <a:pt x="30481" y="1196"/>
                  </a:lnTo>
                  <a:lnTo>
                    <a:pt x="31263" y="1025"/>
                  </a:lnTo>
                  <a:lnTo>
                    <a:pt x="32046" y="855"/>
                  </a:lnTo>
                  <a:lnTo>
                    <a:pt x="32843" y="698"/>
                  </a:lnTo>
                  <a:lnTo>
                    <a:pt x="33640" y="570"/>
                  </a:lnTo>
                  <a:lnTo>
                    <a:pt x="34436" y="442"/>
                  </a:lnTo>
                  <a:lnTo>
                    <a:pt x="35262" y="328"/>
                  </a:lnTo>
                  <a:lnTo>
                    <a:pt x="36087" y="243"/>
                  </a:lnTo>
                  <a:lnTo>
                    <a:pt x="36912" y="157"/>
                  </a:lnTo>
                  <a:lnTo>
                    <a:pt x="37752" y="100"/>
                  </a:lnTo>
                  <a:lnTo>
                    <a:pt x="38592" y="44"/>
                  </a:lnTo>
                  <a:lnTo>
                    <a:pt x="39445" y="15"/>
                  </a:lnTo>
                  <a:lnTo>
                    <a:pt x="40299" y="1"/>
                  </a:lnTo>
                  <a:lnTo>
                    <a:pt x="41167" y="1"/>
                  </a:lnTo>
                  <a:lnTo>
                    <a:pt x="42049" y="29"/>
                  </a:lnTo>
                  <a:lnTo>
                    <a:pt x="42917" y="58"/>
                  </a:lnTo>
                  <a:lnTo>
                    <a:pt x="43814" y="115"/>
                  </a:lnTo>
                  <a:lnTo>
                    <a:pt x="44710" y="200"/>
                  </a:lnTo>
                  <a:lnTo>
                    <a:pt x="45607" y="285"/>
                  </a:lnTo>
                  <a:lnTo>
                    <a:pt x="46518" y="413"/>
                  </a:lnTo>
                  <a:lnTo>
                    <a:pt x="47428" y="542"/>
                  </a:lnTo>
                  <a:lnTo>
                    <a:pt x="48353" y="698"/>
                  </a:lnTo>
                  <a:lnTo>
                    <a:pt x="49278" y="883"/>
                  </a:lnTo>
                  <a:lnTo>
                    <a:pt x="50203" y="1082"/>
                  </a:lnTo>
                  <a:lnTo>
                    <a:pt x="51142" y="1296"/>
                  </a:lnTo>
                  <a:lnTo>
                    <a:pt x="52096" y="1538"/>
                  </a:lnTo>
                  <a:lnTo>
                    <a:pt x="53049" y="1808"/>
                  </a:lnTo>
                  <a:lnTo>
                    <a:pt x="54003" y="2093"/>
                  </a:lnTo>
                  <a:lnTo>
                    <a:pt x="54970" y="2406"/>
                  </a:lnTo>
                  <a:lnTo>
                    <a:pt x="55938" y="2747"/>
                  </a:lnTo>
                  <a:lnTo>
                    <a:pt x="56920" y="3103"/>
                  </a:lnTo>
                  <a:lnTo>
                    <a:pt x="57902" y="3487"/>
                  </a:lnTo>
                  <a:lnTo>
                    <a:pt x="58883" y="3900"/>
                  </a:lnTo>
                  <a:lnTo>
                    <a:pt x="59879" y="4341"/>
                  </a:lnTo>
                  <a:lnTo>
                    <a:pt x="60876" y="4796"/>
                  </a:lnTo>
                  <a:lnTo>
                    <a:pt x="61886" y="5280"/>
                  </a:lnTo>
                  <a:lnTo>
                    <a:pt x="62896" y="5807"/>
                  </a:lnTo>
                  <a:lnTo>
                    <a:pt x="63907" y="6347"/>
                  </a:lnTo>
                  <a:lnTo>
                    <a:pt x="64931" y="6917"/>
                  </a:lnTo>
                  <a:lnTo>
                    <a:pt x="65956" y="7514"/>
                  </a:lnTo>
                  <a:lnTo>
                    <a:pt x="66994" y="8140"/>
                  </a:lnTo>
                  <a:lnTo>
                    <a:pt x="68033" y="8795"/>
                  </a:lnTo>
                  <a:lnTo>
                    <a:pt x="69072" y="9478"/>
                  </a:lnTo>
                  <a:lnTo>
                    <a:pt x="70111" y="10189"/>
                  </a:lnTo>
                  <a:lnTo>
                    <a:pt x="71164" y="10929"/>
                  </a:lnTo>
                  <a:lnTo>
                    <a:pt x="72231" y="11712"/>
                  </a:lnTo>
                  <a:lnTo>
                    <a:pt x="73284" y="12509"/>
                  </a:lnTo>
                  <a:lnTo>
                    <a:pt x="74351" y="13348"/>
                  </a:lnTo>
                  <a:lnTo>
                    <a:pt x="75419" y="14217"/>
                  </a:lnTo>
                  <a:lnTo>
                    <a:pt x="76500" y="15113"/>
                  </a:lnTo>
                  <a:lnTo>
                    <a:pt x="77581" y="16052"/>
                  </a:lnTo>
                  <a:lnTo>
                    <a:pt x="78663" y="17020"/>
                  </a:lnTo>
                  <a:lnTo>
                    <a:pt x="79744" y="18016"/>
                  </a:lnTo>
                  <a:lnTo>
                    <a:pt x="80840" y="19040"/>
                  </a:lnTo>
                  <a:lnTo>
                    <a:pt x="81936" y="20108"/>
                  </a:lnTo>
                  <a:lnTo>
                    <a:pt x="83046" y="21218"/>
                  </a:lnTo>
                  <a:lnTo>
                    <a:pt x="83046" y="21218"/>
                  </a:lnTo>
                  <a:lnTo>
                    <a:pt x="82590" y="21744"/>
                  </a:lnTo>
                  <a:lnTo>
                    <a:pt x="82050" y="22385"/>
                  </a:lnTo>
                  <a:lnTo>
                    <a:pt x="81295" y="23210"/>
                  </a:lnTo>
                  <a:lnTo>
                    <a:pt x="80342" y="24220"/>
                  </a:lnTo>
                  <a:lnTo>
                    <a:pt x="79787" y="24789"/>
                  </a:lnTo>
                  <a:lnTo>
                    <a:pt x="79189" y="25387"/>
                  </a:lnTo>
                  <a:lnTo>
                    <a:pt x="78535" y="26027"/>
                  </a:lnTo>
                  <a:lnTo>
                    <a:pt x="77838" y="26682"/>
                  </a:lnTo>
                  <a:lnTo>
                    <a:pt x="77098" y="27365"/>
                  </a:lnTo>
                  <a:lnTo>
                    <a:pt x="76315" y="28062"/>
                  </a:lnTo>
                  <a:lnTo>
                    <a:pt x="75475" y="28788"/>
                  </a:lnTo>
                  <a:lnTo>
                    <a:pt x="74607" y="29528"/>
                  </a:lnTo>
                  <a:lnTo>
                    <a:pt x="73682" y="30282"/>
                  </a:lnTo>
                  <a:lnTo>
                    <a:pt x="72729" y="31036"/>
                  </a:lnTo>
                  <a:lnTo>
                    <a:pt x="71719" y="31790"/>
                  </a:lnTo>
                  <a:lnTo>
                    <a:pt x="70680" y="32559"/>
                  </a:lnTo>
                  <a:lnTo>
                    <a:pt x="69599" y="33313"/>
                  </a:lnTo>
                  <a:lnTo>
                    <a:pt x="68474" y="34067"/>
                  </a:lnTo>
                  <a:lnTo>
                    <a:pt x="67322" y="34807"/>
                  </a:lnTo>
                  <a:lnTo>
                    <a:pt x="66112" y="35547"/>
                  </a:lnTo>
                  <a:lnTo>
                    <a:pt x="64888" y="36259"/>
                  </a:lnTo>
                  <a:lnTo>
                    <a:pt x="64248" y="36614"/>
                  </a:lnTo>
                  <a:lnTo>
                    <a:pt x="63608" y="36956"/>
                  </a:lnTo>
                  <a:lnTo>
                    <a:pt x="62967" y="37297"/>
                  </a:lnTo>
                  <a:lnTo>
                    <a:pt x="62299" y="37639"/>
                  </a:lnTo>
                  <a:lnTo>
                    <a:pt x="61644" y="37966"/>
                  </a:lnTo>
                  <a:lnTo>
                    <a:pt x="60961" y="38279"/>
                  </a:lnTo>
                  <a:lnTo>
                    <a:pt x="60278" y="38592"/>
                  </a:lnTo>
                  <a:lnTo>
                    <a:pt x="59581" y="38905"/>
                  </a:lnTo>
                  <a:lnTo>
                    <a:pt x="58883" y="39204"/>
                  </a:lnTo>
                  <a:lnTo>
                    <a:pt x="58172" y="39489"/>
                  </a:lnTo>
                  <a:lnTo>
                    <a:pt x="57460" y="39773"/>
                  </a:lnTo>
                  <a:lnTo>
                    <a:pt x="56735" y="40044"/>
                  </a:lnTo>
                  <a:lnTo>
                    <a:pt x="55995" y="40314"/>
                  </a:lnTo>
                  <a:lnTo>
                    <a:pt x="55255" y="40556"/>
                  </a:lnTo>
                  <a:lnTo>
                    <a:pt x="54515" y="40798"/>
                  </a:lnTo>
                  <a:lnTo>
                    <a:pt x="53761" y="41026"/>
                  </a:lnTo>
                  <a:lnTo>
                    <a:pt x="52992" y="41253"/>
                  </a:lnTo>
                  <a:lnTo>
                    <a:pt x="52224" y="41453"/>
                  </a:lnTo>
                  <a:lnTo>
                    <a:pt x="51441" y="41652"/>
                  </a:lnTo>
                  <a:lnTo>
                    <a:pt x="50659" y="41837"/>
                  </a:lnTo>
                  <a:lnTo>
                    <a:pt x="49862" y="42008"/>
                  </a:lnTo>
                  <a:lnTo>
                    <a:pt x="49065" y="42164"/>
                  </a:lnTo>
                  <a:lnTo>
                    <a:pt x="48254" y="42306"/>
                  </a:lnTo>
                  <a:lnTo>
                    <a:pt x="47443" y="42420"/>
                  </a:lnTo>
                  <a:lnTo>
                    <a:pt x="46617" y="42534"/>
                  </a:lnTo>
                  <a:lnTo>
                    <a:pt x="45792" y="42634"/>
                  </a:lnTo>
                  <a:lnTo>
                    <a:pt x="44952" y="42719"/>
                  </a:lnTo>
                  <a:lnTo>
                    <a:pt x="44113" y="42776"/>
                  </a:lnTo>
                  <a:lnTo>
                    <a:pt x="43273" y="42833"/>
                  </a:lnTo>
                  <a:lnTo>
                    <a:pt x="42419" y="42861"/>
                  </a:lnTo>
                  <a:lnTo>
                    <a:pt x="41551" y="42876"/>
                  </a:lnTo>
                  <a:lnTo>
                    <a:pt x="40683" y="42876"/>
                  </a:lnTo>
                  <a:lnTo>
                    <a:pt x="39815" y="42847"/>
                  </a:lnTo>
                  <a:lnTo>
                    <a:pt x="38933" y="42819"/>
                  </a:lnTo>
                  <a:lnTo>
                    <a:pt x="38051" y="42762"/>
                  </a:lnTo>
                  <a:lnTo>
                    <a:pt x="37169" y="42676"/>
                  </a:lnTo>
                  <a:lnTo>
                    <a:pt x="36272" y="42577"/>
                  </a:lnTo>
                  <a:lnTo>
                    <a:pt x="35376" y="42463"/>
                  </a:lnTo>
                  <a:lnTo>
                    <a:pt x="34465" y="42321"/>
                  </a:lnTo>
                  <a:lnTo>
                    <a:pt x="33554" y="42164"/>
                  </a:lnTo>
                  <a:lnTo>
                    <a:pt x="32629" y="41979"/>
                  </a:lnTo>
                  <a:lnTo>
                    <a:pt x="31704" y="41780"/>
                  </a:lnTo>
                  <a:lnTo>
                    <a:pt x="30779" y="41552"/>
                  </a:lnTo>
                  <a:lnTo>
                    <a:pt x="29854" y="41310"/>
                  </a:lnTo>
                  <a:lnTo>
                    <a:pt x="28915" y="41040"/>
                  </a:lnTo>
                  <a:lnTo>
                    <a:pt x="27976" y="40741"/>
                  </a:lnTo>
                  <a:lnTo>
                    <a:pt x="27023" y="40414"/>
                  </a:lnTo>
                  <a:lnTo>
                    <a:pt x="26069" y="40072"/>
                  </a:lnTo>
                  <a:lnTo>
                    <a:pt x="25116" y="39702"/>
                  </a:lnTo>
                  <a:lnTo>
                    <a:pt x="24148" y="39318"/>
                  </a:lnTo>
                  <a:lnTo>
                    <a:pt x="23195" y="38891"/>
                  </a:lnTo>
                  <a:lnTo>
                    <a:pt x="22213" y="38450"/>
                  </a:lnTo>
                  <a:lnTo>
                    <a:pt x="21245" y="37981"/>
                  </a:lnTo>
                  <a:lnTo>
                    <a:pt x="20263" y="37482"/>
                  </a:lnTo>
                  <a:lnTo>
                    <a:pt x="19282" y="36956"/>
                  </a:lnTo>
                  <a:lnTo>
                    <a:pt x="18300" y="36401"/>
                  </a:lnTo>
                  <a:lnTo>
                    <a:pt x="17304" y="35818"/>
                  </a:lnTo>
                  <a:lnTo>
                    <a:pt x="16322" y="35206"/>
                  </a:lnTo>
                  <a:lnTo>
                    <a:pt x="15326" y="34565"/>
                  </a:lnTo>
                  <a:lnTo>
                    <a:pt x="14315" y="33897"/>
                  </a:lnTo>
                  <a:lnTo>
                    <a:pt x="13319" y="33199"/>
                  </a:lnTo>
                  <a:lnTo>
                    <a:pt x="12309" y="32474"/>
                  </a:lnTo>
                  <a:lnTo>
                    <a:pt x="11299" y="31719"/>
                  </a:lnTo>
                  <a:lnTo>
                    <a:pt x="10288" y="30922"/>
                  </a:lnTo>
                  <a:lnTo>
                    <a:pt x="9264" y="30097"/>
                  </a:lnTo>
                  <a:lnTo>
                    <a:pt x="8253" y="29243"/>
                  </a:lnTo>
                  <a:lnTo>
                    <a:pt x="7229" y="28361"/>
                  </a:lnTo>
                  <a:lnTo>
                    <a:pt x="6204" y="27436"/>
                  </a:lnTo>
                  <a:lnTo>
                    <a:pt x="5166" y="26483"/>
                  </a:lnTo>
                  <a:lnTo>
                    <a:pt x="4141" y="25501"/>
                  </a:lnTo>
                  <a:lnTo>
                    <a:pt x="3102" y="24476"/>
                  </a:lnTo>
                  <a:lnTo>
                    <a:pt x="2078" y="23423"/>
                  </a:lnTo>
                  <a:lnTo>
                    <a:pt x="1039" y="22342"/>
                  </a:lnTo>
                  <a:lnTo>
                    <a:pt x="0" y="2121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18"/>
            <p:cNvSpPr/>
            <p:nvPr/>
          </p:nvSpPr>
          <p:spPr>
            <a:xfrm>
              <a:off x="1438463" y="3160225"/>
              <a:ext cx="926750" cy="926750"/>
            </a:xfrm>
            <a:custGeom>
              <a:avLst/>
              <a:gdLst/>
              <a:ahLst/>
              <a:cxnLst/>
              <a:rect l="l" t="t" r="r" b="b"/>
              <a:pathLst>
                <a:path w="37070" h="37070" extrusionOk="0">
                  <a:moveTo>
                    <a:pt x="18542" y="1"/>
                  </a:moveTo>
                  <a:lnTo>
                    <a:pt x="18058" y="15"/>
                  </a:lnTo>
                  <a:lnTo>
                    <a:pt x="17589" y="29"/>
                  </a:lnTo>
                  <a:lnTo>
                    <a:pt x="17105" y="58"/>
                  </a:lnTo>
                  <a:lnTo>
                    <a:pt x="16635" y="100"/>
                  </a:lnTo>
                  <a:lnTo>
                    <a:pt x="16180" y="157"/>
                  </a:lnTo>
                  <a:lnTo>
                    <a:pt x="15710" y="214"/>
                  </a:lnTo>
                  <a:lnTo>
                    <a:pt x="15255" y="299"/>
                  </a:lnTo>
                  <a:lnTo>
                    <a:pt x="14799" y="385"/>
                  </a:lnTo>
                  <a:lnTo>
                    <a:pt x="14344" y="484"/>
                  </a:lnTo>
                  <a:lnTo>
                    <a:pt x="13903" y="584"/>
                  </a:lnTo>
                  <a:lnTo>
                    <a:pt x="13462" y="712"/>
                  </a:lnTo>
                  <a:lnTo>
                    <a:pt x="13021" y="840"/>
                  </a:lnTo>
                  <a:lnTo>
                    <a:pt x="12594" y="983"/>
                  </a:lnTo>
                  <a:lnTo>
                    <a:pt x="12167" y="1125"/>
                  </a:lnTo>
                  <a:lnTo>
                    <a:pt x="11740" y="1296"/>
                  </a:lnTo>
                  <a:lnTo>
                    <a:pt x="11327" y="1466"/>
                  </a:lnTo>
                  <a:lnTo>
                    <a:pt x="10915" y="1637"/>
                  </a:lnTo>
                  <a:lnTo>
                    <a:pt x="10502" y="1836"/>
                  </a:lnTo>
                  <a:lnTo>
                    <a:pt x="10104" y="2036"/>
                  </a:lnTo>
                  <a:lnTo>
                    <a:pt x="9705" y="2249"/>
                  </a:lnTo>
                  <a:lnTo>
                    <a:pt x="9307" y="2462"/>
                  </a:lnTo>
                  <a:lnTo>
                    <a:pt x="8923" y="2690"/>
                  </a:lnTo>
                  <a:lnTo>
                    <a:pt x="8553" y="2932"/>
                  </a:lnTo>
                  <a:lnTo>
                    <a:pt x="8168" y="3174"/>
                  </a:lnTo>
                  <a:lnTo>
                    <a:pt x="7813" y="3430"/>
                  </a:lnTo>
                  <a:lnTo>
                    <a:pt x="7443" y="3686"/>
                  </a:lnTo>
                  <a:lnTo>
                    <a:pt x="7101" y="3957"/>
                  </a:lnTo>
                  <a:lnTo>
                    <a:pt x="6745" y="4241"/>
                  </a:lnTo>
                  <a:lnTo>
                    <a:pt x="6404" y="4526"/>
                  </a:lnTo>
                  <a:lnTo>
                    <a:pt x="6077" y="4825"/>
                  </a:lnTo>
                  <a:lnTo>
                    <a:pt x="5749" y="5123"/>
                  </a:lnTo>
                  <a:lnTo>
                    <a:pt x="5436" y="5436"/>
                  </a:lnTo>
                  <a:lnTo>
                    <a:pt x="5123" y="5750"/>
                  </a:lnTo>
                  <a:lnTo>
                    <a:pt x="4824" y="6077"/>
                  </a:lnTo>
                  <a:lnTo>
                    <a:pt x="4525" y="6404"/>
                  </a:lnTo>
                  <a:lnTo>
                    <a:pt x="4241" y="6746"/>
                  </a:lnTo>
                  <a:lnTo>
                    <a:pt x="3956" y="7101"/>
                  </a:lnTo>
                  <a:lnTo>
                    <a:pt x="3686" y="7443"/>
                  </a:lnTo>
                  <a:lnTo>
                    <a:pt x="3430" y="7813"/>
                  </a:lnTo>
                  <a:lnTo>
                    <a:pt x="3174" y="8183"/>
                  </a:lnTo>
                  <a:lnTo>
                    <a:pt x="2918" y="8553"/>
                  </a:lnTo>
                  <a:lnTo>
                    <a:pt x="2690" y="8923"/>
                  </a:lnTo>
                  <a:lnTo>
                    <a:pt x="2462" y="9307"/>
                  </a:lnTo>
                  <a:lnTo>
                    <a:pt x="2234" y="9705"/>
                  </a:lnTo>
                  <a:lnTo>
                    <a:pt x="2035" y="10104"/>
                  </a:lnTo>
                  <a:lnTo>
                    <a:pt x="1836" y="10502"/>
                  </a:lnTo>
                  <a:lnTo>
                    <a:pt x="1637" y="10915"/>
                  </a:lnTo>
                  <a:lnTo>
                    <a:pt x="1466" y="11328"/>
                  </a:lnTo>
                  <a:lnTo>
                    <a:pt x="1295" y="11740"/>
                  </a:lnTo>
                  <a:lnTo>
                    <a:pt x="1125" y="12167"/>
                  </a:lnTo>
                  <a:lnTo>
                    <a:pt x="982" y="12594"/>
                  </a:lnTo>
                  <a:lnTo>
                    <a:pt x="840" y="13021"/>
                  </a:lnTo>
                  <a:lnTo>
                    <a:pt x="712" y="13462"/>
                  </a:lnTo>
                  <a:lnTo>
                    <a:pt x="584" y="13903"/>
                  </a:lnTo>
                  <a:lnTo>
                    <a:pt x="484" y="14359"/>
                  </a:lnTo>
                  <a:lnTo>
                    <a:pt x="385" y="14800"/>
                  </a:lnTo>
                  <a:lnTo>
                    <a:pt x="299" y="15255"/>
                  </a:lnTo>
                  <a:lnTo>
                    <a:pt x="214" y="15710"/>
                  </a:lnTo>
                  <a:lnTo>
                    <a:pt x="157" y="16180"/>
                  </a:lnTo>
                  <a:lnTo>
                    <a:pt x="100" y="16650"/>
                  </a:lnTo>
                  <a:lnTo>
                    <a:pt x="57" y="17105"/>
                  </a:lnTo>
                  <a:lnTo>
                    <a:pt x="29" y="17589"/>
                  </a:lnTo>
                  <a:lnTo>
                    <a:pt x="15" y="18058"/>
                  </a:lnTo>
                  <a:lnTo>
                    <a:pt x="0" y="18542"/>
                  </a:lnTo>
                  <a:lnTo>
                    <a:pt x="15" y="19012"/>
                  </a:lnTo>
                  <a:lnTo>
                    <a:pt x="29" y="19496"/>
                  </a:lnTo>
                  <a:lnTo>
                    <a:pt x="57" y="19965"/>
                  </a:lnTo>
                  <a:lnTo>
                    <a:pt x="100" y="20435"/>
                  </a:lnTo>
                  <a:lnTo>
                    <a:pt x="157" y="20904"/>
                  </a:lnTo>
                  <a:lnTo>
                    <a:pt x="214" y="21360"/>
                  </a:lnTo>
                  <a:lnTo>
                    <a:pt x="299" y="21815"/>
                  </a:lnTo>
                  <a:lnTo>
                    <a:pt x="385" y="22270"/>
                  </a:lnTo>
                  <a:lnTo>
                    <a:pt x="484" y="22726"/>
                  </a:lnTo>
                  <a:lnTo>
                    <a:pt x="584" y="23167"/>
                  </a:lnTo>
                  <a:lnTo>
                    <a:pt x="712" y="23608"/>
                  </a:lnTo>
                  <a:lnTo>
                    <a:pt x="840" y="24049"/>
                  </a:lnTo>
                  <a:lnTo>
                    <a:pt x="982" y="24476"/>
                  </a:lnTo>
                  <a:lnTo>
                    <a:pt x="1125" y="24903"/>
                  </a:lnTo>
                  <a:lnTo>
                    <a:pt x="1295" y="25330"/>
                  </a:lnTo>
                  <a:lnTo>
                    <a:pt x="1466" y="25757"/>
                  </a:lnTo>
                  <a:lnTo>
                    <a:pt x="1637" y="26169"/>
                  </a:lnTo>
                  <a:lnTo>
                    <a:pt x="1836" y="26568"/>
                  </a:lnTo>
                  <a:lnTo>
                    <a:pt x="2035" y="26981"/>
                  </a:lnTo>
                  <a:lnTo>
                    <a:pt x="2234" y="27365"/>
                  </a:lnTo>
                  <a:lnTo>
                    <a:pt x="2462" y="27763"/>
                  </a:lnTo>
                  <a:lnTo>
                    <a:pt x="2690" y="28147"/>
                  </a:lnTo>
                  <a:lnTo>
                    <a:pt x="2918" y="28532"/>
                  </a:lnTo>
                  <a:lnTo>
                    <a:pt x="3174" y="28902"/>
                  </a:lnTo>
                  <a:lnTo>
                    <a:pt x="3430" y="29272"/>
                  </a:lnTo>
                  <a:lnTo>
                    <a:pt x="3686" y="29627"/>
                  </a:lnTo>
                  <a:lnTo>
                    <a:pt x="3956" y="29983"/>
                  </a:lnTo>
                  <a:lnTo>
                    <a:pt x="4241" y="30325"/>
                  </a:lnTo>
                  <a:lnTo>
                    <a:pt x="4525" y="30666"/>
                  </a:lnTo>
                  <a:lnTo>
                    <a:pt x="4824" y="30993"/>
                  </a:lnTo>
                  <a:lnTo>
                    <a:pt x="5123" y="31321"/>
                  </a:lnTo>
                  <a:lnTo>
                    <a:pt x="5436" y="31648"/>
                  </a:lnTo>
                  <a:lnTo>
                    <a:pt x="5749" y="31947"/>
                  </a:lnTo>
                  <a:lnTo>
                    <a:pt x="6077" y="32260"/>
                  </a:lnTo>
                  <a:lnTo>
                    <a:pt x="6404" y="32545"/>
                  </a:lnTo>
                  <a:lnTo>
                    <a:pt x="6745" y="32843"/>
                  </a:lnTo>
                  <a:lnTo>
                    <a:pt x="7101" y="33114"/>
                  </a:lnTo>
                  <a:lnTo>
                    <a:pt x="7443" y="33384"/>
                  </a:lnTo>
                  <a:lnTo>
                    <a:pt x="7813" y="33654"/>
                  </a:lnTo>
                  <a:lnTo>
                    <a:pt x="8168" y="33911"/>
                  </a:lnTo>
                  <a:lnTo>
                    <a:pt x="8553" y="34152"/>
                  </a:lnTo>
                  <a:lnTo>
                    <a:pt x="8923" y="34380"/>
                  </a:lnTo>
                  <a:lnTo>
                    <a:pt x="9307" y="34608"/>
                  </a:lnTo>
                  <a:lnTo>
                    <a:pt x="9705" y="34836"/>
                  </a:lnTo>
                  <a:lnTo>
                    <a:pt x="10104" y="35035"/>
                  </a:lnTo>
                  <a:lnTo>
                    <a:pt x="10502" y="35248"/>
                  </a:lnTo>
                  <a:lnTo>
                    <a:pt x="10915" y="35433"/>
                  </a:lnTo>
                  <a:lnTo>
                    <a:pt x="11327" y="35618"/>
                  </a:lnTo>
                  <a:lnTo>
                    <a:pt x="11740" y="35789"/>
                  </a:lnTo>
                  <a:lnTo>
                    <a:pt x="12167" y="35945"/>
                  </a:lnTo>
                  <a:lnTo>
                    <a:pt x="12594" y="36102"/>
                  </a:lnTo>
                  <a:lnTo>
                    <a:pt x="13021" y="36230"/>
                  </a:lnTo>
                  <a:lnTo>
                    <a:pt x="13462" y="36372"/>
                  </a:lnTo>
                  <a:lnTo>
                    <a:pt x="13903" y="36486"/>
                  </a:lnTo>
                  <a:lnTo>
                    <a:pt x="14344" y="36600"/>
                  </a:lnTo>
                  <a:lnTo>
                    <a:pt x="14799" y="36700"/>
                  </a:lnTo>
                  <a:lnTo>
                    <a:pt x="15255" y="36785"/>
                  </a:lnTo>
                  <a:lnTo>
                    <a:pt x="15710" y="36856"/>
                  </a:lnTo>
                  <a:lnTo>
                    <a:pt x="16180" y="36927"/>
                  </a:lnTo>
                  <a:lnTo>
                    <a:pt x="16635" y="36970"/>
                  </a:lnTo>
                  <a:lnTo>
                    <a:pt x="17105" y="37013"/>
                  </a:lnTo>
                  <a:lnTo>
                    <a:pt x="17589" y="37041"/>
                  </a:lnTo>
                  <a:lnTo>
                    <a:pt x="18058" y="37070"/>
                  </a:lnTo>
                  <a:lnTo>
                    <a:pt x="19012" y="37070"/>
                  </a:lnTo>
                  <a:lnTo>
                    <a:pt x="19495" y="37041"/>
                  </a:lnTo>
                  <a:lnTo>
                    <a:pt x="19965" y="37013"/>
                  </a:lnTo>
                  <a:lnTo>
                    <a:pt x="20435" y="36970"/>
                  </a:lnTo>
                  <a:lnTo>
                    <a:pt x="20890" y="36927"/>
                  </a:lnTo>
                  <a:lnTo>
                    <a:pt x="21359" y="36856"/>
                  </a:lnTo>
                  <a:lnTo>
                    <a:pt x="21815" y="36785"/>
                  </a:lnTo>
                  <a:lnTo>
                    <a:pt x="22270" y="36700"/>
                  </a:lnTo>
                  <a:lnTo>
                    <a:pt x="22726" y="36600"/>
                  </a:lnTo>
                  <a:lnTo>
                    <a:pt x="23167" y="36486"/>
                  </a:lnTo>
                  <a:lnTo>
                    <a:pt x="23608" y="36372"/>
                  </a:lnTo>
                  <a:lnTo>
                    <a:pt x="24049" y="36230"/>
                  </a:lnTo>
                  <a:lnTo>
                    <a:pt x="24476" y="36102"/>
                  </a:lnTo>
                  <a:lnTo>
                    <a:pt x="24903" y="35945"/>
                  </a:lnTo>
                  <a:lnTo>
                    <a:pt x="25330" y="35789"/>
                  </a:lnTo>
                  <a:lnTo>
                    <a:pt x="25742" y="35618"/>
                  </a:lnTo>
                  <a:lnTo>
                    <a:pt x="26169" y="35433"/>
                  </a:lnTo>
                  <a:lnTo>
                    <a:pt x="26568" y="35248"/>
                  </a:lnTo>
                  <a:lnTo>
                    <a:pt x="26966" y="35035"/>
                  </a:lnTo>
                  <a:lnTo>
                    <a:pt x="27364" y="34836"/>
                  </a:lnTo>
                  <a:lnTo>
                    <a:pt x="27763" y="34608"/>
                  </a:lnTo>
                  <a:lnTo>
                    <a:pt x="28147" y="34380"/>
                  </a:lnTo>
                  <a:lnTo>
                    <a:pt x="28531" y="34152"/>
                  </a:lnTo>
                  <a:lnTo>
                    <a:pt x="28901" y="33911"/>
                  </a:lnTo>
                  <a:lnTo>
                    <a:pt x="29257" y="33654"/>
                  </a:lnTo>
                  <a:lnTo>
                    <a:pt x="29627" y="33384"/>
                  </a:lnTo>
                  <a:lnTo>
                    <a:pt x="29983" y="33114"/>
                  </a:lnTo>
                  <a:lnTo>
                    <a:pt x="30324" y="32843"/>
                  </a:lnTo>
                  <a:lnTo>
                    <a:pt x="30666" y="32545"/>
                  </a:lnTo>
                  <a:lnTo>
                    <a:pt x="30993" y="32260"/>
                  </a:lnTo>
                  <a:lnTo>
                    <a:pt x="31320" y="31947"/>
                  </a:lnTo>
                  <a:lnTo>
                    <a:pt x="31633" y="31648"/>
                  </a:lnTo>
                  <a:lnTo>
                    <a:pt x="31946" y="31321"/>
                  </a:lnTo>
                  <a:lnTo>
                    <a:pt x="32260" y="30993"/>
                  </a:lnTo>
                  <a:lnTo>
                    <a:pt x="32544" y="30666"/>
                  </a:lnTo>
                  <a:lnTo>
                    <a:pt x="32843" y="30325"/>
                  </a:lnTo>
                  <a:lnTo>
                    <a:pt x="33113" y="29983"/>
                  </a:lnTo>
                  <a:lnTo>
                    <a:pt x="33384" y="29627"/>
                  </a:lnTo>
                  <a:lnTo>
                    <a:pt x="33654" y="29272"/>
                  </a:lnTo>
                  <a:lnTo>
                    <a:pt x="33896" y="28902"/>
                  </a:lnTo>
                  <a:lnTo>
                    <a:pt x="34152" y="28532"/>
                  </a:lnTo>
                  <a:lnTo>
                    <a:pt x="34380" y="28147"/>
                  </a:lnTo>
                  <a:lnTo>
                    <a:pt x="34607" y="27763"/>
                  </a:lnTo>
                  <a:lnTo>
                    <a:pt x="34835" y="27365"/>
                  </a:lnTo>
                  <a:lnTo>
                    <a:pt x="35034" y="26981"/>
                  </a:lnTo>
                  <a:lnTo>
                    <a:pt x="35234" y="26568"/>
                  </a:lnTo>
                  <a:lnTo>
                    <a:pt x="35433" y="26169"/>
                  </a:lnTo>
                  <a:lnTo>
                    <a:pt x="35618" y="25757"/>
                  </a:lnTo>
                  <a:lnTo>
                    <a:pt x="35789" y="25330"/>
                  </a:lnTo>
                  <a:lnTo>
                    <a:pt x="35945" y="24903"/>
                  </a:lnTo>
                  <a:lnTo>
                    <a:pt x="36087" y="24476"/>
                  </a:lnTo>
                  <a:lnTo>
                    <a:pt x="36230" y="24049"/>
                  </a:lnTo>
                  <a:lnTo>
                    <a:pt x="36358" y="23608"/>
                  </a:lnTo>
                  <a:lnTo>
                    <a:pt x="36486" y="23167"/>
                  </a:lnTo>
                  <a:lnTo>
                    <a:pt x="36600" y="22726"/>
                  </a:lnTo>
                  <a:lnTo>
                    <a:pt x="36685" y="22270"/>
                  </a:lnTo>
                  <a:lnTo>
                    <a:pt x="36785" y="21815"/>
                  </a:lnTo>
                  <a:lnTo>
                    <a:pt x="36856" y="21360"/>
                  </a:lnTo>
                  <a:lnTo>
                    <a:pt x="36913" y="20904"/>
                  </a:lnTo>
                  <a:lnTo>
                    <a:pt x="36970" y="20435"/>
                  </a:lnTo>
                  <a:lnTo>
                    <a:pt x="37012" y="19965"/>
                  </a:lnTo>
                  <a:lnTo>
                    <a:pt x="37041" y="19496"/>
                  </a:lnTo>
                  <a:lnTo>
                    <a:pt x="37055" y="19012"/>
                  </a:lnTo>
                  <a:lnTo>
                    <a:pt x="37069" y="18542"/>
                  </a:lnTo>
                  <a:lnTo>
                    <a:pt x="37055" y="18058"/>
                  </a:lnTo>
                  <a:lnTo>
                    <a:pt x="37041" y="17589"/>
                  </a:lnTo>
                  <a:lnTo>
                    <a:pt x="37012" y="17105"/>
                  </a:lnTo>
                  <a:lnTo>
                    <a:pt x="36970" y="16650"/>
                  </a:lnTo>
                  <a:lnTo>
                    <a:pt x="36913" y="16180"/>
                  </a:lnTo>
                  <a:lnTo>
                    <a:pt x="36856" y="15710"/>
                  </a:lnTo>
                  <a:lnTo>
                    <a:pt x="36785" y="15255"/>
                  </a:lnTo>
                  <a:lnTo>
                    <a:pt x="36685" y="14800"/>
                  </a:lnTo>
                  <a:lnTo>
                    <a:pt x="36600" y="14359"/>
                  </a:lnTo>
                  <a:lnTo>
                    <a:pt x="36486" y="13903"/>
                  </a:lnTo>
                  <a:lnTo>
                    <a:pt x="36358" y="13462"/>
                  </a:lnTo>
                  <a:lnTo>
                    <a:pt x="36230" y="13021"/>
                  </a:lnTo>
                  <a:lnTo>
                    <a:pt x="36087" y="12594"/>
                  </a:lnTo>
                  <a:lnTo>
                    <a:pt x="35945" y="12167"/>
                  </a:lnTo>
                  <a:lnTo>
                    <a:pt x="35789" y="11740"/>
                  </a:lnTo>
                  <a:lnTo>
                    <a:pt x="35618" y="11328"/>
                  </a:lnTo>
                  <a:lnTo>
                    <a:pt x="35433" y="10915"/>
                  </a:lnTo>
                  <a:lnTo>
                    <a:pt x="35234" y="10502"/>
                  </a:lnTo>
                  <a:lnTo>
                    <a:pt x="35034" y="10104"/>
                  </a:lnTo>
                  <a:lnTo>
                    <a:pt x="34835" y="9705"/>
                  </a:lnTo>
                  <a:lnTo>
                    <a:pt x="34607" y="9307"/>
                  </a:lnTo>
                  <a:lnTo>
                    <a:pt x="34380" y="8923"/>
                  </a:lnTo>
                  <a:lnTo>
                    <a:pt x="34152" y="8553"/>
                  </a:lnTo>
                  <a:lnTo>
                    <a:pt x="33896" y="8183"/>
                  </a:lnTo>
                  <a:lnTo>
                    <a:pt x="33654" y="7813"/>
                  </a:lnTo>
                  <a:lnTo>
                    <a:pt x="33384" y="7443"/>
                  </a:lnTo>
                  <a:lnTo>
                    <a:pt x="33113" y="7101"/>
                  </a:lnTo>
                  <a:lnTo>
                    <a:pt x="32843" y="6746"/>
                  </a:lnTo>
                  <a:lnTo>
                    <a:pt x="32544" y="6404"/>
                  </a:lnTo>
                  <a:lnTo>
                    <a:pt x="32260" y="6077"/>
                  </a:lnTo>
                  <a:lnTo>
                    <a:pt x="31946" y="5750"/>
                  </a:lnTo>
                  <a:lnTo>
                    <a:pt x="31633" y="5436"/>
                  </a:lnTo>
                  <a:lnTo>
                    <a:pt x="31320" y="5123"/>
                  </a:lnTo>
                  <a:lnTo>
                    <a:pt x="30993" y="4825"/>
                  </a:lnTo>
                  <a:lnTo>
                    <a:pt x="30666" y="4526"/>
                  </a:lnTo>
                  <a:lnTo>
                    <a:pt x="30324" y="4241"/>
                  </a:lnTo>
                  <a:lnTo>
                    <a:pt x="29983" y="3957"/>
                  </a:lnTo>
                  <a:lnTo>
                    <a:pt x="29627" y="3686"/>
                  </a:lnTo>
                  <a:lnTo>
                    <a:pt x="29257" y="3430"/>
                  </a:lnTo>
                  <a:lnTo>
                    <a:pt x="28901" y="3174"/>
                  </a:lnTo>
                  <a:lnTo>
                    <a:pt x="28531" y="2932"/>
                  </a:lnTo>
                  <a:lnTo>
                    <a:pt x="28147" y="2690"/>
                  </a:lnTo>
                  <a:lnTo>
                    <a:pt x="27763" y="2462"/>
                  </a:lnTo>
                  <a:lnTo>
                    <a:pt x="27364" y="2249"/>
                  </a:lnTo>
                  <a:lnTo>
                    <a:pt x="26966" y="2036"/>
                  </a:lnTo>
                  <a:lnTo>
                    <a:pt x="26568" y="1836"/>
                  </a:lnTo>
                  <a:lnTo>
                    <a:pt x="26169" y="1637"/>
                  </a:lnTo>
                  <a:lnTo>
                    <a:pt x="25742" y="1466"/>
                  </a:lnTo>
                  <a:lnTo>
                    <a:pt x="25330" y="1296"/>
                  </a:lnTo>
                  <a:lnTo>
                    <a:pt x="24903" y="1125"/>
                  </a:lnTo>
                  <a:lnTo>
                    <a:pt x="24476" y="983"/>
                  </a:lnTo>
                  <a:lnTo>
                    <a:pt x="24049" y="840"/>
                  </a:lnTo>
                  <a:lnTo>
                    <a:pt x="23608" y="712"/>
                  </a:lnTo>
                  <a:lnTo>
                    <a:pt x="23167" y="584"/>
                  </a:lnTo>
                  <a:lnTo>
                    <a:pt x="22726" y="484"/>
                  </a:lnTo>
                  <a:lnTo>
                    <a:pt x="22270" y="385"/>
                  </a:lnTo>
                  <a:lnTo>
                    <a:pt x="21815" y="299"/>
                  </a:lnTo>
                  <a:lnTo>
                    <a:pt x="21359" y="214"/>
                  </a:lnTo>
                  <a:lnTo>
                    <a:pt x="20890" y="157"/>
                  </a:lnTo>
                  <a:lnTo>
                    <a:pt x="20435" y="100"/>
                  </a:lnTo>
                  <a:lnTo>
                    <a:pt x="19965" y="58"/>
                  </a:lnTo>
                  <a:lnTo>
                    <a:pt x="19495" y="29"/>
                  </a:lnTo>
                  <a:lnTo>
                    <a:pt x="19012" y="15"/>
                  </a:lnTo>
                  <a:lnTo>
                    <a:pt x="18542" y="1"/>
                  </a:lnTo>
                  <a:close/>
                </a:path>
              </a:pathLst>
            </a:custGeom>
            <a:solidFill>
              <a:srgbClr val="21191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18"/>
            <p:cNvSpPr/>
            <p:nvPr/>
          </p:nvSpPr>
          <p:spPr>
            <a:xfrm>
              <a:off x="1438463" y="3160225"/>
              <a:ext cx="926750" cy="926750"/>
            </a:xfrm>
            <a:custGeom>
              <a:avLst/>
              <a:gdLst/>
              <a:ahLst/>
              <a:cxnLst/>
              <a:rect l="l" t="t" r="r" b="b"/>
              <a:pathLst>
                <a:path w="37070" h="37070" fill="none" extrusionOk="0">
                  <a:moveTo>
                    <a:pt x="37069" y="18542"/>
                  </a:moveTo>
                  <a:lnTo>
                    <a:pt x="37069" y="18542"/>
                  </a:lnTo>
                  <a:lnTo>
                    <a:pt x="37055" y="19012"/>
                  </a:lnTo>
                  <a:lnTo>
                    <a:pt x="37041" y="19496"/>
                  </a:lnTo>
                  <a:lnTo>
                    <a:pt x="37012" y="19965"/>
                  </a:lnTo>
                  <a:lnTo>
                    <a:pt x="36970" y="20435"/>
                  </a:lnTo>
                  <a:lnTo>
                    <a:pt x="36913" y="20904"/>
                  </a:lnTo>
                  <a:lnTo>
                    <a:pt x="36856" y="21360"/>
                  </a:lnTo>
                  <a:lnTo>
                    <a:pt x="36785" y="21815"/>
                  </a:lnTo>
                  <a:lnTo>
                    <a:pt x="36685" y="22270"/>
                  </a:lnTo>
                  <a:lnTo>
                    <a:pt x="36600" y="22726"/>
                  </a:lnTo>
                  <a:lnTo>
                    <a:pt x="36486" y="23167"/>
                  </a:lnTo>
                  <a:lnTo>
                    <a:pt x="36358" y="23608"/>
                  </a:lnTo>
                  <a:lnTo>
                    <a:pt x="36230" y="24049"/>
                  </a:lnTo>
                  <a:lnTo>
                    <a:pt x="36087" y="24476"/>
                  </a:lnTo>
                  <a:lnTo>
                    <a:pt x="35945" y="24903"/>
                  </a:lnTo>
                  <a:lnTo>
                    <a:pt x="35789" y="25330"/>
                  </a:lnTo>
                  <a:lnTo>
                    <a:pt x="35618" y="25757"/>
                  </a:lnTo>
                  <a:lnTo>
                    <a:pt x="35433" y="26169"/>
                  </a:lnTo>
                  <a:lnTo>
                    <a:pt x="35234" y="26568"/>
                  </a:lnTo>
                  <a:lnTo>
                    <a:pt x="35034" y="26981"/>
                  </a:lnTo>
                  <a:lnTo>
                    <a:pt x="34835" y="27365"/>
                  </a:lnTo>
                  <a:lnTo>
                    <a:pt x="34607" y="27763"/>
                  </a:lnTo>
                  <a:lnTo>
                    <a:pt x="34380" y="28147"/>
                  </a:lnTo>
                  <a:lnTo>
                    <a:pt x="34152" y="28532"/>
                  </a:lnTo>
                  <a:lnTo>
                    <a:pt x="33896" y="28902"/>
                  </a:lnTo>
                  <a:lnTo>
                    <a:pt x="33654" y="29272"/>
                  </a:lnTo>
                  <a:lnTo>
                    <a:pt x="33384" y="29627"/>
                  </a:lnTo>
                  <a:lnTo>
                    <a:pt x="33113" y="29983"/>
                  </a:lnTo>
                  <a:lnTo>
                    <a:pt x="32843" y="30325"/>
                  </a:lnTo>
                  <a:lnTo>
                    <a:pt x="32544" y="30666"/>
                  </a:lnTo>
                  <a:lnTo>
                    <a:pt x="32260" y="30993"/>
                  </a:lnTo>
                  <a:lnTo>
                    <a:pt x="31946" y="31321"/>
                  </a:lnTo>
                  <a:lnTo>
                    <a:pt x="31633" y="31648"/>
                  </a:lnTo>
                  <a:lnTo>
                    <a:pt x="31320" y="31947"/>
                  </a:lnTo>
                  <a:lnTo>
                    <a:pt x="30993" y="32260"/>
                  </a:lnTo>
                  <a:lnTo>
                    <a:pt x="30666" y="32545"/>
                  </a:lnTo>
                  <a:lnTo>
                    <a:pt x="30324" y="32843"/>
                  </a:lnTo>
                  <a:lnTo>
                    <a:pt x="29983" y="33114"/>
                  </a:lnTo>
                  <a:lnTo>
                    <a:pt x="29627" y="33384"/>
                  </a:lnTo>
                  <a:lnTo>
                    <a:pt x="29257" y="33654"/>
                  </a:lnTo>
                  <a:lnTo>
                    <a:pt x="28901" y="33911"/>
                  </a:lnTo>
                  <a:lnTo>
                    <a:pt x="28531" y="34152"/>
                  </a:lnTo>
                  <a:lnTo>
                    <a:pt x="28147" y="34380"/>
                  </a:lnTo>
                  <a:lnTo>
                    <a:pt x="27763" y="34608"/>
                  </a:lnTo>
                  <a:lnTo>
                    <a:pt x="27364" y="34836"/>
                  </a:lnTo>
                  <a:lnTo>
                    <a:pt x="26966" y="35035"/>
                  </a:lnTo>
                  <a:lnTo>
                    <a:pt x="26568" y="35248"/>
                  </a:lnTo>
                  <a:lnTo>
                    <a:pt x="26169" y="35433"/>
                  </a:lnTo>
                  <a:lnTo>
                    <a:pt x="25742" y="35618"/>
                  </a:lnTo>
                  <a:lnTo>
                    <a:pt x="25330" y="35789"/>
                  </a:lnTo>
                  <a:lnTo>
                    <a:pt x="24903" y="35945"/>
                  </a:lnTo>
                  <a:lnTo>
                    <a:pt x="24476" y="36102"/>
                  </a:lnTo>
                  <a:lnTo>
                    <a:pt x="24049" y="36230"/>
                  </a:lnTo>
                  <a:lnTo>
                    <a:pt x="23608" y="36372"/>
                  </a:lnTo>
                  <a:lnTo>
                    <a:pt x="23167" y="36486"/>
                  </a:lnTo>
                  <a:lnTo>
                    <a:pt x="22726" y="36600"/>
                  </a:lnTo>
                  <a:lnTo>
                    <a:pt x="22270" y="36700"/>
                  </a:lnTo>
                  <a:lnTo>
                    <a:pt x="21815" y="36785"/>
                  </a:lnTo>
                  <a:lnTo>
                    <a:pt x="21359" y="36856"/>
                  </a:lnTo>
                  <a:lnTo>
                    <a:pt x="20890" y="36927"/>
                  </a:lnTo>
                  <a:lnTo>
                    <a:pt x="20435" y="36970"/>
                  </a:lnTo>
                  <a:lnTo>
                    <a:pt x="19965" y="37013"/>
                  </a:lnTo>
                  <a:lnTo>
                    <a:pt x="19495" y="37041"/>
                  </a:lnTo>
                  <a:lnTo>
                    <a:pt x="19012" y="37070"/>
                  </a:lnTo>
                  <a:lnTo>
                    <a:pt x="18542" y="37070"/>
                  </a:lnTo>
                  <a:lnTo>
                    <a:pt x="18542" y="37070"/>
                  </a:lnTo>
                  <a:lnTo>
                    <a:pt x="18058" y="37070"/>
                  </a:lnTo>
                  <a:lnTo>
                    <a:pt x="17589" y="37041"/>
                  </a:lnTo>
                  <a:lnTo>
                    <a:pt x="17105" y="37013"/>
                  </a:lnTo>
                  <a:lnTo>
                    <a:pt x="16635" y="36970"/>
                  </a:lnTo>
                  <a:lnTo>
                    <a:pt x="16180" y="36927"/>
                  </a:lnTo>
                  <a:lnTo>
                    <a:pt x="15710" y="36856"/>
                  </a:lnTo>
                  <a:lnTo>
                    <a:pt x="15255" y="36785"/>
                  </a:lnTo>
                  <a:lnTo>
                    <a:pt x="14799" y="36700"/>
                  </a:lnTo>
                  <a:lnTo>
                    <a:pt x="14344" y="36600"/>
                  </a:lnTo>
                  <a:lnTo>
                    <a:pt x="13903" y="36486"/>
                  </a:lnTo>
                  <a:lnTo>
                    <a:pt x="13462" y="36372"/>
                  </a:lnTo>
                  <a:lnTo>
                    <a:pt x="13021" y="36230"/>
                  </a:lnTo>
                  <a:lnTo>
                    <a:pt x="12594" y="36102"/>
                  </a:lnTo>
                  <a:lnTo>
                    <a:pt x="12167" y="35945"/>
                  </a:lnTo>
                  <a:lnTo>
                    <a:pt x="11740" y="35789"/>
                  </a:lnTo>
                  <a:lnTo>
                    <a:pt x="11327" y="35618"/>
                  </a:lnTo>
                  <a:lnTo>
                    <a:pt x="10915" y="35433"/>
                  </a:lnTo>
                  <a:lnTo>
                    <a:pt x="10502" y="35248"/>
                  </a:lnTo>
                  <a:lnTo>
                    <a:pt x="10104" y="35035"/>
                  </a:lnTo>
                  <a:lnTo>
                    <a:pt x="9705" y="34836"/>
                  </a:lnTo>
                  <a:lnTo>
                    <a:pt x="9307" y="34608"/>
                  </a:lnTo>
                  <a:lnTo>
                    <a:pt x="8923" y="34380"/>
                  </a:lnTo>
                  <a:lnTo>
                    <a:pt x="8553" y="34152"/>
                  </a:lnTo>
                  <a:lnTo>
                    <a:pt x="8168" y="33911"/>
                  </a:lnTo>
                  <a:lnTo>
                    <a:pt x="7813" y="33654"/>
                  </a:lnTo>
                  <a:lnTo>
                    <a:pt x="7443" y="33384"/>
                  </a:lnTo>
                  <a:lnTo>
                    <a:pt x="7101" y="33114"/>
                  </a:lnTo>
                  <a:lnTo>
                    <a:pt x="6745" y="32843"/>
                  </a:lnTo>
                  <a:lnTo>
                    <a:pt x="6404" y="32545"/>
                  </a:lnTo>
                  <a:lnTo>
                    <a:pt x="6077" y="32260"/>
                  </a:lnTo>
                  <a:lnTo>
                    <a:pt x="5749" y="31947"/>
                  </a:lnTo>
                  <a:lnTo>
                    <a:pt x="5436" y="31648"/>
                  </a:lnTo>
                  <a:lnTo>
                    <a:pt x="5123" y="31321"/>
                  </a:lnTo>
                  <a:lnTo>
                    <a:pt x="4824" y="30993"/>
                  </a:lnTo>
                  <a:lnTo>
                    <a:pt x="4525" y="30666"/>
                  </a:lnTo>
                  <a:lnTo>
                    <a:pt x="4241" y="30325"/>
                  </a:lnTo>
                  <a:lnTo>
                    <a:pt x="3956" y="29983"/>
                  </a:lnTo>
                  <a:lnTo>
                    <a:pt x="3686" y="29627"/>
                  </a:lnTo>
                  <a:lnTo>
                    <a:pt x="3430" y="29272"/>
                  </a:lnTo>
                  <a:lnTo>
                    <a:pt x="3174" y="28902"/>
                  </a:lnTo>
                  <a:lnTo>
                    <a:pt x="2918" y="28532"/>
                  </a:lnTo>
                  <a:lnTo>
                    <a:pt x="2690" y="28147"/>
                  </a:lnTo>
                  <a:lnTo>
                    <a:pt x="2462" y="27763"/>
                  </a:lnTo>
                  <a:lnTo>
                    <a:pt x="2234" y="27365"/>
                  </a:lnTo>
                  <a:lnTo>
                    <a:pt x="2035" y="26981"/>
                  </a:lnTo>
                  <a:lnTo>
                    <a:pt x="1836" y="26568"/>
                  </a:lnTo>
                  <a:lnTo>
                    <a:pt x="1637" y="26169"/>
                  </a:lnTo>
                  <a:lnTo>
                    <a:pt x="1466" y="25757"/>
                  </a:lnTo>
                  <a:lnTo>
                    <a:pt x="1295" y="25330"/>
                  </a:lnTo>
                  <a:lnTo>
                    <a:pt x="1125" y="24903"/>
                  </a:lnTo>
                  <a:lnTo>
                    <a:pt x="982" y="24476"/>
                  </a:lnTo>
                  <a:lnTo>
                    <a:pt x="840" y="24049"/>
                  </a:lnTo>
                  <a:lnTo>
                    <a:pt x="712" y="23608"/>
                  </a:lnTo>
                  <a:lnTo>
                    <a:pt x="584" y="23167"/>
                  </a:lnTo>
                  <a:lnTo>
                    <a:pt x="484" y="22726"/>
                  </a:lnTo>
                  <a:lnTo>
                    <a:pt x="385" y="22270"/>
                  </a:lnTo>
                  <a:lnTo>
                    <a:pt x="299" y="21815"/>
                  </a:lnTo>
                  <a:lnTo>
                    <a:pt x="214" y="21360"/>
                  </a:lnTo>
                  <a:lnTo>
                    <a:pt x="157" y="20904"/>
                  </a:lnTo>
                  <a:lnTo>
                    <a:pt x="100" y="20435"/>
                  </a:lnTo>
                  <a:lnTo>
                    <a:pt x="57" y="19965"/>
                  </a:lnTo>
                  <a:lnTo>
                    <a:pt x="29" y="19496"/>
                  </a:lnTo>
                  <a:lnTo>
                    <a:pt x="15" y="19012"/>
                  </a:lnTo>
                  <a:lnTo>
                    <a:pt x="0" y="18542"/>
                  </a:lnTo>
                  <a:lnTo>
                    <a:pt x="0" y="18542"/>
                  </a:lnTo>
                  <a:lnTo>
                    <a:pt x="15" y="18058"/>
                  </a:lnTo>
                  <a:lnTo>
                    <a:pt x="29" y="17589"/>
                  </a:lnTo>
                  <a:lnTo>
                    <a:pt x="57" y="17105"/>
                  </a:lnTo>
                  <a:lnTo>
                    <a:pt x="100" y="16650"/>
                  </a:lnTo>
                  <a:lnTo>
                    <a:pt x="157" y="16180"/>
                  </a:lnTo>
                  <a:lnTo>
                    <a:pt x="214" y="15710"/>
                  </a:lnTo>
                  <a:lnTo>
                    <a:pt x="299" y="15255"/>
                  </a:lnTo>
                  <a:lnTo>
                    <a:pt x="385" y="14800"/>
                  </a:lnTo>
                  <a:lnTo>
                    <a:pt x="484" y="14359"/>
                  </a:lnTo>
                  <a:lnTo>
                    <a:pt x="584" y="13903"/>
                  </a:lnTo>
                  <a:lnTo>
                    <a:pt x="712" y="13462"/>
                  </a:lnTo>
                  <a:lnTo>
                    <a:pt x="840" y="13021"/>
                  </a:lnTo>
                  <a:lnTo>
                    <a:pt x="982" y="12594"/>
                  </a:lnTo>
                  <a:lnTo>
                    <a:pt x="1125" y="12167"/>
                  </a:lnTo>
                  <a:lnTo>
                    <a:pt x="1295" y="11740"/>
                  </a:lnTo>
                  <a:lnTo>
                    <a:pt x="1466" y="11328"/>
                  </a:lnTo>
                  <a:lnTo>
                    <a:pt x="1637" y="10915"/>
                  </a:lnTo>
                  <a:lnTo>
                    <a:pt x="1836" y="10502"/>
                  </a:lnTo>
                  <a:lnTo>
                    <a:pt x="2035" y="10104"/>
                  </a:lnTo>
                  <a:lnTo>
                    <a:pt x="2234" y="9705"/>
                  </a:lnTo>
                  <a:lnTo>
                    <a:pt x="2462" y="9307"/>
                  </a:lnTo>
                  <a:lnTo>
                    <a:pt x="2690" y="8923"/>
                  </a:lnTo>
                  <a:lnTo>
                    <a:pt x="2918" y="8553"/>
                  </a:lnTo>
                  <a:lnTo>
                    <a:pt x="3174" y="8183"/>
                  </a:lnTo>
                  <a:lnTo>
                    <a:pt x="3430" y="7813"/>
                  </a:lnTo>
                  <a:lnTo>
                    <a:pt x="3686" y="7443"/>
                  </a:lnTo>
                  <a:lnTo>
                    <a:pt x="3956" y="7101"/>
                  </a:lnTo>
                  <a:lnTo>
                    <a:pt x="4241" y="6746"/>
                  </a:lnTo>
                  <a:lnTo>
                    <a:pt x="4525" y="6404"/>
                  </a:lnTo>
                  <a:lnTo>
                    <a:pt x="4824" y="6077"/>
                  </a:lnTo>
                  <a:lnTo>
                    <a:pt x="5123" y="5750"/>
                  </a:lnTo>
                  <a:lnTo>
                    <a:pt x="5436" y="5436"/>
                  </a:lnTo>
                  <a:lnTo>
                    <a:pt x="5749" y="5123"/>
                  </a:lnTo>
                  <a:lnTo>
                    <a:pt x="6077" y="4825"/>
                  </a:lnTo>
                  <a:lnTo>
                    <a:pt x="6404" y="4526"/>
                  </a:lnTo>
                  <a:lnTo>
                    <a:pt x="6745" y="4241"/>
                  </a:lnTo>
                  <a:lnTo>
                    <a:pt x="7101" y="3957"/>
                  </a:lnTo>
                  <a:lnTo>
                    <a:pt x="7443" y="3686"/>
                  </a:lnTo>
                  <a:lnTo>
                    <a:pt x="7813" y="3430"/>
                  </a:lnTo>
                  <a:lnTo>
                    <a:pt x="8168" y="3174"/>
                  </a:lnTo>
                  <a:lnTo>
                    <a:pt x="8553" y="2932"/>
                  </a:lnTo>
                  <a:lnTo>
                    <a:pt x="8923" y="2690"/>
                  </a:lnTo>
                  <a:lnTo>
                    <a:pt x="9307" y="2462"/>
                  </a:lnTo>
                  <a:lnTo>
                    <a:pt x="9705" y="2249"/>
                  </a:lnTo>
                  <a:lnTo>
                    <a:pt x="10104" y="2036"/>
                  </a:lnTo>
                  <a:lnTo>
                    <a:pt x="10502" y="1836"/>
                  </a:lnTo>
                  <a:lnTo>
                    <a:pt x="10915" y="1637"/>
                  </a:lnTo>
                  <a:lnTo>
                    <a:pt x="11327" y="1466"/>
                  </a:lnTo>
                  <a:lnTo>
                    <a:pt x="11740" y="1296"/>
                  </a:lnTo>
                  <a:lnTo>
                    <a:pt x="12167" y="1125"/>
                  </a:lnTo>
                  <a:lnTo>
                    <a:pt x="12594" y="983"/>
                  </a:lnTo>
                  <a:lnTo>
                    <a:pt x="13021" y="840"/>
                  </a:lnTo>
                  <a:lnTo>
                    <a:pt x="13462" y="712"/>
                  </a:lnTo>
                  <a:lnTo>
                    <a:pt x="13903" y="584"/>
                  </a:lnTo>
                  <a:lnTo>
                    <a:pt x="14344" y="484"/>
                  </a:lnTo>
                  <a:lnTo>
                    <a:pt x="14799" y="385"/>
                  </a:lnTo>
                  <a:lnTo>
                    <a:pt x="15255" y="299"/>
                  </a:lnTo>
                  <a:lnTo>
                    <a:pt x="15710" y="214"/>
                  </a:lnTo>
                  <a:lnTo>
                    <a:pt x="16180" y="157"/>
                  </a:lnTo>
                  <a:lnTo>
                    <a:pt x="16635" y="100"/>
                  </a:lnTo>
                  <a:lnTo>
                    <a:pt x="17105" y="58"/>
                  </a:lnTo>
                  <a:lnTo>
                    <a:pt x="17589" y="29"/>
                  </a:lnTo>
                  <a:lnTo>
                    <a:pt x="18058" y="15"/>
                  </a:lnTo>
                  <a:lnTo>
                    <a:pt x="18542" y="1"/>
                  </a:lnTo>
                  <a:lnTo>
                    <a:pt x="18542" y="1"/>
                  </a:lnTo>
                  <a:lnTo>
                    <a:pt x="19012" y="15"/>
                  </a:lnTo>
                  <a:lnTo>
                    <a:pt x="19495" y="29"/>
                  </a:lnTo>
                  <a:lnTo>
                    <a:pt x="19965" y="58"/>
                  </a:lnTo>
                  <a:lnTo>
                    <a:pt x="20435" y="100"/>
                  </a:lnTo>
                  <a:lnTo>
                    <a:pt x="20890" y="157"/>
                  </a:lnTo>
                  <a:lnTo>
                    <a:pt x="21359" y="214"/>
                  </a:lnTo>
                  <a:lnTo>
                    <a:pt x="21815" y="299"/>
                  </a:lnTo>
                  <a:lnTo>
                    <a:pt x="22270" y="385"/>
                  </a:lnTo>
                  <a:lnTo>
                    <a:pt x="22726" y="484"/>
                  </a:lnTo>
                  <a:lnTo>
                    <a:pt x="23167" y="584"/>
                  </a:lnTo>
                  <a:lnTo>
                    <a:pt x="23608" y="712"/>
                  </a:lnTo>
                  <a:lnTo>
                    <a:pt x="24049" y="840"/>
                  </a:lnTo>
                  <a:lnTo>
                    <a:pt x="24476" y="983"/>
                  </a:lnTo>
                  <a:lnTo>
                    <a:pt x="24903" y="1125"/>
                  </a:lnTo>
                  <a:lnTo>
                    <a:pt x="25330" y="1296"/>
                  </a:lnTo>
                  <a:lnTo>
                    <a:pt x="25742" y="1466"/>
                  </a:lnTo>
                  <a:lnTo>
                    <a:pt x="26169" y="1637"/>
                  </a:lnTo>
                  <a:lnTo>
                    <a:pt x="26568" y="1836"/>
                  </a:lnTo>
                  <a:lnTo>
                    <a:pt x="26966" y="2036"/>
                  </a:lnTo>
                  <a:lnTo>
                    <a:pt x="27364" y="2249"/>
                  </a:lnTo>
                  <a:lnTo>
                    <a:pt x="27763" y="2462"/>
                  </a:lnTo>
                  <a:lnTo>
                    <a:pt x="28147" y="2690"/>
                  </a:lnTo>
                  <a:lnTo>
                    <a:pt x="28531" y="2932"/>
                  </a:lnTo>
                  <a:lnTo>
                    <a:pt x="28901" y="3174"/>
                  </a:lnTo>
                  <a:lnTo>
                    <a:pt x="29257" y="3430"/>
                  </a:lnTo>
                  <a:lnTo>
                    <a:pt x="29627" y="3686"/>
                  </a:lnTo>
                  <a:lnTo>
                    <a:pt x="29983" y="3957"/>
                  </a:lnTo>
                  <a:lnTo>
                    <a:pt x="30324" y="4241"/>
                  </a:lnTo>
                  <a:lnTo>
                    <a:pt x="30666" y="4526"/>
                  </a:lnTo>
                  <a:lnTo>
                    <a:pt x="30993" y="4825"/>
                  </a:lnTo>
                  <a:lnTo>
                    <a:pt x="31320" y="5123"/>
                  </a:lnTo>
                  <a:lnTo>
                    <a:pt x="31633" y="5436"/>
                  </a:lnTo>
                  <a:lnTo>
                    <a:pt x="31946" y="5750"/>
                  </a:lnTo>
                  <a:lnTo>
                    <a:pt x="32260" y="6077"/>
                  </a:lnTo>
                  <a:lnTo>
                    <a:pt x="32544" y="6404"/>
                  </a:lnTo>
                  <a:lnTo>
                    <a:pt x="32843" y="6746"/>
                  </a:lnTo>
                  <a:lnTo>
                    <a:pt x="33113" y="7101"/>
                  </a:lnTo>
                  <a:lnTo>
                    <a:pt x="33384" y="7443"/>
                  </a:lnTo>
                  <a:lnTo>
                    <a:pt x="33654" y="7813"/>
                  </a:lnTo>
                  <a:lnTo>
                    <a:pt x="33896" y="8183"/>
                  </a:lnTo>
                  <a:lnTo>
                    <a:pt x="34152" y="8553"/>
                  </a:lnTo>
                  <a:lnTo>
                    <a:pt x="34380" y="8923"/>
                  </a:lnTo>
                  <a:lnTo>
                    <a:pt x="34607" y="9307"/>
                  </a:lnTo>
                  <a:lnTo>
                    <a:pt x="34835" y="9705"/>
                  </a:lnTo>
                  <a:lnTo>
                    <a:pt x="35034" y="10104"/>
                  </a:lnTo>
                  <a:lnTo>
                    <a:pt x="35234" y="10502"/>
                  </a:lnTo>
                  <a:lnTo>
                    <a:pt x="35433" y="10915"/>
                  </a:lnTo>
                  <a:lnTo>
                    <a:pt x="35618" y="11328"/>
                  </a:lnTo>
                  <a:lnTo>
                    <a:pt x="35789" y="11740"/>
                  </a:lnTo>
                  <a:lnTo>
                    <a:pt x="35945" y="12167"/>
                  </a:lnTo>
                  <a:lnTo>
                    <a:pt x="36087" y="12594"/>
                  </a:lnTo>
                  <a:lnTo>
                    <a:pt x="36230" y="13021"/>
                  </a:lnTo>
                  <a:lnTo>
                    <a:pt x="36358" y="13462"/>
                  </a:lnTo>
                  <a:lnTo>
                    <a:pt x="36486" y="13903"/>
                  </a:lnTo>
                  <a:lnTo>
                    <a:pt x="36600" y="14359"/>
                  </a:lnTo>
                  <a:lnTo>
                    <a:pt x="36685" y="14800"/>
                  </a:lnTo>
                  <a:lnTo>
                    <a:pt x="36785" y="15255"/>
                  </a:lnTo>
                  <a:lnTo>
                    <a:pt x="36856" y="15710"/>
                  </a:lnTo>
                  <a:lnTo>
                    <a:pt x="36913" y="16180"/>
                  </a:lnTo>
                  <a:lnTo>
                    <a:pt x="36970" y="16650"/>
                  </a:lnTo>
                  <a:lnTo>
                    <a:pt x="37012" y="17105"/>
                  </a:lnTo>
                  <a:lnTo>
                    <a:pt x="37041" y="17589"/>
                  </a:lnTo>
                  <a:lnTo>
                    <a:pt x="37055" y="18058"/>
                  </a:lnTo>
                  <a:lnTo>
                    <a:pt x="37069" y="18542"/>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8"/>
            <p:cNvSpPr/>
            <p:nvPr/>
          </p:nvSpPr>
          <p:spPr>
            <a:xfrm>
              <a:off x="1577563" y="3298975"/>
              <a:ext cx="649625" cy="649975"/>
            </a:xfrm>
            <a:custGeom>
              <a:avLst/>
              <a:gdLst/>
              <a:ahLst/>
              <a:cxnLst/>
              <a:rect l="l" t="t" r="r" b="b"/>
              <a:pathLst>
                <a:path w="25985" h="25999" extrusionOk="0">
                  <a:moveTo>
                    <a:pt x="13746" y="0"/>
                  </a:moveTo>
                  <a:lnTo>
                    <a:pt x="13604" y="2377"/>
                  </a:lnTo>
                  <a:lnTo>
                    <a:pt x="14145" y="2419"/>
                  </a:lnTo>
                  <a:lnTo>
                    <a:pt x="14401" y="57"/>
                  </a:lnTo>
                  <a:lnTo>
                    <a:pt x="13746" y="0"/>
                  </a:lnTo>
                  <a:close/>
                  <a:moveTo>
                    <a:pt x="11142" y="100"/>
                  </a:moveTo>
                  <a:lnTo>
                    <a:pt x="10815" y="157"/>
                  </a:lnTo>
                  <a:lnTo>
                    <a:pt x="10502" y="214"/>
                  </a:lnTo>
                  <a:lnTo>
                    <a:pt x="10943" y="2547"/>
                  </a:lnTo>
                  <a:lnTo>
                    <a:pt x="11470" y="2462"/>
                  </a:lnTo>
                  <a:lnTo>
                    <a:pt x="11142" y="100"/>
                  </a:lnTo>
                  <a:close/>
                  <a:moveTo>
                    <a:pt x="16948" y="598"/>
                  </a:moveTo>
                  <a:lnTo>
                    <a:pt x="16222" y="2875"/>
                  </a:lnTo>
                  <a:lnTo>
                    <a:pt x="16735" y="3046"/>
                  </a:lnTo>
                  <a:lnTo>
                    <a:pt x="17574" y="811"/>
                  </a:lnTo>
                  <a:lnTo>
                    <a:pt x="16948" y="598"/>
                  </a:lnTo>
                  <a:close/>
                  <a:moveTo>
                    <a:pt x="7997" y="968"/>
                  </a:moveTo>
                  <a:lnTo>
                    <a:pt x="7400" y="1224"/>
                  </a:lnTo>
                  <a:lnTo>
                    <a:pt x="8424" y="3387"/>
                  </a:lnTo>
                  <a:lnTo>
                    <a:pt x="8908" y="3159"/>
                  </a:lnTo>
                  <a:lnTo>
                    <a:pt x="7997" y="968"/>
                  </a:lnTo>
                  <a:close/>
                  <a:moveTo>
                    <a:pt x="19908" y="1978"/>
                  </a:moveTo>
                  <a:lnTo>
                    <a:pt x="18641" y="3999"/>
                  </a:lnTo>
                  <a:lnTo>
                    <a:pt x="19083" y="4298"/>
                  </a:lnTo>
                  <a:lnTo>
                    <a:pt x="20449" y="2334"/>
                  </a:lnTo>
                  <a:lnTo>
                    <a:pt x="19908" y="1978"/>
                  </a:lnTo>
                  <a:close/>
                  <a:moveTo>
                    <a:pt x="5166" y="2576"/>
                  </a:moveTo>
                  <a:lnTo>
                    <a:pt x="4910" y="2775"/>
                  </a:lnTo>
                  <a:lnTo>
                    <a:pt x="4653" y="2989"/>
                  </a:lnTo>
                  <a:lnTo>
                    <a:pt x="6176" y="4810"/>
                  </a:lnTo>
                  <a:lnTo>
                    <a:pt x="6603" y="4483"/>
                  </a:lnTo>
                  <a:lnTo>
                    <a:pt x="5166" y="2576"/>
                  </a:lnTo>
                  <a:close/>
                  <a:moveTo>
                    <a:pt x="22427" y="4056"/>
                  </a:moveTo>
                  <a:lnTo>
                    <a:pt x="20691" y="5692"/>
                  </a:lnTo>
                  <a:lnTo>
                    <a:pt x="21046" y="6091"/>
                  </a:lnTo>
                  <a:lnTo>
                    <a:pt x="22868" y="4525"/>
                  </a:lnTo>
                  <a:lnTo>
                    <a:pt x="22427" y="4056"/>
                  </a:lnTo>
                  <a:close/>
                  <a:moveTo>
                    <a:pt x="2818" y="4838"/>
                  </a:moveTo>
                  <a:lnTo>
                    <a:pt x="2434" y="5365"/>
                  </a:lnTo>
                  <a:lnTo>
                    <a:pt x="4355" y="6760"/>
                  </a:lnTo>
                  <a:lnTo>
                    <a:pt x="4682" y="6333"/>
                  </a:lnTo>
                  <a:lnTo>
                    <a:pt x="2818" y="4838"/>
                  </a:lnTo>
                  <a:close/>
                  <a:moveTo>
                    <a:pt x="24348" y="6674"/>
                  </a:moveTo>
                  <a:lnTo>
                    <a:pt x="22270" y="7841"/>
                  </a:lnTo>
                  <a:lnTo>
                    <a:pt x="22512" y="8311"/>
                  </a:lnTo>
                  <a:lnTo>
                    <a:pt x="24661" y="7258"/>
                  </a:lnTo>
                  <a:lnTo>
                    <a:pt x="24504" y="6959"/>
                  </a:lnTo>
                  <a:lnTo>
                    <a:pt x="24348" y="6674"/>
                  </a:lnTo>
                  <a:close/>
                  <a:moveTo>
                    <a:pt x="1110" y="7628"/>
                  </a:moveTo>
                  <a:lnTo>
                    <a:pt x="854" y="8225"/>
                  </a:lnTo>
                  <a:lnTo>
                    <a:pt x="3074" y="9093"/>
                  </a:lnTo>
                  <a:lnTo>
                    <a:pt x="3287" y="8609"/>
                  </a:lnTo>
                  <a:lnTo>
                    <a:pt x="1110" y="7628"/>
                  </a:lnTo>
                  <a:close/>
                  <a:moveTo>
                    <a:pt x="25557" y="9705"/>
                  </a:moveTo>
                  <a:lnTo>
                    <a:pt x="23252" y="10303"/>
                  </a:lnTo>
                  <a:lnTo>
                    <a:pt x="23380" y="10829"/>
                  </a:lnTo>
                  <a:lnTo>
                    <a:pt x="25714" y="10331"/>
                  </a:lnTo>
                  <a:lnTo>
                    <a:pt x="25557" y="9705"/>
                  </a:lnTo>
                  <a:close/>
                  <a:moveTo>
                    <a:pt x="157" y="10744"/>
                  </a:moveTo>
                  <a:lnTo>
                    <a:pt x="57" y="11384"/>
                  </a:lnTo>
                  <a:lnTo>
                    <a:pt x="2419" y="11683"/>
                  </a:lnTo>
                  <a:lnTo>
                    <a:pt x="2505" y="11142"/>
                  </a:lnTo>
                  <a:lnTo>
                    <a:pt x="157" y="10744"/>
                  </a:lnTo>
                  <a:close/>
                  <a:moveTo>
                    <a:pt x="25557" y="12950"/>
                  </a:moveTo>
                  <a:lnTo>
                    <a:pt x="23593" y="12992"/>
                  </a:lnTo>
                  <a:lnTo>
                    <a:pt x="23579" y="13519"/>
                  </a:lnTo>
                  <a:lnTo>
                    <a:pt x="25970" y="13647"/>
                  </a:lnTo>
                  <a:lnTo>
                    <a:pt x="25984" y="13305"/>
                  </a:lnTo>
                  <a:lnTo>
                    <a:pt x="25984" y="12950"/>
                  </a:lnTo>
                  <a:close/>
                  <a:moveTo>
                    <a:pt x="2377" y="13818"/>
                  </a:moveTo>
                  <a:lnTo>
                    <a:pt x="0" y="13988"/>
                  </a:lnTo>
                  <a:lnTo>
                    <a:pt x="29" y="14316"/>
                  </a:lnTo>
                  <a:lnTo>
                    <a:pt x="71" y="14643"/>
                  </a:lnTo>
                  <a:lnTo>
                    <a:pt x="2434" y="14344"/>
                  </a:lnTo>
                  <a:lnTo>
                    <a:pt x="2377" y="13818"/>
                  </a:lnTo>
                  <a:close/>
                  <a:moveTo>
                    <a:pt x="23266" y="15625"/>
                  </a:moveTo>
                  <a:lnTo>
                    <a:pt x="23124" y="16151"/>
                  </a:lnTo>
                  <a:lnTo>
                    <a:pt x="25401" y="16849"/>
                  </a:lnTo>
                  <a:lnTo>
                    <a:pt x="25571" y="16222"/>
                  </a:lnTo>
                  <a:lnTo>
                    <a:pt x="23266" y="15625"/>
                  </a:lnTo>
                  <a:close/>
                  <a:moveTo>
                    <a:pt x="2917" y="16422"/>
                  </a:moveTo>
                  <a:lnTo>
                    <a:pt x="655" y="17190"/>
                  </a:lnTo>
                  <a:lnTo>
                    <a:pt x="769" y="17489"/>
                  </a:lnTo>
                  <a:lnTo>
                    <a:pt x="883" y="17802"/>
                  </a:lnTo>
                  <a:lnTo>
                    <a:pt x="3102" y="16920"/>
                  </a:lnTo>
                  <a:lnTo>
                    <a:pt x="2917" y="16422"/>
                  </a:lnTo>
                  <a:close/>
                  <a:moveTo>
                    <a:pt x="22284" y="18101"/>
                  </a:moveTo>
                  <a:lnTo>
                    <a:pt x="22014" y="18570"/>
                  </a:lnTo>
                  <a:lnTo>
                    <a:pt x="24049" y="19823"/>
                  </a:lnTo>
                  <a:lnTo>
                    <a:pt x="24220" y="19538"/>
                  </a:lnTo>
                  <a:lnTo>
                    <a:pt x="24376" y="19253"/>
                  </a:lnTo>
                  <a:lnTo>
                    <a:pt x="22284" y="18101"/>
                  </a:lnTo>
                  <a:close/>
                  <a:moveTo>
                    <a:pt x="4084" y="18812"/>
                  </a:moveTo>
                  <a:lnTo>
                    <a:pt x="2092" y="20121"/>
                  </a:lnTo>
                  <a:lnTo>
                    <a:pt x="2462" y="20648"/>
                  </a:lnTo>
                  <a:lnTo>
                    <a:pt x="4383" y="19239"/>
                  </a:lnTo>
                  <a:lnTo>
                    <a:pt x="4084" y="18812"/>
                  </a:lnTo>
                  <a:close/>
                  <a:moveTo>
                    <a:pt x="20719" y="20264"/>
                  </a:moveTo>
                  <a:lnTo>
                    <a:pt x="20349" y="20634"/>
                  </a:lnTo>
                  <a:lnTo>
                    <a:pt x="22000" y="22356"/>
                  </a:lnTo>
                  <a:lnTo>
                    <a:pt x="22455" y="21886"/>
                  </a:lnTo>
                  <a:lnTo>
                    <a:pt x="20719" y="20264"/>
                  </a:lnTo>
                  <a:close/>
                  <a:moveTo>
                    <a:pt x="5806" y="20833"/>
                  </a:moveTo>
                  <a:lnTo>
                    <a:pt x="4198" y="22597"/>
                  </a:lnTo>
                  <a:lnTo>
                    <a:pt x="4696" y="23024"/>
                  </a:lnTo>
                  <a:lnTo>
                    <a:pt x="6204" y="21189"/>
                  </a:lnTo>
                  <a:lnTo>
                    <a:pt x="5806" y="20833"/>
                  </a:lnTo>
                  <a:close/>
                  <a:moveTo>
                    <a:pt x="18670" y="21957"/>
                  </a:moveTo>
                  <a:lnTo>
                    <a:pt x="18215" y="22227"/>
                  </a:lnTo>
                  <a:lnTo>
                    <a:pt x="19396" y="24305"/>
                  </a:lnTo>
                  <a:lnTo>
                    <a:pt x="19951" y="23964"/>
                  </a:lnTo>
                  <a:lnTo>
                    <a:pt x="18670" y="21957"/>
                  </a:lnTo>
                  <a:close/>
                  <a:moveTo>
                    <a:pt x="7983" y="22370"/>
                  </a:moveTo>
                  <a:lnTo>
                    <a:pt x="6859" y="24476"/>
                  </a:lnTo>
                  <a:lnTo>
                    <a:pt x="7442" y="24775"/>
                  </a:lnTo>
                  <a:lnTo>
                    <a:pt x="8453" y="22612"/>
                  </a:lnTo>
                  <a:lnTo>
                    <a:pt x="7983" y="22370"/>
                  </a:lnTo>
                  <a:close/>
                  <a:moveTo>
                    <a:pt x="16265" y="23095"/>
                  </a:moveTo>
                  <a:lnTo>
                    <a:pt x="15753" y="23252"/>
                  </a:lnTo>
                  <a:lnTo>
                    <a:pt x="16379" y="25543"/>
                  </a:lnTo>
                  <a:lnTo>
                    <a:pt x="17005" y="25358"/>
                  </a:lnTo>
                  <a:lnTo>
                    <a:pt x="16265" y="23095"/>
                  </a:lnTo>
                  <a:close/>
                  <a:moveTo>
                    <a:pt x="10473" y="23323"/>
                  </a:moveTo>
                  <a:lnTo>
                    <a:pt x="9904" y="25643"/>
                  </a:lnTo>
                  <a:lnTo>
                    <a:pt x="10545" y="25771"/>
                  </a:lnTo>
                  <a:lnTo>
                    <a:pt x="10986" y="23423"/>
                  </a:lnTo>
                  <a:lnTo>
                    <a:pt x="10473" y="23323"/>
                  </a:lnTo>
                  <a:close/>
                  <a:moveTo>
                    <a:pt x="13647" y="23594"/>
                  </a:moveTo>
                  <a:lnTo>
                    <a:pt x="13120" y="23608"/>
                  </a:lnTo>
                  <a:lnTo>
                    <a:pt x="13149" y="25998"/>
                  </a:lnTo>
                  <a:lnTo>
                    <a:pt x="13803" y="25970"/>
                  </a:lnTo>
                  <a:lnTo>
                    <a:pt x="13647" y="2359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18"/>
            <p:cNvSpPr/>
            <p:nvPr/>
          </p:nvSpPr>
          <p:spPr>
            <a:xfrm>
              <a:off x="1905563" y="3888800"/>
              <a:ext cx="17100" cy="60150"/>
            </a:xfrm>
            <a:custGeom>
              <a:avLst/>
              <a:gdLst/>
              <a:ahLst/>
              <a:cxnLst/>
              <a:rect l="l" t="t" r="r" b="b"/>
              <a:pathLst>
                <a:path w="684" h="2406" fill="none" extrusionOk="0">
                  <a:moveTo>
                    <a:pt x="29" y="2405"/>
                  </a:moveTo>
                  <a:lnTo>
                    <a:pt x="0" y="15"/>
                  </a:lnTo>
                  <a:lnTo>
                    <a:pt x="0" y="15"/>
                  </a:lnTo>
                  <a:lnTo>
                    <a:pt x="527" y="1"/>
                  </a:lnTo>
                  <a:lnTo>
                    <a:pt x="683" y="2377"/>
                  </a:lnTo>
                  <a:lnTo>
                    <a:pt x="683" y="2377"/>
                  </a:lnTo>
                  <a:lnTo>
                    <a:pt x="29" y="2405"/>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9" name="Google Shape;369;p18"/>
            <p:cNvSpPr/>
            <p:nvPr/>
          </p:nvSpPr>
          <p:spPr>
            <a:xfrm>
              <a:off x="1825163" y="3882050"/>
              <a:ext cx="27050" cy="61200"/>
            </a:xfrm>
            <a:custGeom>
              <a:avLst/>
              <a:gdLst/>
              <a:ahLst/>
              <a:cxnLst/>
              <a:rect l="l" t="t" r="r" b="b"/>
              <a:pathLst>
                <a:path w="1082" h="2448" fill="none" extrusionOk="0">
                  <a:moveTo>
                    <a:pt x="641" y="2448"/>
                  </a:moveTo>
                  <a:lnTo>
                    <a:pt x="641" y="2448"/>
                  </a:lnTo>
                  <a:lnTo>
                    <a:pt x="0" y="2320"/>
                  </a:lnTo>
                  <a:lnTo>
                    <a:pt x="569" y="0"/>
                  </a:lnTo>
                  <a:lnTo>
                    <a:pt x="569" y="0"/>
                  </a:lnTo>
                  <a:lnTo>
                    <a:pt x="1082" y="100"/>
                  </a:lnTo>
                  <a:lnTo>
                    <a:pt x="641" y="244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0" name="Google Shape;370;p18"/>
            <p:cNvSpPr/>
            <p:nvPr/>
          </p:nvSpPr>
          <p:spPr>
            <a:xfrm>
              <a:off x="1971363" y="3876350"/>
              <a:ext cx="31325" cy="61225"/>
            </a:xfrm>
            <a:custGeom>
              <a:avLst/>
              <a:gdLst/>
              <a:ahLst/>
              <a:cxnLst/>
              <a:rect l="l" t="t" r="r" b="b"/>
              <a:pathLst>
                <a:path w="1253" h="2449" fill="none" extrusionOk="0">
                  <a:moveTo>
                    <a:pt x="627" y="2448"/>
                  </a:moveTo>
                  <a:lnTo>
                    <a:pt x="1" y="157"/>
                  </a:lnTo>
                  <a:lnTo>
                    <a:pt x="1" y="157"/>
                  </a:lnTo>
                  <a:lnTo>
                    <a:pt x="513" y="0"/>
                  </a:lnTo>
                  <a:lnTo>
                    <a:pt x="1253" y="2263"/>
                  </a:lnTo>
                  <a:lnTo>
                    <a:pt x="1253" y="2263"/>
                  </a:lnTo>
                  <a:lnTo>
                    <a:pt x="627" y="244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1" name="Google Shape;371;p18"/>
            <p:cNvSpPr/>
            <p:nvPr/>
          </p:nvSpPr>
          <p:spPr>
            <a:xfrm>
              <a:off x="1749038" y="3858200"/>
              <a:ext cx="39850" cy="60150"/>
            </a:xfrm>
            <a:custGeom>
              <a:avLst/>
              <a:gdLst/>
              <a:ahLst/>
              <a:cxnLst/>
              <a:rect l="l" t="t" r="r" b="b"/>
              <a:pathLst>
                <a:path w="1594" h="2406" fill="none" extrusionOk="0">
                  <a:moveTo>
                    <a:pt x="583" y="2406"/>
                  </a:moveTo>
                  <a:lnTo>
                    <a:pt x="583" y="2406"/>
                  </a:lnTo>
                  <a:lnTo>
                    <a:pt x="0" y="2107"/>
                  </a:lnTo>
                  <a:lnTo>
                    <a:pt x="1124" y="1"/>
                  </a:lnTo>
                  <a:lnTo>
                    <a:pt x="1124" y="1"/>
                  </a:lnTo>
                  <a:lnTo>
                    <a:pt x="1594" y="243"/>
                  </a:lnTo>
                  <a:lnTo>
                    <a:pt x="583" y="240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2" name="Google Shape;372;p18"/>
            <p:cNvSpPr/>
            <p:nvPr/>
          </p:nvSpPr>
          <p:spPr>
            <a:xfrm>
              <a:off x="2032913" y="3847900"/>
              <a:ext cx="43425" cy="58725"/>
            </a:xfrm>
            <a:custGeom>
              <a:avLst/>
              <a:gdLst/>
              <a:ahLst/>
              <a:cxnLst/>
              <a:rect l="l" t="t" r="r" b="b"/>
              <a:pathLst>
                <a:path w="1737" h="2349" fill="none" extrusionOk="0">
                  <a:moveTo>
                    <a:pt x="1182" y="2348"/>
                  </a:moveTo>
                  <a:lnTo>
                    <a:pt x="1" y="270"/>
                  </a:lnTo>
                  <a:lnTo>
                    <a:pt x="1" y="270"/>
                  </a:lnTo>
                  <a:lnTo>
                    <a:pt x="456" y="0"/>
                  </a:lnTo>
                  <a:lnTo>
                    <a:pt x="1737" y="2007"/>
                  </a:lnTo>
                  <a:lnTo>
                    <a:pt x="1737" y="2007"/>
                  </a:lnTo>
                  <a:lnTo>
                    <a:pt x="1182" y="234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18"/>
            <p:cNvSpPr/>
            <p:nvPr/>
          </p:nvSpPr>
          <p:spPr>
            <a:xfrm>
              <a:off x="1682513" y="3819775"/>
              <a:ext cx="50175" cy="54825"/>
            </a:xfrm>
            <a:custGeom>
              <a:avLst/>
              <a:gdLst/>
              <a:ahLst/>
              <a:cxnLst/>
              <a:rect l="l" t="t" r="r" b="b"/>
              <a:pathLst>
                <a:path w="2007" h="2193" fill="none" extrusionOk="0">
                  <a:moveTo>
                    <a:pt x="498" y="2192"/>
                  </a:moveTo>
                  <a:lnTo>
                    <a:pt x="498" y="2192"/>
                  </a:lnTo>
                  <a:lnTo>
                    <a:pt x="0" y="1765"/>
                  </a:lnTo>
                  <a:lnTo>
                    <a:pt x="1608" y="1"/>
                  </a:lnTo>
                  <a:lnTo>
                    <a:pt x="1608" y="1"/>
                  </a:lnTo>
                  <a:lnTo>
                    <a:pt x="2006" y="357"/>
                  </a:lnTo>
                  <a:lnTo>
                    <a:pt x="498" y="2192"/>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4" name="Google Shape;374;p18"/>
            <p:cNvSpPr/>
            <p:nvPr/>
          </p:nvSpPr>
          <p:spPr>
            <a:xfrm>
              <a:off x="2086288" y="3805550"/>
              <a:ext cx="52675" cy="52325"/>
            </a:xfrm>
            <a:custGeom>
              <a:avLst/>
              <a:gdLst/>
              <a:ahLst/>
              <a:cxnLst/>
              <a:rect l="l" t="t" r="r" b="b"/>
              <a:pathLst>
                <a:path w="2107" h="2093" fill="none" extrusionOk="0">
                  <a:moveTo>
                    <a:pt x="1651" y="2093"/>
                  </a:moveTo>
                  <a:lnTo>
                    <a:pt x="0" y="371"/>
                  </a:lnTo>
                  <a:lnTo>
                    <a:pt x="0" y="371"/>
                  </a:lnTo>
                  <a:lnTo>
                    <a:pt x="370" y="1"/>
                  </a:lnTo>
                  <a:lnTo>
                    <a:pt x="2106" y="1623"/>
                  </a:lnTo>
                  <a:lnTo>
                    <a:pt x="2106" y="1623"/>
                  </a:lnTo>
                  <a:lnTo>
                    <a:pt x="1651" y="2093"/>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18"/>
            <p:cNvSpPr/>
            <p:nvPr/>
          </p:nvSpPr>
          <p:spPr>
            <a:xfrm>
              <a:off x="1629863" y="3769275"/>
              <a:ext cx="57300" cy="45900"/>
            </a:xfrm>
            <a:custGeom>
              <a:avLst/>
              <a:gdLst/>
              <a:ahLst/>
              <a:cxnLst/>
              <a:rect l="l" t="t" r="r" b="b"/>
              <a:pathLst>
                <a:path w="2292" h="1836" fill="none" extrusionOk="0">
                  <a:moveTo>
                    <a:pt x="370" y="1836"/>
                  </a:moveTo>
                  <a:lnTo>
                    <a:pt x="370" y="1836"/>
                  </a:lnTo>
                  <a:lnTo>
                    <a:pt x="0" y="1309"/>
                  </a:lnTo>
                  <a:lnTo>
                    <a:pt x="1992" y="0"/>
                  </a:lnTo>
                  <a:lnTo>
                    <a:pt x="1992" y="0"/>
                  </a:lnTo>
                  <a:lnTo>
                    <a:pt x="2291" y="427"/>
                  </a:lnTo>
                  <a:lnTo>
                    <a:pt x="370" y="183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18"/>
            <p:cNvSpPr/>
            <p:nvPr/>
          </p:nvSpPr>
          <p:spPr>
            <a:xfrm>
              <a:off x="2127888" y="3751475"/>
              <a:ext cx="59100" cy="43075"/>
            </a:xfrm>
            <a:custGeom>
              <a:avLst/>
              <a:gdLst/>
              <a:ahLst/>
              <a:cxnLst/>
              <a:rect l="l" t="t" r="r" b="b"/>
              <a:pathLst>
                <a:path w="2364" h="1723" fill="none" extrusionOk="0">
                  <a:moveTo>
                    <a:pt x="2036" y="1723"/>
                  </a:moveTo>
                  <a:lnTo>
                    <a:pt x="1" y="470"/>
                  </a:lnTo>
                  <a:lnTo>
                    <a:pt x="1" y="470"/>
                  </a:lnTo>
                  <a:lnTo>
                    <a:pt x="271" y="1"/>
                  </a:lnTo>
                  <a:lnTo>
                    <a:pt x="2363" y="1153"/>
                  </a:lnTo>
                  <a:lnTo>
                    <a:pt x="2363" y="1153"/>
                  </a:lnTo>
                  <a:lnTo>
                    <a:pt x="2207" y="1438"/>
                  </a:lnTo>
                  <a:lnTo>
                    <a:pt x="2036" y="1723"/>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377;p18"/>
            <p:cNvSpPr/>
            <p:nvPr/>
          </p:nvSpPr>
          <p:spPr>
            <a:xfrm>
              <a:off x="1593913" y="3709500"/>
              <a:ext cx="61225" cy="34525"/>
            </a:xfrm>
            <a:custGeom>
              <a:avLst/>
              <a:gdLst/>
              <a:ahLst/>
              <a:cxnLst/>
              <a:rect l="l" t="t" r="r" b="b"/>
              <a:pathLst>
                <a:path w="2449" h="1381" fill="none" extrusionOk="0">
                  <a:moveTo>
                    <a:pt x="229" y="1381"/>
                  </a:moveTo>
                  <a:lnTo>
                    <a:pt x="229" y="1381"/>
                  </a:lnTo>
                  <a:lnTo>
                    <a:pt x="115" y="1068"/>
                  </a:lnTo>
                  <a:lnTo>
                    <a:pt x="1" y="769"/>
                  </a:lnTo>
                  <a:lnTo>
                    <a:pt x="2263" y="1"/>
                  </a:lnTo>
                  <a:lnTo>
                    <a:pt x="2263" y="1"/>
                  </a:lnTo>
                  <a:lnTo>
                    <a:pt x="2448" y="499"/>
                  </a:lnTo>
                  <a:lnTo>
                    <a:pt x="229" y="138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8"/>
            <p:cNvSpPr/>
            <p:nvPr/>
          </p:nvSpPr>
          <p:spPr>
            <a:xfrm>
              <a:off x="2155638" y="3689575"/>
              <a:ext cx="61225" cy="30625"/>
            </a:xfrm>
            <a:custGeom>
              <a:avLst/>
              <a:gdLst/>
              <a:ahLst/>
              <a:cxnLst/>
              <a:rect l="l" t="t" r="r" b="b"/>
              <a:pathLst>
                <a:path w="2449" h="1225" fill="none" extrusionOk="0">
                  <a:moveTo>
                    <a:pt x="2278" y="1225"/>
                  </a:moveTo>
                  <a:lnTo>
                    <a:pt x="1" y="527"/>
                  </a:lnTo>
                  <a:lnTo>
                    <a:pt x="1" y="527"/>
                  </a:lnTo>
                  <a:lnTo>
                    <a:pt x="143" y="1"/>
                  </a:lnTo>
                  <a:lnTo>
                    <a:pt x="2448" y="598"/>
                  </a:lnTo>
                  <a:lnTo>
                    <a:pt x="2448" y="598"/>
                  </a:lnTo>
                  <a:lnTo>
                    <a:pt x="2278" y="1225"/>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18"/>
            <p:cNvSpPr/>
            <p:nvPr/>
          </p:nvSpPr>
          <p:spPr>
            <a:xfrm>
              <a:off x="1577563" y="3644400"/>
              <a:ext cx="60850" cy="20650"/>
            </a:xfrm>
            <a:custGeom>
              <a:avLst/>
              <a:gdLst/>
              <a:ahLst/>
              <a:cxnLst/>
              <a:rect l="l" t="t" r="r" b="b"/>
              <a:pathLst>
                <a:path w="2434" h="826" fill="none" extrusionOk="0">
                  <a:moveTo>
                    <a:pt x="71" y="826"/>
                  </a:moveTo>
                  <a:lnTo>
                    <a:pt x="71" y="826"/>
                  </a:lnTo>
                  <a:lnTo>
                    <a:pt x="29" y="499"/>
                  </a:lnTo>
                  <a:lnTo>
                    <a:pt x="0" y="171"/>
                  </a:lnTo>
                  <a:lnTo>
                    <a:pt x="2377" y="1"/>
                  </a:lnTo>
                  <a:lnTo>
                    <a:pt x="2377" y="1"/>
                  </a:lnTo>
                  <a:lnTo>
                    <a:pt x="2434" y="527"/>
                  </a:lnTo>
                  <a:lnTo>
                    <a:pt x="71" y="82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18"/>
            <p:cNvSpPr/>
            <p:nvPr/>
          </p:nvSpPr>
          <p:spPr>
            <a:xfrm>
              <a:off x="2167038" y="3622700"/>
              <a:ext cx="60150" cy="17450"/>
            </a:xfrm>
            <a:custGeom>
              <a:avLst/>
              <a:gdLst/>
              <a:ahLst/>
              <a:cxnLst/>
              <a:rect l="l" t="t" r="r" b="b"/>
              <a:pathLst>
                <a:path w="2406" h="698" fill="none" extrusionOk="0">
                  <a:moveTo>
                    <a:pt x="2391" y="698"/>
                  </a:moveTo>
                  <a:lnTo>
                    <a:pt x="0" y="570"/>
                  </a:lnTo>
                  <a:lnTo>
                    <a:pt x="0" y="570"/>
                  </a:lnTo>
                  <a:lnTo>
                    <a:pt x="14" y="43"/>
                  </a:lnTo>
                  <a:lnTo>
                    <a:pt x="1978" y="1"/>
                  </a:lnTo>
                  <a:lnTo>
                    <a:pt x="2405" y="1"/>
                  </a:lnTo>
                  <a:lnTo>
                    <a:pt x="2405" y="1"/>
                  </a:lnTo>
                  <a:lnTo>
                    <a:pt x="2405" y="356"/>
                  </a:lnTo>
                  <a:lnTo>
                    <a:pt x="2391" y="69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8"/>
            <p:cNvSpPr/>
            <p:nvPr/>
          </p:nvSpPr>
          <p:spPr>
            <a:xfrm>
              <a:off x="1578988" y="3567550"/>
              <a:ext cx="61200" cy="23525"/>
            </a:xfrm>
            <a:custGeom>
              <a:avLst/>
              <a:gdLst/>
              <a:ahLst/>
              <a:cxnLst/>
              <a:rect l="l" t="t" r="r" b="b"/>
              <a:pathLst>
                <a:path w="2448" h="941" fill="none" extrusionOk="0">
                  <a:moveTo>
                    <a:pt x="2362" y="940"/>
                  </a:moveTo>
                  <a:lnTo>
                    <a:pt x="0" y="641"/>
                  </a:lnTo>
                  <a:lnTo>
                    <a:pt x="0" y="641"/>
                  </a:lnTo>
                  <a:lnTo>
                    <a:pt x="100" y="1"/>
                  </a:lnTo>
                  <a:lnTo>
                    <a:pt x="2448" y="399"/>
                  </a:lnTo>
                  <a:lnTo>
                    <a:pt x="2448" y="399"/>
                  </a:lnTo>
                  <a:lnTo>
                    <a:pt x="2362" y="94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8"/>
            <p:cNvSpPr/>
            <p:nvPr/>
          </p:nvSpPr>
          <p:spPr>
            <a:xfrm>
              <a:off x="2158838" y="3541600"/>
              <a:ext cx="61575" cy="28125"/>
            </a:xfrm>
            <a:custGeom>
              <a:avLst/>
              <a:gdLst/>
              <a:ahLst/>
              <a:cxnLst/>
              <a:rect l="l" t="t" r="r" b="b"/>
              <a:pathLst>
                <a:path w="2463" h="1125" fill="none" extrusionOk="0">
                  <a:moveTo>
                    <a:pt x="129" y="1124"/>
                  </a:moveTo>
                  <a:lnTo>
                    <a:pt x="129" y="1124"/>
                  </a:lnTo>
                  <a:lnTo>
                    <a:pt x="1" y="598"/>
                  </a:lnTo>
                  <a:lnTo>
                    <a:pt x="2306" y="0"/>
                  </a:lnTo>
                  <a:lnTo>
                    <a:pt x="2306" y="0"/>
                  </a:lnTo>
                  <a:lnTo>
                    <a:pt x="2463" y="626"/>
                  </a:lnTo>
                  <a:lnTo>
                    <a:pt x="129" y="1124"/>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8"/>
            <p:cNvSpPr/>
            <p:nvPr/>
          </p:nvSpPr>
          <p:spPr>
            <a:xfrm>
              <a:off x="1598913" y="3489650"/>
              <a:ext cx="60850" cy="36675"/>
            </a:xfrm>
            <a:custGeom>
              <a:avLst/>
              <a:gdLst/>
              <a:ahLst/>
              <a:cxnLst/>
              <a:rect l="l" t="t" r="r" b="b"/>
              <a:pathLst>
                <a:path w="2434" h="1467" fill="none" extrusionOk="0">
                  <a:moveTo>
                    <a:pt x="2220" y="1466"/>
                  </a:moveTo>
                  <a:lnTo>
                    <a:pt x="0" y="598"/>
                  </a:lnTo>
                  <a:lnTo>
                    <a:pt x="0" y="598"/>
                  </a:lnTo>
                  <a:lnTo>
                    <a:pt x="256" y="1"/>
                  </a:lnTo>
                  <a:lnTo>
                    <a:pt x="2433" y="982"/>
                  </a:lnTo>
                  <a:lnTo>
                    <a:pt x="2433" y="982"/>
                  </a:lnTo>
                  <a:lnTo>
                    <a:pt x="2220" y="146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8"/>
            <p:cNvSpPr/>
            <p:nvPr/>
          </p:nvSpPr>
          <p:spPr>
            <a:xfrm>
              <a:off x="2134313" y="3465825"/>
              <a:ext cx="59775" cy="40925"/>
            </a:xfrm>
            <a:custGeom>
              <a:avLst/>
              <a:gdLst/>
              <a:ahLst/>
              <a:cxnLst/>
              <a:rect l="l" t="t" r="r" b="b"/>
              <a:pathLst>
                <a:path w="2391" h="1637" fill="none" extrusionOk="0">
                  <a:moveTo>
                    <a:pt x="242" y="1637"/>
                  </a:moveTo>
                  <a:lnTo>
                    <a:pt x="242" y="1637"/>
                  </a:lnTo>
                  <a:lnTo>
                    <a:pt x="0" y="1167"/>
                  </a:lnTo>
                  <a:lnTo>
                    <a:pt x="2078" y="0"/>
                  </a:lnTo>
                  <a:lnTo>
                    <a:pt x="2078" y="0"/>
                  </a:lnTo>
                  <a:lnTo>
                    <a:pt x="2234" y="285"/>
                  </a:lnTo>
                  <a:lnTo>
                    <a:pt x="2391" y="584"/>
                  </a:lnTo>
                  <a:lnTo>
                    <a:pt x="242" y="1637"/>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18"/>
            <p:cNvSpPr/>
            <p:nvPr/>
          </p:nvSpPr>
          <p:spPr>
            <a:xfrm>
              <a:off x="1638388" y="3419925"/>
              <a:ext cx="56225" cy="48050"/>
            </a:xfrm>
            <a:custGeom>
              <a:avLst/>
              <a:gdLst/>
              <a:ahLst/>
              <a:cxnLst/>
              <a:rect l="l" t="t" r="r" b="b"/>
              <a:pathLst>
                <a:path w="2249" h="1922" fill="none" extrusionOk="0">
                  <a:moveTo>
                    <a:pt x="1922" y="1922"/>
                  </a:moveTo>
                  <a:lnTo>
                    <a:pt x="1" y="527"/>
                  </a:lnTo>
                  <a:lnTo>
                    <a:pt x="1" y="527"/>
                  </a:lnTo>
                  <a:lnTo>
                    <a:pt x="385" y="0"/>
                  </a:lnTo>
                  <a:lnTo>
                    <a:pt x="2249" y="1495"/>
                  </a:lnTo>
                  <a:lnTo>
                    <a:pt x="2249" y="1495"/>
                  </a:lnTo>
                  <a:lnTo>
                    <a:pt x="1922" y="1922"/>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18"/>
            <p:cNvSpPr/>
            <p:nvPr/>
          </p:nvSpPr>
          <p:spPr>
            <a:xfrm>
              <a:off x="2094813" y="3400350"/>
              <a:ext cx="54450" cy="50900"/>
            </a:xfrm>
            <a:custGeom>
              <a:avLst/>
              <a:gdLst/>
              <a:ahLst/>
              <a:cxnLst/>
              <a:rect l="l" t="t" r="r" b="b"/>
              <a:pathLst>
                <a:path w="2178" h="2036" fill="none" extrusionOk="0">
                  <a:moveTo>
                    <a:pt x="356" y="2036"/>
                  </a:moveTo>
                  <a:lnTo>
                    <a:pt x="356" y="2036"/>
                  </a:lnTo>
                  <a:lnTo>
                    <a:pt x="1" y="1637"/>
                  </a:lnTo>
                  <a:lnTo>
                    <a:pt x="1737" y="1"/>
                  </a:lnTo>
                  <a:lnTo>
                    <a:pt x="1737" y="1"/>
                  </a:lnTo>
                  <a:lnTo>
                    <a:pt x="2178" y="470"/>
                  </a:lnTo>
                  <a:lnTo>
                    <a:pt x="356" y="203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8"/>
            <p:cNvSpPr/>
            <p:nvPr/>
          </p:nvSpPr>
          <p:spPr>
            <a:xfrm>
              <a:off x="1693888" y="3363350"/>
              <a:ext cx="48750" cy="55900"/>
            </a:xfrm>
            <a:custGeom>
              <a:avLst/>
              <a:gdLst/>
              <a:ahLst/>
              <a:cxnLst/>
              <a:rect l="l" t="t" r="r" b="b"/>
              <a:pathLst>
                <a:path w="1950" h="2236" fill="none" extrusionOk="0">
                  <a:moveTo>
                    <a:pt x="1523" y="2235"/>
                  </a:moveTo>
                  <a:lnTo>
                    <a:pt x="0" y="414"/>
                  </a:lnTo>
                  <a:lnTo>
                    <a:pt x="0" y="414"/>
                  </a:lnTo>
                  <a:lnTo>
                    <a:pt x="257" y="200"/>
                  </a:lnTo>
                  <a:lnTo>
                    <a:pt x="513" y="1"/>
                  </a:lnTo>
                  <a:lnTo>
                    <a:pt x="1950" y="1908"/>
                  </a:lnTo>
                  <a:lnTo>
                    <a:pt x="1950" y="1908"/>
                  </a:lnTo>
                  <a:lnTo>
                    <a:pt x="1523" y="2235"/>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18"/>
            <p:cNvSpPr/>
            <p:nvPr/>
          </p:nvSpPr>
          <p:spPr>
            <a:xfrm>
              <a:off x="2043588" y="3348425"/>
              <a:ext cx="45200" cy="58000"/>
            </a:xfrm>
            <a:custGeom>
              <a:avLst/>
              <a:gdLst/>
              <a:ahLst/>
              <a:cxnLst/>
              <a:rect l="l" t="t" r="r" b="b"/>
              <a:pathLst>
                <a:path w="1808" h="2320" fill="none" extrusionOk="0">
                  <a:moveTo>
                    <a:pt x="442" y="2320"/>
                  </a:moveTo>
                  <a:lnTo>
                    <a:pt x="442" y="2320"/>
                  </a:lnTo>
                  <a:lnTo>
                    <a:pt x="0" y="2021"/>
                  </a:lnTo>
                  <a:lnTo>
                    <a:pt x="1267" y="0"/>
                  </a:lnTo>
                  <a:lnTo>
                    <a:pt x="1267" y="0"/>
                  </a:lnTo>
                  <a:lnTo>
                    <a:pt x="1808" y="356"/>
                  </a:lnTo>
                  <a:lnTo>
                    <a:pt x="442" y="232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18"/>
            <p:cNvSpPr/>
            <p:nvPr/>
          </p:nvSpPr>
          <p:spPr>
            <a:xfrm>
              <a:off x="1762538" y="3323150"/>
              <a:ext cx="37750" cy="60525"/>
            </a:xfrm>
            <a:custGeom>
              <a:avLst/>
              <a:gdLst/>
              <a:ahLst/>
              <a:cxnLst/>
              <a:rect l="l" t="t" r="r" b="b"/>
              <a:pathLst>
                <a:path w="1510" h="2421" fill="none" extrusionOk="0">
                  <a:moveTo>
                    <a:pt x="1025" y="2420"/>
                  </a:moveTo>
                  <a:lnTo>
                    <a:pt x="1" y="257"/>
                  </a:lnTo>
                  <a:lnTo>
                    <a:pt x="1" y="257"/>
                  </a:lnTo>
                  <a:lnTo>
                    <a:pt x="598" y="1"/>
                  </a:lnTo>
                  <a:lnTo>
                    <a:pt x="1509" y="2192"/>
                  </a:lnTo>
                  <a:lnTo>
                    <a:pt x="1509" y="2192"/>
                  </a:lnTo>
                  <a:lnTo>
                    <a:pt x="1025" y="242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8"/>
            <p:cNvSpPr/>
            <p:nvPr/>
          </p:nvSpPr>
          <p:spPr>
            <a:xfrm>
              <a:off x="1983113" y="3313900"/>
              <a:ext cx="33825" cy="61225"/>
            </a:xfrm>
            <a:custGeom>
              <a:avLst/>
              <a:gdLst/>
              <a:ahLst/>
              <a:cxnLst/>
              <a:rect l="l" t="t" r="r" b="b"/>
              <a:pathLst>
                <a:path w="1353" h="2449" fill="none" extrusionOk="0">
                  <a:moveTo>
                    <a:pt x="513" y="2449"/>
                  </a:moveTo>
                  <a:lnTo>
                    <a:pt x="513" y="2449"/>
                  </a:lnTo>
                  <a:lnTo>
                    <a:pt x="0" y="2278"/>
                  </a:lnTo>
                  <a:lnTo>
                    <a:pt x="726" y="1"/>
                  </a:lnTo>
                  <a:lnTo>
                    <a:pt x="726" y="1"/>
                  </a:lnTo>
                  <a:lnTo>
                    <a:pt x="1352" y="214"/>
                  </a:lnTo>
                  <a:lnTo>
                    <a:pt x="513" y="2449"/>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8"/>
            <p:cNvSpPr/>
            <p:nvPr/>
          </p:nvSpPr>
          <p:spPr>
            <a:xfrm>
              <a:off x="1840088" y="3301450"/>
              <a:ext cx="24225" cy="61225"/>
            </a:xfrm>
            <a:custGeom>
              <a:avLst/>
              <a:gdLst/>
              <a:ahLst/>
              <a:cxnLst/>
              <a:rect l="l" t="t" r="r" b="b"/>
              <a:pathLst>
                <a:path w="969" h="2449" fill="none" extrusionOk="0">
                  <a:moveTo>
                    <a:pt x="442" y="2448"/>
                  </a:moveTo>
                  <a:lnTo>
                    <a:pt x="1" y="115"/>
                  </a:lnTo>
                  <a:lnTo>
                    <a:pt x="1" y="115"/>
                  </a:lnTo>
                  <a:lnTo>
                    <a:pt x="314" y="58"/>
                  </a:lnTo>
                  <a:lnTo>
                    <a:pt x="641" y="1"/>
                  </a:lnTo>
                  <a:lnTo>
                    <a:pt x="969" y="2363"/>
                  </a:lnTo>
                  <a:lnTo>
                    <a:pt x="969" y="2363"/>
                  </a:lnTo>
                  <a:lnTo>
                    <a:pt x="442" y="244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8"/>
            <p:cNvSpPr/>
            <p:nvPr/>
          </p:nvSpPr>
          <p:spPr>
            <a:xfrm>
              <a:off x="1917663" y="3298975"/>
              <a:ext cx="19925" cy="60500"/>
            </a:xfrm>
            <a:custGeom>
              <a:avLst/>
              <a:gdLst/>
              <a:ahLst/>
              <a:cxnLst/>
              <a:rect l="l" t="t" r="r" b="b"/>
              <a:pathLst>
                <a:path w="797" h="2420" fill="none" extrusionOk="0">
                  <a:moveTo>
                    <a:pt x="541" y="2419"/>
                  </a:moveTo>
                  <a:lnTo>
                    <a:pt x="541" y="2419"/>
                  </a:lnTo>
                  <a:lnTo>
                    <a:pt x="0" y="2377"/>
                  </a:lnTo>
                  <a:lnTo>
                    <a:pt x="142" y="0"/>
                  </a:lnTo>
                  <a:lnTo>
                    <a:pt x="142" y="0"/>
                  </a:lnTo>
                  <a:lnTo>
                    <a:pt x="797" y="57"/>
                  </a:lnTo>
                  <a:lnTo>
                    <a:pt x="541" y="2419"/>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18"/>
            <p:cNvSpPr/>
            <p:nvPr/>
          </p:nvSpPr>
          <p:spPr>
            <a:xfrm>
              <a:off x="851113" y="2915825"/>
              <a:ext cx="557500" cy="412350"/>
            </a:xfrm>
            <a:custGeom>
              <a:avLst/>
              <a:gdLst/>
              <a:ahLst/>
              <a:cxnLst/>
              <a:rect l="l" t="t" r="r" b="b"/>
              <a:pathLst>
                <a:path w="22300" h="16494" extrusionOk="0">
                  <a:moveTo>
                    <a:pt x="1" y="1"/>
                  </a:moveTo>
                  <a:lnTo>
                    <a:pt x="1" y="16493"/>
                  </a:lnTo>
                  <a:lnTo>
                    <a:pt x="3573" y="16493"/>
                  </a:lnTo>
                  <a:lnTo>
                    <a:pt x="3573" y="3587"/>
                  </a:lnTo>
                  <a:lnTo>
                    <a:pt x="22299" y="3587"/>
                  </a:lnTo>
                  <a:lnTo>
                    <a:pt x="22299"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18"/>
            <p:cNvSpPr/>
            <p:nvPr/>
          </p:nvSpPr>
          <p:spPr>
            <a:xfrm>
              <a:off x="851113" y="3935050"/>
              <a:ext cx="557500" cy="412325"/>
            </a:xfrm>
            <a:custGeom>
              <a:avLst/>
              <a:gdLst/>
              <a:ahLst/>
              <a:cxnLst/>
              <a:rect l="l" t="t" r="r" b="b"/>
              <a:pathLst>
                <a:path w="22300" h="16493" extrusionOk="0">
                  <a:moveTo>
                    <a:pt x="1" y="0"/>
                  </a:moveTo>
                  <a:lnTo>
                    <a:pt x="1" y="16493"/>
                  </a:lnTo>
                  <a:lnTo>
                    <a:pt x="22299" y="16493"/>
                  </a:lnTo>
                  <a:lnTo>
                    <a:pt x="22299" y="12907"/>
                  </a:lnTo>
                  <a:lnTo>
                    <a:pt x="3573" y="12907"/>
                  </a:lnTo>
                  <a:lnTo>
                    <a:pt x="357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18"/>
            <p:cNvSpPr/>
            <p:nvPr/>
          </p:nvSpPr>
          <p:spPr>
            <a:xfrm>
              <a:off x="2427438" y="2915825"/>
              <a:ext cx="557125" cy="412350"/>
            </a:xfrm>
            <a:custGeom>
              <a:avLst/>
              <a:gdLst/>
              <a:ahLst/>
              <a:cxnLst/>
              <a:rect l="l" t="t" r="r" b="b"/>
              <a:pathLst>
                <a:path w="22285" h="16494" extrusionOk="0">
                  <a:moveTo>
                    <a:pt x="0" y="1"/>
                  </a:moveTo>
                  <a:lnTo>
                    <a:pt x="0" y="3587"/>
                  </a:lnTo>
                  <a:lnTo>
                    <a:pt x="18713" y="3587"/>
                  </a:lnTo>
                  <a:lnTo>
                    <a:pt x="18713" y="16493"/>
                  </a:lnTo>
                  <a:lnTo>
                    <a:pt x="22284" y="16493"/>
                  </a:lnTo>
                  <a:lnTo>
                    <a:pt x="2228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18"/>
            <p:cNvSpPr/>
            <p:nvPr/>
          </p:nvSpPr>
          <p:spPr>
            <a:xfrm>
              <a:off x="2427438" y="3935050"/>
              <a:ext cx="557125" cy="412325"/>
            </a:xfrm>
            <a:custGeom>
              <a:avLst/>
              <a:gdLst/>
              <a:ahLst/>
              <a:cxnLst/>
              <a:rect l="l" t="t" r="r" b="b"/>
              <a:pathLst>
                <a:path w="22285" h="16493" extrusionOk="0">
                  <a:moveTo>
                    <a:pt x="18713" y="0"/>
                  </a:moveTo>
                  <a:lnTo>
                    <a:pt x="18713" y="12907"/>
                  </a:lnTo>
                  <a:lnTo>
                    <a:pt x="0" y="12907"/>
                  </a:lnTo>
                  <a:lnTo>
                    <a:pt x="0" y="16493"/>
                  </a:lnTo>
                  <a:lnTo>
                    <a:pt x="22284" y="16493"/>
                  </a:lnTo>
                  <a:lnTo>
                    <a:pt x="2228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18"/>
            <p:cNvSpPr/>
            <p:nvPr/>
          </p:nvSpPr>
          <p:spPr>
            <a:xfrm>
              <a:off x="1581463" y="3255575"/>
              <a:ext cx="389575" cy="389575"/>
            </a:xfrm>
            <a:custGeom>
              <a:avLst/>
              <a:gdLst/>
              <a:ahLst/>
              <a:cxnLst/>
              <a:rect l="l" t="t" r="r" b="b"/>
              <a:pathLst>
                <a:path w="15583" h="15583" extrusionOk="0">
                  <a:moveTo>
                    <a:pt x="10986" y="1836"/>
                  </a:moveTo>
                  <a:lnTo>
                    <a:pt x="11314" y="4198"/>
                  </a:lnTo>
                  <a:lnTo>
                    <a:pt x="10787" y="4283"/>
                  </a:lnTo>
                  <a:lnTo>
                    <a:pt x="10346" y="1950"/>
                  </a:lnTo>
                  <a:lnTo>
                    <a:pt x="10659" y="1893"/>
                  </a:lnTo>
                  <a:lnTo>
                    <a:pt x="10986" y="1836"/>
                  </a:lnTo>
                  <a:close/>
                  <a:moveTo>
                    <a:pt x="7841" y="2704"/>
                  </a:moveTo>
                  <a:lnTo>
                    <a:pt x="8752" y="4895"/>
                  </a:lnTo>
                  <a:lnTo>
                    <a:pt x="8268" y="5123"/>
                  </a:lnTo>
                  <a:lnTo>
                    <a:pt x="7244" y="2960"/>
                  </a:lnTo>
                  <a:lnTo>
                    <a:pt x="7841" y="2704"/>
                  </a:lnTo>
                  <a:close/>
                  <a:moveTo>
                    <a:pt x="5010" y="4312"/>
                  </a:moveTo>
                  <a:lnTo>
                    <a:pt x="6447" y="6219"/>
                  </a:lnTo>
                  <a:lnTo>
                    <a:pt x="6020" y="6546"/>
                  </a:lnTo>
                  <a:lnTo>
                    <a:pt x="4497" y="4725"/>
                  </a:lnTo>
                  <a:lnTo>
                    <a:pt x="4754" y="4511"/>
                  </a:lnTo>
                  <a:lnTo>
                    <a:pt x="5010" y="4312"/>
                  </a:lnTo>
                  <a:close/>
                  <a:moveTo>
                    <a:pt x="2662" y="6574"/>
                  </a:moveTo>
                  <a:lnTo>
                    <a:pt x="4526" y="8069"/>
                  </a:lnTo>
                  <a:lnTo>
                    <a:pt x="4199" y="8496"/>
                  </a:lnTo>
                  <a:lnTo>
                    <a:pt x="2278" y="7101"/>
                  </a:lnTo>
                  <a:lnTo>
                    <a:pt x="2662" y="6574"/>
                  </a:lnTo>
                  <a:close/>
                  <a:moveTo>
                    <a:pt x="954" y="9364"/>
                  </a:moveTo>
                  <a:lnTo>
                    <a:pt x="3131" y="10345"/>
                  </a:lnTo>
                  <a:lnTo>
                    <a:pt x="2918" y="10829"/>
                  </a:lnTo>
                  <a:lnTo>
                    <a:pt x="698" y="9961"/>
                  </a:lnTo>
                  <a:lnTo>
                    <a:pt x="954" y="9364"/>
                  </a:lnTo>
                  <a:close/>
                  <a:moveTo>
                    <a:pt x="7386" y="0"/>
                  </a:moveTo>
                  <a:lnTo>
                    <a:pt x="7002" y="29"/>
                  </a:lnTo>
                  <a:lnTo>
                    <a:pt x="6603" y="86"/>
                  </a:lnTo>
                  <a:lnTo>
                    <a:pt x="6219" y="157"/>
                  </a:lnTo>
                  <a:lnTo>
                    <a:pt x="5849" y="242"/>
                  </a:lnTo>
                  <a:lnTo>
                    <a:pt x="5479" y="342"/>
                  </a:lnTo>
                  <a:lnTo>
                    <a:pt x="5109" y="470"/>
                  </a:lnTo>
                  <a:lnTo>
                    <a:pt x="4754" y="612"/>
                  </a:lnTo>
                  <a:lnTo>
                    <a:pt x="4412" y="769"/>
                  </a:lnTo>
                  <a:lnTo>
                    <a:pt x="4085" y="939"/>
                  </a:lnTo>
                  <a:lnTo>
                    <a:pt x="3757" y="1124"/>
                  </a:lnTo>
                  <a:lnTo>
                    <a:pt x="3430" y="1324"/>
                  </a:lnTo>
                  <a:lnTo>
                    <a:pt x="3131" y="1537"/>
                  </a:lnTo>
                  <a:lnTo>
                    <a:pt x="2833" y="1779"/>
                  </a:lnTo>
                  <a:lnTo>
                    <a:pt x="2548" y="2021"/>
                  </a:lnTo>
                  <a:lnTo>
                    <a:pt x="2278" y="2277"/>
                  </a:lnTo>
                  <a:lnTo>
                    <a:pt x="2021" y="2547"/>
                  </a:lnTo>
                  <a:lnTo>
                    <a:pt x="1780" y="2832"/>
                  </a:lnTo>
                  <a:lnTo>
                    <a:pt x="1552" y="3131"/>
                  </a:lnTo>
                  <a:lnTo>
                    <a:pt x="1324" y="3430"/>
                  </a:lnTo>
                  <a:lnTo>
                    <a:pt x="1125" y="3743"/>
                  </a:lnTo>
                  <a:lnTo>
                    <a:pt x="940" y="4070"/>
                  </a:lnTo>
                  <a:lnTo>
                    <a:pt x="769" y="4412"/>
                  </a:lnTo>
                  <a:lnTo>
                    <a:pt x="613" y="4753"/>
                  </a:lnTo>
                  <a:lnTo>
                    <a:pt x="470" y="5109"/>
                  </a:lnTo>
                  <a:lnTo>
                    <a:pt x="357" y="5465"/>
                  </a:lnTo>
                  <a:lnTo>
                    <a:pt x="243" y="5835"/>
                  </a:lnTo>
                  <a:lnTo>
                    <a:pt x="157" y="6219"/>
                  </a:lnTo>
                  <a:lnTo>
                    <a:pt x="86" y="6603"/>
                  </a:lnTo>
                  <a:lnTo>
                    <a:pt x="43" y="6987"/>
                  </a:lnTo>
                  <a:lnTo>
                    <a:pt x="15" y="7386"/>
                  </a:lnTo>
                  <a:lnTo>
                    <a:pt x="1" y="7784"/>
                  </a:lnTo>
                  <a:lnTo>
                    <a:pt x="15" y="8140"/>
                  </a:lnTo>
                  <a:lnTo>
                    <a:pt x="29" y="8496"/>
                  </a:lnTo>
                  <a:lnTo>
                    <a:pt x="72" y="8837"/>
                  </a:lnTo>
                  <a:lnTo>
                    <a:pt x="129" y="9179"/>
                  </a:lnTo>
                  <a:lnTo>
                    <a:pt x="200" y="9520"/>
                  </a:lnTo>
                  <a:lnTo>
                    <a:pt x="271" y="9847"/>
                  </a:lnTo>
                  <a:lnTo>
                    <a:pt x="371" y="10175"/>
                  </a:lnTo>
                  <a:lnTo>
                    <a:pt x="485" y="10502"/>
                  </a:lnTo>
                  <a:lnTo>
                    <a:pt x="613" y="10815"/>
                  </a:lnTo>
                  <a:lnTo>
                    <a:pt x="741" y="11114"/>
                  </a:lnTo>
                  <a:lnTo>
                    <a:pt x="897" y="11413"/>
                  </a:lnTo>
                  <a:lnTo>
                    <a:pt x="1054" y="11712"/>
                  </a:lnTo>
                  <a:lnTo>
                    <a:pt x="1225" y="11996"/>
                  </a:lnTo>
                  <a:lnTo>
                    <a:pt x="1410" y="12266"/>
                  </a:lnTo>
                  <a:lnTo>
                    <a:pt x="1609" y="12537"/>
                  </a:lnTo>
                  <a:lnTo>
                    <a:pt x="1822" y="12793"/>
                  </a:lnTo>
                  <a:lnTo>
                    <a:pt x="2349" y="12878"/>
                  </a:lnTo>
                  <a:lnTo>
                    <a:pt x="2292" y="13305"/>
                  </a:lnTo>
                  <a:lnTo>
                    <a:pt x="2562" y="13561"/>
                  </a:lnTo>
                  <a:lnTo>
                    <a:pt x="2833" y="13803"/>
                  </a:lnTo>
                  <a:lnTo>
                    <a:pt x="3131" y="14031"/>
                  </a:lnTo>
                  <a:lnTo>
                    <a:pt x="3444" y="14244"/>
                  </a:lnTo>
                  <a:lnTo>
                    <a:pt x="3757" y="14458"/>
                  </a:lnTo>
                  <a:lnTo>
                    <a:pt x="4085" y="14643"/>
                  </a:lnTo>
                  <a:lnTo>
                    <a:pt x="4412" y="14814"/>
                  </a:lnTo>
                  <a:lnTo>
                    <a:pt x="4768" y="14970"/>
                  </a:lnTo>
                  <a:lnTo>
                    <a:pt x="5109" y="15112"/>
                  </a:lnTo>
                  <a:lnTo>
                    <a:pt x="5479" y="15226"/>
                  </a:lnTo>
                  <a:lnTo>
                    <a:pt x="5849" y="15326"/>
                  </a:lnTo>
                  <a:lnTo>
                    <a:pt x="6219" y="15426"/>
                  </a:lnTo>
                  <a:lnTo>
                    <a:pt x="6603" y="15482"/>
                  </a:lnTo>
                  <a:lnTo>
                    <a:pt x="7002" y="15539"/>
                  </a:lnTo>
                  <a:lnTo>
                    <a:pt x="7386" y="15568"/>
                  </a:lnTo>
                  <a:lnTo>
                    <a:pt x="7785" y="15582"/>
                  </a:lnTo>
                  <a:lnTo>
                    <a:pt x="8268" y="15568"/>
                  </a:lnTo>
                  <a:lnTo>
                    <a:pt x="8724" y="15525"/>
                  </a:lnTo>
                  <a:lnTo>
                    <a:pt x="8667" y="15255"/>
                  </a:lnTo>
                  <a:lnTo>
                    <a:pt x="8624" y="14984"/>
                  </a:lnTo>
                  <a:lnTo>
                    <a:pt x="8610" y="14714"/>
                  </a:lnTo>
                  <a:lnTo>
                    <a:pt x="8596" y="14444"/>
                  </a:lnTo>
                  <a:lnTo>
                    <a:pt x="8610" y="14202"/>
                  </a:lnTo>
                  <a:lnTo>
                    <a:pt x="8624" y="13974"/>
                  </a:lnTo>
                  <a:lnTo>
                    <a:pt x="8653" y="13732"/>
                  </a:lnTo>
                  <a:lnTo>
                    <a:pt x="8695" y="13504"/>
                  </a:lnTo>
                  <a:lnTo>
                    <a:pt x="8738" y="13291"/>
                  </a:lnTo>
                  <a:lnTo>
                    <a:pt x="8809" y="13063"/>
                  </a:lnTo>
                  <a:lnTo>
                    <a:pt x="8880" y="12850"/>
                  </a:lnTo>
                  <a:lnTo>
                    <a:pt x="8966" y="12651"/>
                  </a:lnTo>
                  <a:lnTo>
                    <a:pt x="9051" y="12437"/>
                  </a:lnTo>
                  <a:lnTo>
                    <a:pt x="9151" y="12238"/>
                  </a:lnTo>
                  <a:lnTo>
                    <a:pt x="9264" y="12053"/>
                  </a:lnTo>
                  <a:lnTo>
                    <a:pt x="9378" y="11868"/>
                  </a:lnTo>
                  <a:lnTo>
                    <a:pt x="9521" y="11683"/>
                  </a:lnTo>
                  <a:lnTo>
                    <a:pt x="9649" y="11512"/>
                  </a:lnTo>
                  <a:lnTo>
                    <a:pt x="9791" y="11342"/>
                  </a:lnTo>
                  <a:lnTo>
                    <a:pt x="9947" y="11185"/>
                  </a:lnTo>
                  <a:lnTo>
                    <a:pt x="10104" y="11028"/>
                  </a:lnTo>
                  <a:lnTo>
                    <a:pt x="10275" y="10886"/>
                  </a:lnTo>
                  <a:lnTo>
                    <a:pt x="10446" y="10744"/>
                  </a:lnTo>
                  <a:lnTo>
                    <a:pt x="10631" y="10616"/>
                  </a:lnTo>
                  <a:lnTo>
                    <a:pt x="10816" y="10502"/>
                  </a:lnTo>
                  <a:lnTo>
                    <a:pt x="11015" y="10388"/>
                  </a:lnTo>
                  <a:lnTo>
                    <a:pt x="11214" y="10289"/>
                  </a:lnTo>
                  <a:lnTo>
                    <a:pt x="11413" y="10189"/>
                  </a:lnTo>
                  <a:lnTo>
                    <a:pt x="11627" y="10104"/>
                  </a:lnTo>
                  <a:lnTo>
                    <a:pt x="11840" y="10032"/>
                  </a:lnTo>
                  <a:lnTo>
                    <a:pt x="12054" y="9975"/>
                  </a:lnTo>
                  <a:lnTo>
                    <a:pt x="12281" y="9919"/>
                  </a:lnTo>
                  <a:lnTo>
                    <a:pt x="12509" y="9876"/>
                  </a:lnTo>
                  <a:lnTo>
                    <a:pt x="12737" y="9847"/>
                  </a:lnTo>
                  <a:lnTo>
                    <a:pt x="12978" y="9833"/>
                  </a:lnTo>
                  <a:lnTo>
                    <a:pt x="13477" y="9833"/>
                  </a:lnTo>
                  <a:lnTo>
                    <a:pt x="13733" y="9862"/>
                  </a:lnTo>
                  <a:lnTo>
                    <a:pt x="13989" y="9890"/>
                  </a:lnTo>
                  <a:lnTo>
                    <a:pt x="14231" y="9947"/>
                  </a:lnTo>
                  <a:lnTo>
                    <a:pt x="14487" y="10004"/>
                  </a:lnTo>
                  <a:lnTo>
                    <a:pt x="14715" y="10075"/>
                  </a:lnTo>
                  <a:lnTo>
                    <a:pt x="14956" y="10160"/>
                  </a:lnTo>
                  <a:lnTo>
                    <a:pt x="15184" y="10260"/>
                  </a:lnTo>
                  <a:lnTo>
                    <a:pt x="15269" y="9975"/>
                  </a:lnTo>
                  <a:lnTo>
                    <a:pt x="15355" y="9677"/>
                  </a:lnTo>
                  <a:lnTo>
                    <a:pt x="15426" y="9364"/>
                  </a:lnTo>
                  <a:lnTo>
                    <a:pt x="15483" y="9065"/>
                  </a:lnTo>
                  <a:lnTo>
                    <a:pt x="15526" y="8752"/>
                  </a:lnTo>
                  <a:lnTo>
                    <a:pt x="15554" y="8424"/>
                  </a:lnTo>
                  <a:lnTo>
                    <a:pt x="15583" y="8111"/>
                  </a:lnTo>
                  <a:lnTo>
                    <a:pt x="15583" y="7784"/>
                  </a:lnTo>
                  <a:lnTo>
                    <a:pt x="15583" y="7471"/>
                  </a:lnTo>
                  <a:lnTo>
                    <a:pt x="15554" y="7144"/>
                  </a:lnTo>
                  <a:lnTo>
                    <a:pt x="15526" y="6831"/>
                  </a:lnTo>
                  <a:lnTo>
                    <a:pt x="15483" y="6532"/>
                  </a:lnTo>
                  <a:lnTo>
                    <a:pt x="15426" y="6219"/>
                  </a:lnTo>
                  <a:lnTo>
                    <a:pt x="15355" y="5920"/>
                  </a:lnTo>
                  <a:lnTo>
                    <a:pt x="15284" y="5621"/>
                  </a:lnTo>
                  <a:lnTo>
                    <a:pt x="15184" y="5336"/>
                  </a:lnTo>
                  <a:lnTo>
                    <a:pt x="15084" y="5038"/>
                  </a:lnTo>
                  <a:lnTo>
                    <a:pt x="14971" y="4767"/>
                  </a:lnTo>
                  <a:lnTo>
                    <a:pt x="14857" y="4483"/>
                  </a:lnTo>
                  <a:lnTo>
                    <a:pt x="14715" y="4212"/>
                  </a:lnTo>
                  <a:lnTo>
                    <a:pt x="14572" y="3956"/>
                  </a:lnTo>
                  <a:lnTo>
                    <a:pt x="14430" y="3700"/>
                  </a:lnTo>
                  <a:lnTo>
                    <a:pt x="14259" y="3444"/>
                  </a:lnTo>
                  <a:lnTo>
                    <a:pt x="14088" y="3202"/>
                  </a:lnTo>
                  <a:lnTo>
                    <a:pt x="13989" y="4155"/>
                  </a:lnTo>
                  <a:lnTo>
                    <a:pt x="13448" y="4113"/>
                  </a:lnTo>
                  <a:lnTo>
                    <a:pt x="13548" y="2533"/>
                  </a:lnTo>
                  <a:lnTo>
                    <a:pt x="13277" y="2249"/>
                  </a:lnTo>
                  <a:lnTo>
                    <a:pt x="12978" y="1978"/>
                  </a:lnTo>
                  <a:lnTo>
                    <a:pt x="12680" y="1722"/>
                  </a:lnTo>
                  <a:lnTo>
                    <a:pt x="12367" y="1480"/>
                  </a:lnTo>
                  <a:lnTo>
                    <a:pt x="12039" y="1252"/>
                  </a:lnTo>
                  <a:lnTo>
                    <a:pt x="11698" y="1039"/>
                  </a:lnTo>
                  <a:lnTo>
                    <a:pt x="11342" y="854"/>
                  </a:lnTo>
                  <a:lnTo>
                    <a:pt x="10986" y="683"/>
                  </a:lnTo>
                  <a:lnTo>
                    <a:pt x="10616" y="527"/>
                  </a:lnTo>
                  <a:lnTo>
                    <a:pt x="10232" y="384"/>
                  </a:lnTo>
                  <a:lnTo>
                    <a:pt x="9848" y="271"/>
                  </a:lnTo>
                  <a:lnTo>
                    <a:pt x="9449" y="171"/>
                  </a:lnTo>
                  <a:lnTo>
                    <a:pt x="9051" y="100"/>
                  </a:lnTo>
                  <a:lnTo>
                    <a:pt x="8638" y="43"/>
                  </a:lnTo>
                  <a:lnTo>
                    <a:pt x="8211" y="0"/>
                  </a:lnTo>
                  <a:close/>
                </a:path>
              </a:pathLst>
            </a:custGeom>
            <a:solidFill>
              <a:srgbClr val="453E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18"/>
            <p:cNvSpPr/>
            <p:nvPr/>
          </p:nvSpPr>
          <p:spPr>
            <a:xfrm>
              <a:off x="1598913" y="3489650"/>
              <a:ext cx="60850" cy="36675"/>
            </a:xfrm>
            <a:custGeom>
              <a:avLst/>
              <a:gdLst/>
              <a:ahLst/>
              <a:cxnLst/>
              <a:rect l="l" t="t" r="r" b="b"/>
              <a:pathLst>
                <a:path w="2434" h="1467" fill="none" extrusionOk="0">
                  <a:moveTo>
                    <a:pt x="2220" y="1466"/>
                  </a:moveTo>
                  <a:lnTo>
                    <a:pt x="0" y="598"/>
                  </a:lnTo>
                  <a:lnTo>
                    <a:pt x="0" y="598"/>
                  </a:lnTo>
                  <a:lnTo>
                    <a:pt x="256" y="1"/>
                  </a:lnTo>
                  <a:lnTo>
                    <a:pt x="2433" y="982"/>
                  </a:lnTo>
                  <a:lnTo>
                    <a:pt x="2433" y="982"/>
                  </a:lnTo>
                  <a:lnTo>
                    <a:pt x="2220" y="1466"/>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18"/>
            <p:cNvSpPr/>
            <p:nvPr/>
          </p:nvSpPr>
          <p:spPr>
            <a:xfrm>
              <a:off x="1638388" y="3419925"/>
              <a:ext cx="56225" cy="48050"/>
            </a:xfrm>
            <a:custGeom>
              <a:avLst/>
              <a:gdLst/>
              <a:ahLst/>
              <a:cxnLst/>
              <a:rect l="l" t="t" r="r" b="b"/>
              <a:pathLst>
                <a:path w="2249" h="1922" fill="none" extrusionOk="0">
                  <a:moveTo>
                    <a:pt x="1922" y="1922"/>
                  </a:moveTo>
                  <a:lnTo>
                    <a:pt x="1" y="527"/>
                  </a:lnTo>
                  <a:lnTo>
                    <a:pt x="1" y="527"/>
                  </a:lnTo>
                  <a:lnTo>
                    <a:pt x="385" y="0"/>
                  </a:lnTo>
                  <a:lnTo>
                    <a:pt x="2249" y="1495"/>
                  </a:lnTo>
                  <a:lnTo>
                    <a:pt x="2249" y="1495"/>
                  </a:lnTo>
                  <a:lnTo>
                    <a:pt x="1922" y="1922"/>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0" name="Google Shape;400;p18"/>
            <p:cNvSpPr/>
            <p:nvPr/>
          </p:nvSpPr>
          <p:spPr>
            <a:xfrm>
              <a:off x="1693888" y="3363350"/>
              <a:ext cx="48750" cy="55900"/>
            </a:xfrm>
            <a:custGeom>
              <a:avLst/>
              <a:gdLst/>
              <a:ahLst/>
              <a:cxnLst/>
              <a:rect l="l" t="t" r="r" b="b"/>
              <a:pathLst>
                <a:path w="1950" h="2236" fill="none" extrusionOk="0">
                  <a:moveTo>
                    <a:pt x="1523" y="2235"/>
                  </a:moveTo>
                  <a:lnTo>
                    <a:pt x="0" y="414"/>
                  </a:lnTo>
                  <a:lnTo>
                    <a:pt x="0" y="414"/>
                  </a:lnTo>
                  <a:lnTo>
                    <a:pt x="257" y="200"/>
                  </a:lnTo>
                  <a:lnTo>
                    <a:pt x="513" y="1"/>
                  </a:lnTo>
                  <a:lnTo>
                    <a:pt x="1950" y="1908"/>
                  </a:lnTo>
                  <a:lnTo>
                    <a:pt x="1950" y="1908"/>
                  </a:lnTo>
                  <a:lnTo>
                    <a:pt x="1523" y="2235"/>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18"/>
            <p:cNvSpPr/>
            <p:nvPr/>
          </p:nvSpPr>
          <p:spPr>
            <a:xfrm>
              <a:off x="1762538" y="3323150"/>
              <a:ext cx="37750" cy="60525"/>
            </a:xfrm>
            <a:custGeom>
              <a:avLst/>
              <a:gdLst/>
              <a:ahLst/>
              <a:cxnLst/>
              <a:rect l="l" t="t" r="r" b="b"/>
              <a:pathLst>
                <a:path w="1510" h="2421" fill="none" extrusionOk="0">
                  <a:moveTo>
                    <a:pt x="1025" y="2420"/>
                  </a:moveTo>
                  <a:lnTo>
                    <a:pt x="1" y="257"/>
                  </a:lnTo>
                  <a:lnTo>
                    <a:pt x="1" y="257"/>
                  </a:lnTo>
                  <a:lnTo>
                    <a:pt x="598" y="1"/>
                  </a:lnTo>
                  <a:lnTo>
                    <a:pt x="1509" y="2192"/>
                  </a:lnTo>
                  <a:lnTo>
                    <a:pt x="1509" y="2192"/>
                  </a:lnTo>
                  <a:lnTo>
                    <a:pt x="1025" y="242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2" name="Google Shape;402;p18"/>
            <p:cNvSpPr/>
            <p:nvPr/>
          </p:nvSpPr>
          <p:spPr>
            <a:xfrm>
              <a:off x="1840088" y="3301450"/>
              <a:ext cx="24225" cy="61225"/>
            </a:xfrm>
            <a:custGeom>
              <a:avLst/>
              <a:gdLst/>
              <a:ahLst/>
              <a:cxnLst/>
              <a:rect l="l" t="t" r="r" b="b"/>
              <a:pathLst>
                <a:path w="969" h="2449" fill="none" extrusionOk="0">
                  <a:moveTo>
                    <a:pt x="442" y="2448"/>
                  </a:moveTo>
                  <a:lnTo>
                    <a:pt x="1" y="115"/>
                  </a:lnTo>
                  <a:lnTo>
                    <a:pt x="1" y="115"/>
                  </a:lnTo>
                  <a:lnTo>
                    <a:pt x="314" y="58"/>
                  </a:lnTo>
                  <a:lnTo>
                    <a:pt x="641" y="1"/>
                  </a:lnTo>
                  <a:lnTo>
                    <a:pt x="969" y="2363"/>
                  </a:lnTo>
                  <a:lnTo>
                    <a:pt x="969" y="2363"/>
                  </a:lnTo>
                  <a:lnTo>
                    <a:pt x="442" y="2448"/>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3" name="Google Shape;403;p18"/>
            <p:cNvSpPr/>
            <p:nvPr/>
          </p:nvSpPr>
          <p:spPr>
            <a:xfrm>
              <a:off x="1581463" y="3255575"/>
              <a:ext cx="389575" cy="389575"/>
            </a:xfrm>
            <a:custGeom>
              <a:avLst/>
              <a:gdLst/>
              <a:ahLst/>
              <a:cxnLst/>
              <a:rect l="l" t="t" r="r" b="b"/>
              <a:pathLst>
                <a:path w="15583" h="15583" fill="none" extrusionOk="0">
                  <a:moveTo>
                    <a:pt x="7785" y="0"/>
                  </a:moveTo>
                  <a:lnTo>
                    <a:pt x="7785" y="0"/>
                  </a:lnTo>
                  <a:lnTo>
                    <a:pt x="7386" y="0"/>
                  </a:lnTo>
                  <a:lnTo>
                    <a:pt x="7002" y="29"/>
                  </a:lnTo>
                  <a:lnTo>
                    <a:pt x="6603" y="86"/>
                  </a:lnTo>
                  <a:lnTo>
                    <a:pt x="6219" y="157"/>
                  </a:lnTo>
                  <a:lnTo>
                    <a:pt x="5849" y="242"/>
                  </a:lnTo>
                  <a:lnTo>
                    <a:pt x="5479" y="342"/>
                  </a:lnTo>
                  <a:lnTo>
                    <a:pt x="5109" y="470"/>
                  </a:lnTo>
                  <a:lnTo>
                    <a:pt x="4754" y="612"/>
                  </a:lnTo>
                  <a:lnTo>
                    <a:pt x="4412" y="769"/>
                  </a:lnTo>
                  <a:lnTo>
                    <a:pt x="4085" y="939"/>
                  </a:lnTo>
                  <a:lnTo>
                    <a:pt x="3757" y="1124"/>
                  </a:lnTo>
                  <a:lnTo>
                    <a:pt x="3430" y="1324"/>
                  </a:lnTo>
                  <a:lnTo>
                    <a:pt x="3131" y="1537"/>
                  </a:lnTo>
                  <a:lnTo>
                    <a:pt x="2833" y="1779"/>
                  </a:lnTo>
                  <a:lnTo>
                    <a:pt x="2548" y="2021"/>
                  </a:lnTo>
                  <a:lnTo>
                    <a:pt x="2278" y="2277"/>
                  </a:lnTo>
                  <a:lnTo>
                    <a:pt x="2021" y="2547"/>
                  </a:lnTo>
                  <a:lnTo>
                    <a:pt x="1780" y="2832"/>
                  </a:lnTo>
                  <a:lnTo>
                    <a:pt x="1552" y="3131"/>
                  </a:lnTo>
                  <a:lnTo>
                    <a:pt x="1324" y="3430"/>
                  </a:lnTo>
                  <a:lnTo>
                    <a:pt x="1125" y="3743"/>
                  </a:lnTo>
                  <a:lnTo>
                    <a:pt x="940" y="4070"/>
                  </a:lnTo>
                  <a:lnTo>
                    <a:pt x="769" y="4412"/>
                  </a:lnTo>
                  <a:lnTo>
                    <a:pt x="613" y="4753"/>
                  </a:lnTo>
                  <a:lnTo>
                    <a:pt x="470" y="5109"/>
                  </a:lnTo>
                  <a:lnTo>
                    <a:pt x="357" y="5465"/>
                  </a:lnTo>
                  <a:lnTo>
                    <a:pt x="243" y="5835"/>
                  </a:lnTo>
                  <a:lnTo>
                    <a:pt x="157" y="6219"/>
                  </a:lnTo>
                  <a:lnTo>
                    <a:pt x="86" y="6603"/>
                  </a:lnTo>
                  <a:lnTo>
                    <a:pt x="43" y="6987"/>
                  </a:lnTo>
                  <a:lnTo>
                    <a:pt x="15" y="7386"/>
                  </a:lnTo>
                  <a:lnTo>
                    <a:pt x="1" y="7784"/>
                  </a:lnTo>
                  <a:lnTo>
                    <a:pt x="1" y="7784"/>
                  </a:lnTo>
                  <a:lnTo>
                    <a:pt x="15" y="8140"/>
                  </a:lnTo>
                  <a:lnTo>
                    <a:pt x="29" y="8496"/>
                  </a:lnTo>
                  <a:lnTo>
                    <a:pt x="72" y="8837"/>
                  </a:lnTo>
                  <a:lnTo>
                    <a:pt x="129" y="9179"/>
                  </a:lnTo>
                  <a:lnTo>
                    <a:pt x="200" y="9520"/>
                  </a:lnTo>
                  <a:lnTo>
                    <a:pt x="271" y="9847"/>
                  </a:lnTo>
                  <a:lnTo>
                    <a:pt x="371" y="10175"/>
                  </a:lnTo>
                  <a:lnTo>
                    <a:pt x="485" y="10502"/>
                  </a:lnTo>
                  <a:lnTo>
                    <a:pt x="613" y="10815"/>
                  </a:lnTo>
                  <a:lnTo>
                    <a:pt x="741" y="11114"/>
                  </a:lnTo>
                  <a:lnTo>
                    <a:pt x="897" y="11413"/>
                  </a:lnTo>
                  <a:lnTo>
                    <a:pt x="1054" y="11712"/>
                  </a:lnTo>
                  <a:lnTo>
                    <a:pt x="1225" y="11996"/>
                  </a:lnTo>
                  <a:lnTo>
                    <a:pt x="1410" y="12266"/>
                  </a:lnTo>
                  <a:lnTo>
                    <a:pt x="1609" y="12537"/>
                  </a:lnTo>
                  <a:lnTo>
                    <a:pt x="1822" y="12793"/>
                  </a:lnTo>
                  <a:lnTo>
                    <a:pt x="2349" y="12878"/>
                  </a:lnTo>
                  <a:lnTo>
                    <a:pt x="2349" y="12878"/>
                  </a:lnTo>
                  <a:lnTo>
                    <a:pt x="2292" y="13305"/>
                  </a:lnTo>
                  <a:lnTo>
                    <a:pt x="2292" y="13305"/>
                  </a:lnTo>
                  <a:lnTo>
                    <a:pt x="2562" y="13561"/>
                  </a:lnTo>
                  <a:lnTo>
                    <a:pt x="2833" y="13803"/>
                  </a:lnTo>
                  <a:lnTo>
                    <a:pt x="3131" y="14031"/>
                  </a:lnTo>
                  <a:lnTo>
                    <a:pt x="3444" y="14244"/>
                  </a:lnTo>
                  <a:lnTo>
                    <a:pt x="3757" y="14458"/>
                  </a:lnTo>
                  <a:lnTo>
                    <a:pt x="4085" y="14643"/>
                  </a:lnTo>
                  <a:lnTo>
                    <a:pt x="4412" y="14814"/>
                  </a:lnTo>
                  <a:lnTo>
                    <a:pt x="4768" y="14970"/>
                  </a:lnTo>
                  <a:lnTo>
                    <a:pt x="5109" y="15112"/>
                  </a:lnTo>
                  <a:lnTo>
                    <a:pt x="5479" y="15226"/>
                  </a:lnTo>
                  <a:lnTo>
                    <a:pt x="5849" y="15326"/>
                  </a:lnTo>
                  <a:lnTo>
                    <a:pt x="6219" y="15426"/>
                  </a:lnTo>
                  <a:lnTo>
                    <a:pt x="6603" y="15482"/>
                  </a:lnTo>
                  <a:lnTo>
                    <a:pt x="7002" y="15539"/>
                  </a:lnTo>
                  <a:lnTo>
                    <a:pt x="7386" y="15568"/>
                  </a:lnTo>
                  <a:lnTo>
                    <a:pt x="7785" y="15582"/>
                  </a:lnTo>
                  <a:lnTo>
                    <a:pt x="7785" y="15582"/>
                  </a:lnTo>
                  <a:lnTo>
                    <a:pt x="8268" y="15568"/>
                  </a:lnTo>
                  <a:lnTo>
                    <a:pt x="8724" y="15525"/>
                  </a:lnTo>
                  <a:lnTo>
                    <a:pt x="8724" y="15525"/>
                  </a:lnTo>
                  <a:lnTo>
                    <a:pt x="8667" y="15255"/>
                  </a:lnTo>
                  <a:lnTo>
                    <a:pt x="8624" y="14984"/>
                  </a:lnTo>
                  <a:lnTo>
                    <a:pt x="8610" y="14714"/>
                  </a:lnTo>
                  <a:lnTo>
                    <a:pt x="8596" y="14444"/>
                  </a:lnTo>
                  <a:lnTo>
                    <a:pt x="8596" y="14444"/>
                  </a:lnTo>
                  <a:lnTo>
                    <a:pt x="8610" y="14202"/>
                  </a:lnTo>
                  <a:lnTo>
                    <a:pt x="8624" y="13974"/>
                  </a:lnTo>
                  <a:lnTo>
                    <a:pt x="8653" y="13732"/>
                  </a:lnTo>
                  <a:lnTo>
                    <a:pt x="8695" y="13504"/>
                  </a:lnTo>
                  <a:lnTo>
                    <a:pt x="8738" y="13291"/>
                  </a:lnTo>
                  <a:lnTo>
                    <a:pt x="8809" y="13063"/>
                  </a:lnTo>
                  <a:lnTo>
                    <a:pt x="8880" y="12850"/>
                  </a:lnTo>
                  <a:lnTo>
                    <a:pt x="8966" y="12651"/>
                  </a:lnTo>
                  <a:lnTo>
                    <a:pt x="9051" y="12437"/>
                  </a:lnTo>
                  <a:lnTo>
                    <a:pt x="9151" y="12238"/>
                  </a:lnTo>
                  <a:lnTo>
                    <a:pt x="9264" y="12053"/>
                  </a:lnTo>
                  <a:lnTo>
                    <a:pt x="9378" y="11868"/>
                  </a:lnTo>
                  <a:lnTo>
                    <a:pt x="9521" y="11683"/>
                  </a:lnTo>
                  <a:lnTo>
                    <a:pt x="9649" y="11512"/>
                  </a:lnTo>
                  <a:lnTo>
                    <a:pt x="9791" y="11342"/>
                  </a:lnTo>
                  <a:lnTo>
                    <a:pt x="9947" y="11185"/>
                  </a:lnTo>
                  <a:lnTo>
                    <a:pt x="10104" y="11028"/>
                  </a:lnTo>
                  <a:lnTo>
                    <a:pt x="10275" y="10886"/>
                  </a:lnTo>
                  <a:lnTo>
                    <a:pt x="10446" y="10744"/>
                  </a:lnTo>
                  <a:lnTo>
                    <a:pt x="10631" y="10616"/>
                  </a:lnTo>
                  <a:lnTo>
                    <a:pt x="10816" y="10502"/>
                  </a:lnTo>
                  <a:lnTo>
                    <a:pt x="11015" y="10388"/>
                  </a:lnTo>
                  <a:lnTo>
                    <a:pt x="11214" y="10289"/>
                  </a:lnTo>
                  <a:lnTo>
                    <a:pt x="11413" y="10189"/>
                  </a:lnTo>
                  <a:lnTo>
                    <a:pt x="11627" y="10104"/>
                  </a:lnTo>
                  <a:lnTo>
                    <a:pt x="11840" y="10032"/>
                  </a:lnTo>
                  <a:lnTo>
                    <a:pt x="12054" y="9975"/>
                  </a:lnTo>
                  <a:lnTo>
                    <a:pt x="12281" y="9919"/>
                  </a:lnTo>
                  <a:lnTo>
                    <a:pt x="12509" y="9876"/>
                  </a:lnTo>
                  <a:lnTo>
                    <a:pt x="12737" y="9847"/>
                  </a:lnTo>
                  <a:lnTo>
                    <a:pt x="12978" y="9833"/>
                  </a:lnTo>
                  <a:lnTo>
                    <a:pt x="13206" y="9833"/>
                  </a:lnTo>
                  <a:lnTo>
                    <a:pt x="13206" y="9833"/>
                  </a:lnTo>
                  <a:lnTo>
                    <a:pt x="13477" y="9833"/>
                  </a:lnTo>
                  <a:lnTo>
                    <a:pt x="13733" y="9862"/>
                  </a:lnTo>
                  <a:lnTo>
                    <a:pt x="13989" y="9890"/>
                  </a:lnTo>
                  <a:lnTo>
                    <a:pt x="14231" y="9947"/>
                  </a:lnTo>
                  <a:lnTo>
                    <a:pt x="14487" y="10004"/>
                  </a:lnTo>
                  <a:lnTo>
                    <a:pt x="14715" y="10075"/>
                  </a:lnTo>
                  <a:lnTo>
                    <a:pt x="14956" y="10160"/>
                  </a:lnTo>
                  <a:lnTo>
                    <a:pt x="15184" y="10260"/>
                  </a:lnTo>
                  <a:lnTo>
                    <a:pt x="15184" y="10260"/>
                  </a:lnTo>
                  <a:lnTo>
                    <a:pt x="15269" y="9975"/>
                  </a:lnTo>
                  <a:lnTo>
                    <a:pt x="15355" y="9677"/>
                  </a:lnTo>
                  <a:lnTo>
                    <a:pt x="15426" y="9364"/>
                  </a:lnTo>
                  <a:lnTo>
                    <a:pt x="15483" y="9065"/>
                  </a:lnTo>
                  <a:lnTo>
                    <a:pt x="15526" y="8752"/>
                  </a:lnTo>
                  <a:lnTo>
                    <a:pt x="15554" y="8424"/>
                  </a:lnTo>
                  <a:lnTo>
                    <a:pt x="15583" y="8111"/>
                  </a:lnTo>
                  <a:lnTo>
                    <a:pt x="15583" y="7784"/>
                  </a:lnTo>
                  <a:lnTo>
                    <a:pt x="15583" y="7784"/>
                  </a:lnTo>
                  <a:lnTo>
                    <a:pt x="15583" y="7471"/>
                  </a:lnTo>
                  <a:lnTo>
                    <a:pt x="15554" y="7144"/>
                  </a:lnTo>
                  <a:lnTo>
                    <a:pt x="15526" y="6831"/>
                  </a:lnTo>
                  <a:lnTo>
                    <a:pt x="15483" y="6532"/>
                  </a:lnTo>
                  <a:lnTo>
                    <a:pt x="15426" y="6219"/>
                  </a:lnTo>
                  <a:lnTo>
                    <a:pt x="15355" y="5920"/>
                  </a:lnTo>
                  <a:lnTo>
                    <a:pt x="15284" y="5621"/>
                  </a:lnTo>
                  <a:lnTo>
                    <a:pt x="15184" y="5336"/>
                  </a:lnTo>
                  <a:lnTo>
                    <a:pt x="15084" y="5038"/>
                  </a:lnTo>
                  <a:lnTo>
                    <a:pt x="14971" y="4767"/>
                  </a:lnTo>
                  <a:lnTo>
                    <a:pt x="14857" y="4483"/>
                  </a:lnTo>
                  <a:lnTo>
                    <a:pt x="14715" y="4212"/>
                  </a:lnTo>
                  <a:lnTo>
                    <a:pt x="14572" y="3956"/>
                  </a:lnTo>
                  <a:lnTo>
                    <a:pt x="14430" y="3700"/>
                  </a:lnTo>
                  <a:lnTo>
                    <a:pt x="14259" y="3444"/>
                  </a:lnTo>
                  <a:lnTo>
                    <a:pt x="14088" y="3202"/>
                  </a:lnTo>
                  <a:lnTo>
                    <a:pt x="13989" y="4155"/>
                  </a:lnTo>
                  <a:lnTo>
                    <a:pt x="13989" y="4155"/>
                  </a:lnTo>
                  <a:lnTo>
                    <a:pt x="13448" y="4113"/>
                  </a:lnTo>
                  <a:lnTo>
                    <a:pt x="13548" y="2533"/>
                  </a:lnTo>
                  <a:lnTo>
                    <a:pt x="13548" y="2533"/>
                  </a:lnTo>
                  <a:lnTo>
                    <a:pt x="13277" y="2249"/>
                  </a:lnTo>
                  <a:lnTo>
                    <a:pt x="12978" y="1978"/>
                  </a:lnTo>
                  <a:lnTo>
                    <a:pt x="12680" y="1722"/>
                  </a:lnTo>
                  <a:lnTo>
                    <a:pt x="12367" y="1480"/>
                  </a:lnTo>
                  <a:lnTo>
                    <a:pt x="12039" y="1252"/>
                  </a:lnTo>
                  <a:lnTo>
                    <a:pt x="11698" y="1039"/>
                  </a:lnTo>
                  <a:lnTo>
                    <a:pt x="11342" y="854"/>
                  </a:lnTo>
                  <a:lnTo>
                    <a:pt x="10986" y="683"/>
                  </a:lnTo>
                  <a:lnTo>
                    <a:pt x="10616" y="527"/>
                  </a:lnTo>
                  <a:lnTo>
                    <a:pt x="10232" y="384"/>
                  </a:lnTo>
                  <a:lnTo>
                    <a:pt x="9848" y="271"/>
                  </a:lnTo>
                  <a:lnTo>
                    <a:pt x="9449" y="171"/>
                  </a:lnTo>
                  <a:lnTo>
                    <a:pt x="9051" y="100"/>
                  </a:lnTo>
                  <a:lnTo>
                    <a:pt x="8638" y="43"/>
                  </a:lnTo>
                  <a:lnTo>
                    <a:pt x="8211" y="0"/>
                  </a:lnTo>
                  <a:lnTo>
                    <a:pt x="7785"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18"/>
            <p:cNvSpPr/>
            <p:nvPr/>
          </p:nvSpPr>
          <p:spPr>
            <a:xfrm>
              <a:off x="1598913" y="3301450"/>
              <a:ext cx="334775" cy="286775"/>
            </a:xfrm>
            <a:custGeom>
              <a:avLst/>
              <a:gdLst/>
              <a:ahLst/>
              <a:cxnLst/>
              <a:rect l="l" t="t" r="r" b="b"/>
              <a:pathLst>
                <a:path w="13391" h="11471" extrusionOk="0">
                  <a:moveTo>
                    <a:pt x="12850" y="698"/>
                  </a:moveTo>
                  <a:lnTo>
                    <a:pt x="12750" y="2278"/>
                  </a:lnTo>
                  <a:lnTo>
                    <a:pt x="13291" y="2320"/>
                  </a:lnTo>
                  <a:lnTo>
                    <a:pt x="13390" y="1367"/>
                  </a:lnTo>
                  <a:lnTo>
                    <a:pt x="13134" y="1025"/>
                  </a:lnTo>
                  <a:lnTo>
                    <a:pt x="12850" y="698"/>
                  </a:lnTo>
                  <a:close/>
                  <a:moveTo>
                    <a:pt x="10288" y="1"/>
                  </a:moveTo>
                  <a:lnTo>
                    <a:pt x="9961" y="58"/>
                  </a:lnTo>
                  <a:lnTo>
                    <a:pt x="9648" y="115"/>
                  </a:lnTo>
                  <a:lnTo>
                    <a:pt x="10089" y="2448"/>
                  </a:lnTo>
                  <a:lnTo>
                    <a:pt x="10616" y="2363"/>
                  </a:lnTo>
                  <a:lnTo>
                    <a:pt x="10288" y="1"/>
                  </a:lnTo>
                  <a:close/>
                  <a:moveTo>
                    <a:pt x="7143" y="869"/>
                  </a:moveTo>
                  <a:lnTo>
                    <a:pt x="6546" y="1125"/>
                  </a:lnTo>
                  <a:lnTo>
                    <a:pt x="7570" y="3288"/>
                  </a:lnTo>
                  <a:lnTo>
                    <a:pt x="8054" y="3060"/>
                  </a:lnTo>
                  <a:lnTo>
                    <a:pt x="7143" y="869"/>
                  </a:lnTo>
                  <a:close/>
                  <a:moveTo>
                    <a:pt x="4312" y="2477"/>
                  </a:moveTo>
                  <a:lnTo>
                    <a:pt x="4056" y="2676"/>
                  </a:lnTo>
                  <a:lnTo>
                    <a:pt x="3799" y="2890"/>
                  </a:lnTo>
                  <a:lnTo>
                    <a:pt x="5322" y="4711"/>
                  </a:lnTo>
                  <a:lnTo>
                    <a:pt x="5749" y="4384"/>
                  </a:lnTo>
                  <a:lnTo>
                    <a:pt x="4312" y="2477"/>
                  </a:lnTo>
                  <a:close/>
                  <a:moveTo>
                    <a:pt x="1964" y="4739"/>
                  </a:moveTo>
                  <a:lnTo>
                    <a:pt x="1580" y="5266"/>
                  </a:lnTo>
                  <a:lnTo>
                    <a:pt x="3501" y="6661"/>
                  </a:lnTo>
                  <a:lnTo>
                    <a:pt x="3828" y="6234"/>
                  </a:lnTo>
                  <a:lnTo>
                    <a:pt x="1964" y="4739"/>
                  </a:lnTo>
                  <a:close/>
                  <a:moveTo>
                    <a:pt x="256" y="7529"/>
                  </a:moveTo>
                  <a:lnTo>
                    <a:pt x="0" y="8126"/>
                  </a:lnTo>
                  <a:lnTo>
                    <a:pt x="2220" y="8994"/>
                  </a:lnTo>
                  <a:lnTo>
                    <a:pt x="2433" y="8510"/>
                  </a:lnTo>
                  <a:lnTo>
                    <a:pt x="256" y="7529"/>
                  </a:lnTo>
                  <a:close/>
                  <a:moveTo>
                    <a:pt x="1124" y="10958"/>
                  </a:moveTo>
                  <a:lnTo>
                    <a:pt x="1352" y="11214"/>
                  </a:lnTo>
                  <a:lnTo>
                    <a:pt x="1594" y="11470"/>
                  </a:lnTo>
                  <a:lnTo>
                    <a:pt x="1651" y="11043"/>
                  </a:lnTo>
                  <a:lnTo>
                    <a:pt x="1124" y="10958"/>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5" name="Google Shape;405;p18"/>
            <p:cNvSpPr/>
            <p:nvPr/>
          </p:nvSpPr>
          <p:spPr>
            <a:xfrm>
              <a:off x="1627013" y="3575375"/>
              <a:ext cx="13175" cy="12850"/>
            </a:xfrm>
            <a:custGeom>
              <a:avLst/>
              <a:gdLst/>
              <a:ahLst/>
              <a:cxnLst/>
              <a:rect l="l" t="t" r="r" b="b"/>
              <a:pathLst>
                <a:path w="527" h="514" fill="none" extrusionOk="0">
                  <a:moveTo>
                    <a:pt x="0" y="1"/>
                  </a:moveTo>
                  <a:lnTo>
                    <a:pt x="0" y="1"/>
                  </a:lnTo>
                  <a:lnTo>
                    <a:pt x="228" y="257"/>
                  </a:lnTo>
                  <a:lnTo>
                    <a:pt x="470" y="513"/>
                  </a:lnTo>
                  <a:lnTo>
                    <a:pt x="470" y="513"/>
                  </a:lnTo>
                  <a:lnTo>
                    <a:pt x="527" y="86"/>
                  </a:lnTo>
                  <a:lnTo>
                    <a:pt x="0"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6" name="Google Shape;406;p18"/>
            <p:cNvSpPr/>
            <p:nvPr/>
          </p:nvSpPr>
          <p:spPr>
            <a:xfrm>
              <a:off x="1598913" y="3489650"/>
              <a:ext cx="60850" cy="36675"/>
            </a:xfrm>
            <a:custGeom>
              <a:avLst/>
              <a:gdLst/>
              <a:ahLst/>
              <a:cxnLst/>
              <a:rect l="l" t="t" r="r" b="b"/>
              <a:pathLst>
                <a:path w="2434" h="1467" fill="none" extrusionOk="0">
                  <a:moveTo>
                    <a:pt x="256" y="1"/>
                  </a:moveTo>
                  <a:lnTo>
                    <a:pt x="256" y="1"/>
                  </a:lnTo>
                  <a:lnTo>
                    <a:pt x="0" y="598"/>
                  </a:lnTo>
                  <a:lnTo>
                    <a:pt x="2220" y="1466"/>
                  </a:lnTo>
                  <a:lnTo>
                    <a:pt x="2220" y="1466"/>
                  </a:lnTo>
                  <a:lnTo>
                    <a:pt x="2433" y="982"/>
                  </a:lnTo>
                  <a:lnTo>
                    <a:pt x="256"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18"/>
            <p:cNvSpPr/>
            <p:nvPr/>
          </p:nvSpPr>
          <p:spPr>
            <a:xfrm>
              <a:off x="1638388" y="3419925"/>
              <a:ext cx="56225" cy="48050"/>
            </a:xfrm>
            <a:custGeom>
              <a:avLst/>
              <a:gdLst/>
              <a:ahLst/>
              <a:cxnLst/>
              <a:rect l="l" t="t" r="r" b="b"/>
              <a:pathLst>
                <a:path w="2249" h="1922" fill="none" extrusionOk="0">
                  <a:moveTo>
                    <a:pt x="385" y="0"/>
                  </a:moveTo>
                  <a:lnTo>
                    <a:pt x="385" y="0"/>
                  </a:lnTo>
                  <a:lnTo>
                    <a:pt x="1" y="527"/>
                  </a:lnTo>
                  <a:lnTo>
                    <a:pt x="1922" y="1922"/>
                  </a:lnTo>
                  <a:lnTo>
                    <a:pt x="1922" y="1922"/>
                  </a:lnTo>
                  <a:lnTo>
                    <a:pt x="2249" y="1495"/>
                  </a:lnTo>
                  <a:lnTo>
                    <a:pt x="385"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18"/>
            <p:cNvSpPr/>
            <p:nvPr/>
          </p:nvSpPr>
          <p:spPr>
            <a:xfrm>
              <a:off x="1693888" y="3363350"/>
              <a:ext cx="48750" cy="55900"/>
            </a:xfrm>
            <a:custGeom>
              <a:avLst/>
              <a:gdLst/>
              <a:ahLst/>
              <a:cxnLst/>
              <a:rect l="l" t="t" r="r" b="b"/>
              <a:pathLst>
                <a:path w="1950" h="2236" fill="none" extrusionOk="0">
                  <a:moveTo>
                    <a:pt x="513" y="1"/>
                  </a:moveTo>
                  <a:lnTo>
                    <a:pt x="513" y="1"/>
                  </a:lnTo>
                  <a:lnTo>
                    <a:pt x="257" y="200"/>
                  </a:lnTo>
                  <a:lnTo>
                    <a:pt x="0" y="414"/>
                  </a:lnTo>
                  <a:lnTo>
                    <a:pt x="1523" y="2235"/>
                  </a:lnTo>
                  <a:lnTo>
                    <a:pt x="1523" y="2235"/>
                  </a:lnTo>
                  <a:lnTo>
                    <a:pt x="1950" y="1908"/>
                  </a:lnTo>
                  <a:lnTo>
                    <a:pt x="513"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18"/>
            <p:cNvSpPr/>
            <p:nvPr/>
          </p:nvSpPr>
          <p:spPr>
            <a:xfrm>
              <a:off x="1762538" y="3323150"/>
              <a:ext cx="37750" cy="60525"/>
            </a:xfrm>
            <a:custGeom>
              <a:avLst/>
              <a:gdLst/>
              <a:ahLst/>
              <a:cxnLst/>
              <a:rect l="l" t="t" r="r" b="b"/>
              <a:pathLst>
                <a:path w="1510" h="2421" fill="none" extrusionOk="0">
                  <a:moveTo>
                    <a:pt x="598" y="1"/>
                  </a:moveTo>
                  <a:lnTo>
                    <a:pt x="598" y="1"/>
                  </a:lnTo>
                  <a:lnTo>
                    <a:pt x="1" y="257"/>
                  </a:lnTo>
                  <a:lnTo>
                    <a:pt x="1025" y="2420"/>
                  </a:lnTo>
                  <a:lnTo>
                    <a:pt x="1025" y="2420"/>
                  </a:lnTo>
                  <a:lnTo>
                    <a:pt x="1509" y="2192"/>
                  </a:lnTo>
                  <a:lnTo>
                    <a:pt x="598"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18"/>
            <p:cNvSpPr/>
            <p:nvPr/>
          </p:nvSpPr>
          <p:spPr>
            <a:xfrm>
              <a:off x="1917663" y="3318900"/>
              <a:ext cx="16025" cy="40575"/>
            </a:xfrm>
            <a:custGeom>
              <a:avLst/>
              <a:gdLst/>
              <a:ahLst/>
              <a:cxnLst/>
              <a:rect l="l" t="t" r="r" b="b"/>
              <a:pathLst>
                <a:path w="641" h="1623" fill="none" extrusionOk="0">
                  <a:moveTo>
                    <a:pt x="100" y="0"/>
                  </a:moveTo>
                  <a:lnTo>
                    <a:pt x="0" y="1580"/>
                  </a:lnTo>
                  <a:lnTo>
                    <a:pt x="0" y="1580"/>
                  </a:lnTo>
                  <a:lnTo>
                    <a:pt x="541" y="1622"/>
                  </a:lnTo>
                  <a:lnTo>
                    <a:pt x="640" y="669"/>
                  </a:lnTo>
                  <a:lnTo>
                    <a:pt x="640" y="669"/>
                  </a:lnTo>
                  <a:lnTo>
                    <a:pt x="384" y="327"/>
                  </a:lnTo>
                  <a:lnTo>
                    <a:pt x="100"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18"/>
            <p:cNvSpPr/>
            <p:nvPr/>
          </p:nvSpPr>
          <p:spPr>
            <a:xfrm>
              <a:off x="1840088" y="3301450"/>
              <a:ext cx="24225" cy="61225"/>
            </a:xfrm>
            <a:custGeom>
              <a:avLst/>
              <a:gdLst/>
              <a:ahLst/>
              <a:cxnLst/>
              <a:rect l="l" t="t" r="r" b="b"/>
              <a:pathLst>
                <a:path w="969" h="2449" fill="none" extrusionOk="0">
                  <a:moveTo>
                    <a:pt x="641" y="1"/>
                  </a:moveTo>
                  <a:lnTo>
                    <a:pt x="641" y="1"/>
                  </a:lnTo>
                  <a:lnTo>
                    <a:pt x="314" y="58"/>
                  </a:lnTo>
                  <a:lnTo>
                    <a:pt x="1" y="115"/>
                  </a:lnTo>
                  <a:lnTo>
                    <a:pt x="442" y="2448"/>
                  </a:lnTo>
                  <a:lnTo>
                    <a:pt x="442" y="2448"/>
                  </a:lnTo>
                  <a:lnTo>
                    <a:pt x="969" y="2363"/>
                  </a:lnTo>
                  <a:lnTo>
                    <a:pt x="641" y="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12" name="Google Shape;412;p18"/>
          <p:cNvSpPr txBox="1">
            <a:spLocks noGrp="1"/>
          </p:cNvSpPr>
          <p:nvPr>
            <p:ph type="title"/>
          </p:nvPr>
        </p:nvSpPr>
        <p:spPr>
          <a:xfrm>
            <a:off x="457200" y="411475"/>
            <a:ext cx="8229600" cy="3714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US">
                <a:solidFill>
                  <a:schemeClr val="bg1"/>
                </a:solidFill>
              </a:rPr>
              <a:t>ĐẶT VẤN ĐỀ</a:t>
            </a:r>
          </a:p>
        </p:txBody>
      </p:sp>
      <p:sp>
        <p:nvSpPr>
          <p:cNvPr id="413" name="Google Shape;413;p18"/>
          <p:cNvSpPr/>
          <p:nvPr/>
        </p:nvSpPr>
        <p:spPr>
          <a:xfrm>
            <a:off x="1796338" y="3501400"/>
            <a:ext cx="230900" cy="230550"/>
          </a:xfrm>
          <a:custGeom>
            <a:avLst/>
            <a:gdLst/>
            <a:ahLst/>
            <a:cxnLst/>
            <a:rect l="l" t="t" r="r" b="b"/>
            <a:pathLst>
              <a:path w="9236" h="9222" extrusionOk="0">
                <a:moveTo>
                  <a:pt x="4383" y="0"/>
                </a:moveTo>
                <a:lnTo>
                  <a:pt x="4142" y="14"/>
                </a:lnTo>
                <a:lnTo>
                  <a:pt x="3914" y="43"/>
                </a:lnTo>
                <a:lnTo>
                  <a:pt x="3686" y="86"/>
                </a:lnTo>
                <a:lnTo>
                  <a:pt x="3459" y="142"/>
                </a:lnTo>
                <a:lnTo>
                  <a:pt x="3245" y="199"/>
                </a:lnTo>
                <a:lnTo>
                  <a:pt x="3032" y="271"/>
                </a:lnTo>
                <a:lnTo>
                  <a:pt x="2818" y="356"/>
                </a:lnTo>
                <a:lnTo>
                  <a:pt x="2619" y="456"/>
                </a:lnTo>
                <a:lnTo>
                  <a:pt x="2420" y="555"/>
                </a:lnTo>
                <a:lnTo>
                  <a:pt x="2221" y="669"/>
                </a:lnTo>
                <a:lnTo>
                  <a:pt x="2036" y="783"/>
                </a:lnTo>
                <a:lnTo>
                  <a:pt x="1851" y="911"/>
                </a:lnTo>
                <a:lnTo>
                  <a:pt x="1680" y="1053"/>
                </a:lnTo>
                <a:lnTo>
                  <a:pt x="1509" y="1195"/>
                </a:lnTo>
                <a:lnTo>
                  <a:pt x="1352" y="1352"/>
                </a:lnTo>
                <a:lnTo>
                  <a:pt x="1196" y="1509"/>
                </a:lnTo>
                <a:lnTo>
                  <a:pt x="1054" y="1679"/>
                </a:lnTo>
                <a:lnTo>
                  <a:pt x="926" y="1850"/>
                </a:lnTo>
                <a:lnTo>
                  <a:pt x="783" y="2035"/>
                </a:lnTo>
                <a:lnTo>
                  <a:pt x="669" y="2220"/>
                </a:lnTo>
                <a:lnTo>
                  <a:pt x="556" y="2405"/>
                </a:lnTo>
                <a:lnTo>
                  <a:pt x="456" y="2604"/>
                </a:lnTo>
                <a:lnTo>
                  <a:pt x="371" y="2818"/>
                </a:lnTo>
                <a:lnTo>
                  <a:pt x="285" y="3017"/>
                </a:lnTo>
                <a:lnTo>
                  <a:pt x="214" y="3230"/>
                </a:lnTo>
                <a:lnTo>
                  <a:pt x="143" y="3458"/>
                </a:lnTo>
                <a:lnTo>
                  <a:pt x="100" y="3671"/>
                </a:lnTo>
                <a:lnTo>
                  <a:pt x="58" y="3899"/>
                </a:lnTo>
                <a:lnTo>
                  <a:pt x="29" y="4141"/>
                </a:lnTo>
                <a:lnTo>
                  <a:pt x="15" y="4369"/>
                </a:lnTo>
                <a:lnTo>
                  <a:pt x="1" y="4611"/>
                </a:lnTo>
                <a:lnTo>
                  <a:pt x="15" y="4838"/>
                </a:lnTo>
                <a:lnTo>
                  <a:pt x="29" y="5080"/>
                </a:lnTo>
                <a:lnTo>
                  <a:pt x="58" y="5308"/>
                </a:lnTo>
                <a:lnTo>
                  <a:pt x="100" y="5536"/>
                </a:lnTo>
                <a:lnTo>
                  <a:pt x="143" y="5763"/>
                </a:lnTo>
                <a:lnTo>
                  <a:pt x="214" y="5977"/>
                </a:lnTo>
                <a:lnTo>
                  <a:pt x="285" y="6190"/>
                </a:lnTo>
                <a:lnTo>
                  <a:pt x="371" y="6404"/>
                </a:lnTo>
                <a:lnTo>
                  <a:pt x="456" y="6603"/>
                </a:lnTo>
                <a:lnTo>
                  <a:pt x="556" y="6802"/>
                </a:lnTo>
                <a:lnTo>
                  <a:pt x="669" y="7001"/>
                </a:lnTo>
                <a:lnTo>
                  <a:pt x="783" y="7186"/>
                </a:lnTo>
                <a:lnTo>
                  <a:pt x="926" y="7371"/>
                </a:lnTo>
                <a:lnTo>
                  <a:pt x="1054" y="7542"/>
                </a:lnTo>
                <a:lnTo>
                  <a:pt x="1196" y="7713"/>
                </a:lnTo>
                <a:lnTo>
                  <a:pt x="1352" y="7869"/>
                </a:lnTo>
                <a:lnTo>
                  <a:pt x="1509" y="8026"/>
                </a:lnTo>
                <a:lnTo>
                  <a:pt x="1680" y="8168"/>
                </a:lnTo>
                <a:lnTo>
                  <a:pt x="1851" y="8310"/>
                </a:lnTo>
                <a:lnTo>
                  <a:pt x="2036" y="8439"/>
                </a:lnTo>
                <a:lnTo>
                  <a:pt x="2221" y="8552"/>
                </a:lnTo>
                <a:lnTo>
                  <a:pt x="2420" y="8666"/>
                </a:lnTo>
                <a:lnTo>
                  <a:pt x="2619" y="8766"/>
                </a:lnTo>
                <a:lnTo>
                  <a:pt x="2818" y="8865"/>
                </a:lnTo>
                <a:lnTo>
                  <a:pt x="3032" y="8937"/>
                </a:lnTo>
                <a:lnTo>
                  <a:pt x="3245" y="9008"/>
                </a:lnTo>
                <a:lnTo>
                  <a:pt x="3459" y="9079"/>
                </a:lnTo>
                <a:lnTo>
                  <a:pt x="3686" y="9122"/>
                </a:lnTo>
                <a:lnTo>
                  <a:pt x="3914" y="9164"/>
                </a:lnTo>
                <a:lnTo>
                  <a:pt x="4142" y="9193"/>
                </a:lnTo>
                <a:lnTo>
                  <a:pt x="4383" y="9221"/>
                </a:lnTo>
                <a:lnTo>
                  <a:pt x="4853" y="9221"/>
                </a:lnTo>
                <a:lnTo>
                  <a:pt x="5095" y="9193"/>
                </a:lnTo>
                <a:lnTo>
                  <a:pt x="5323" y="9164"/>
                </a:lnTo>
                <a:lnTo>
                  <a:pt x="5550" y="9122"/>
                </a:lnTo>
                <a:lnTo>
                  <a:pt x="5764" y="9079"/>
                </a:lnTo>
                <a:lnTo>
                  <a:pt x="5991" y="9008"/>
                </a:lnTo>
                <a:lnTo>
                  <a:pt x="6205" y="8937"/>
                </a:lnTo>
                <a:lnTo>
                  <a:pt x="6418" y="8865"/>
                </a:lnTo>
                <a:lnTo>
                  <a:pt x="6618" y="8766"/>
                </a:lnTo>
                <a:lnTo>
                  <a:pt x="6817" y="8666"/>
                </a:lnTo>
                <a:lnTo>
                  <a:pt x="7002" y="8552"/>
                </a:lnTo>
                <a:lnTo>
                  <a:pt x="7201" y="8439"/>
                </a:lnTo>
                <a:lnTo>
                  <a:pt x="7372" y="8310"/>
                </a:lnTo>
                <a:lnTo>
                  <a:pt x="7557" y="8168"/>
                </a:lnTo>
                <a:lnTo>
                  <a:pt x="7713" y="8026"/>
                </a:lnTo>
                <a:lnTo>
                  <a:pt x="7884" y="7869"/>
                </a:lnTo>
                <a:lnTo>
                  <a:pt x="8026" y="7713"/>
                </a:lnTo>
                <a:lnTo>
                  <a:pt x="8183" y="7542"/>
                </a:lnTo>
                <a:lnTo>
                  <a:pt x="8311" y="7371"/>
                </a:lnTo>
                <a:lnTo>
                  <a:pt x="8439" y="7186"/>
                </a:lnTo>
                <a:lnTo>
                  <a:pt x="8567" y="7001"/>
                </a:lnTo>
                <a:lnTo>
                  <a:pt x="8667" y="6802"/>
                </a:lnTo>
                <a:lnTo>
                  <a:pt x="8780" y="6603"/>
                </a:lnTo>
                <a:lnTo>
                  <a:pt x="8866" y="6404"/>
                </a:lnTo>
                <a:lnTo>
                  <a:pt x="8951" y="6190"/>
                </a:lnTo>
                <a:lnTo>
                  <a:pt x="9022" y="5977"/>
                </a:lnTo>
                <a:lnTo>
                  <a:pt x="9079" y="5763"/>
                </a:lnTo>
                <a:lnTo>
                  <a:pt x="9136" y="5536"/>
                </a:lnTo>
                <a:lnTo>
                  <a:pt x="9179" y="5308"/>
                </a:lnTo>
                <a:lnTo>
                  <a:pt x="9207" y="5080"/>
                </a:lnTo>
                <a:lnTo>
                  <a:pt x="9222" y="4838"/>
                </a:lnTo>
                <a:lnTo>
                  <a:pt x="9236" y="4611"/>
                </a:lnTo>
                <a:lnTo>
                  <a:pt x="9222" y="4369"/>
                </a:lnTo>
                <a:lnTo>
                  <a:pt x="9207" y="4141"/>
                </a:lnTo>
                <a:lnTo>
                  <a:pt x="9179" y="3899"/>
                </a:lnTo>
                <a:lnTo>
                  <a:pt x="9136" y="3671"/>
                </a:lnTo>
                <a:lnTo>
                  <a:pt x="9079" y="3458"/>
                </a:lnTo>
                <a:lnTo>
                  <a:pt x="9022" y="3230"/>
                </a:lnTo>
                <a:lnTo>
                  <a:pt x="8951" y="3017"/>
                </a:lnTo>
                <a:lnTo>
                  <a:pt x="8866" y="2818"/>
                </a:lnTo>
                <a:lnTo>
                  <a:pt x="8780" y="2604"/>
                </a:lnTo>
                <a:lnTo>
                  <a:pt x="8667" y="2405"/>
                </a:lnTo>
                <a:lnTo>
                  <a:pt x="8567" y="2220"/>
                </a:lnTo>
                <a:lnTo>
                  <a:pt x="8439" y="2035"/>
                </a:lnTo>
                <a:lnTo>
                  <a:pt x="8311" y="1850"/>
                </a:lnTo>
                <a:lnTo>
                  <a:pt x="8183" y="1679"/>
                </a:lnTo>
                <a:lnTo>
                  <a:pt x="8026" y="1509"/>
                </a:lnTo>
                <a:lnTo>
                  <a:pt x="7884" y="1352"/>
                </a:lnTo>
                <a:lnTo>
                  <a:pt x="7713" y="1195"/>
                </a:lnTo>
                <a:lnTo>
                  <a:pt x="7557" y="1053"/>
                </a:lnTo>
                <a:lnTo>
                  <a:pt x="7372" y="911"/>
                </a:lnTo>
                <a:lnTo>
                  <a:pt x="7201" y="783"/>
                </a:lnTo>
                <a:lnTo>
                  <a:pt x="7002" y="669"/>
                </a:lnTo>
                <a:lnTo>
                  <a:pt x="6817" y="555"/>
                </a:lnTo>
                <a:lnTo>
                  <a:pt x="6618" y="456"/>
                </a:lnTo>
                <a:lnTo>
                  <a:pt x="6418" y="356"/>
                </a:lnTo>
                <a:lnTo>
                  <a:pt x="6205" y="271"/>
                </a:lnTo>
                <a:lnTo>
                  <a:pt x="5991" y="199"/>
                </a:lnTo>
                <a:lnTo>
                  <a:pt x="5764" y="142"/>
                </a:lnTo>
                <a:lnTo>
                  <a:pt x="5550" y="86"/>
                </a:lnTo>
                <a:lnTo>
                  <a:pt x="5323" y="43"/>
                </a:lnTo>
                <a:lnTo>
                  <a:pt x="5095" y="14"/>
                </a:lnTo>
                <a:lnTo>
                  <a:pt x="4853"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18"/>
          <p:cNvSpPr/>
          <p:nvPr/>
        </p:nvSpPr>
        <p:spPr>
          <a:xfrm>
            <a:off x="1796338" y="3501400"/>
            <a:ext cx="230900" cy="230550"/>
          </a:xfrm>
          <a:custGeom>
            <a:avLst/>
            <a:gdLst/>
            <a:ahLst/>
            <a:cxnLst/>
            <a:rect l="l" t="t" r="r" b="b"/>
            <a:pathLst>
              <a:path w="9236" h="9222" fill="none" extrusionOk="0">
                <a:moveTo>
                  <a:pt x="9236" y="4611"/>
                </a:moveTo>
                <a:lnTo>
                  <a:pt x="9236" y="4611"/>
                </a:lnTo>
                <a:lnTo>
                  <a:pt x="9222" y="4838"/>
                </a:lnTo>
                <a:lnTo>
                  <a:pt x="9207" y="5080"/>
                </a:lnTo>
                <a:lnTo>
                  <a:pt x="9179" y="5308"/>
                </a:lnTo>
                <a:lnTo>
                  <a:pt x="9136" y="5536"/>
                </a:lnTo>
                <a:lnTo>
                  <a:pt x="9079" y="5763"/>
                </a:lnTo>
                <a:lnTo>
                  <a:pt x="9022" y="5977"/>
                </a:lnTo>
                <a:lnTo>
                  <a:pt x="8951" y="6190"/>
                </a:lnTo>
                <a:lnTo>
                  <a:pt x="8866" y="6404"/>
                </a:lnTo>
                <a:lnTo>
                  <a:pt x="8780" y="6603"/>
                </a:lnTo>
                <a:lnTo>
                  <a:pt x="8667" y="6802"/>
                </a:lnTo>
                <a:lnTo>
                  <a:pt x="8567" y="7001"/>
                </a:lnTo>
                <a:lnTo>
                  <a:pt x="8439" y="7186"/>
                </a:lnTo>
                <a:lnTo>
                  <a:pt x="8311" y="7371"/>
                </a:lnTo>
                <a:lnTo>
                  <a:pt x="8183" y="7542"/>
                </a:lnTo>
                <a:lnTo>
                  <a:pt x="8026" y="7713"/>
                </a:lnTo>
                <a:lnTo>
                  <a:pt x="7884" y="7869"/>
                </a:lnTo>
                <a:lnTo>
                  <a:pt x="7713" y="8026"/>
                </a:lnTo>
                <a:lnTo>
                  <a:pt x="7557" y="8168"/>
                </a:lnTo>
                <a:lnTo>
                  <a:pt x="7372" y="8310"/>
                </a:lnTo>
                <a:lnTo>
                  <a:pt x="7201" y="8439"/>
                </a:lnTo>
                <a:lnTo>
                  <a:pt x="7002" y="8552"/>
                </a:lnTo>
                <a:lnTo>
                  <a:pt x="6817" y="8666"/>
                </a:lnTo>
                <a:lnTo>
                  <a:pt x="6618" y="8766"/>
                </a:lnTo>
                <a:lnTo>
                  <a:pt x="6418" y="8865"/>
                </a:lnTo>
                <a:lnTo>
                  <a:pt x="6205" y="8937"/>
                </a:lnTo>
                <a:lnTo>
                  <a:pt x="5991" y="9008"/>
                </a:lnTo>
                <a:lnTo>
                  <a:pt x="5764" y="9079"/>
                </a:lnTo>
                <a:lnTo>
                  <a:pt x="5550" y="9122"/>
                </a:lnTo>
                <a:lnTo>
                  <a:pt x="5323" y="9164"/>
                </a:lnTo>
                <a:lnTo>
                  <a:pt x="5095" y="9193"/>
                </a:lnTo>
                <a:lnTo>
                  <a:pt x="4853" y="9221"/>
                </a:lnTo>
                <a:lnTo>
                  <a:pt x="4611" y="9221"/>
                </a:lnTo>
                <a:lnTo>
                  <a:pt x="4611" y="9221"/>
                </a:lnTo>
                <a:lnTo>
                  <a:pt x="4383" y="9221"/>
                </a:lnTo>
                <a:lnTo>
                  <a:pt x="4142" y="9193"/>
                </a:lnTo>
                <a:lnTo>
                  <a:pt x="3914" y="9164"/>
                </a:lnTo>
                <a:lnTo>
                  <a:pt x="3686" y="9122"/>
                </a:lnTo>
                <a:lnTo>
                  <a:pt x="3459" y="9079"/>
                </a:lnTo>
                <a:lnTo>
                  <a:pt x="3245" y="9008"/>
                </a:lnTo>
                <a:lnTo>
                  <a:pt x="3032" y="8937"/>
                </a:lnTo>
                <a:lnTo>
                  <a:pt x="2818" y="8865"/>
                </a:lnTo>
                <a:lnTo>
                  <a:pt x="2619" y="8766"/>
                </a:lnTo>
                <a:lnTo>
                  <a:pt x="2420" y="8666"/>
                </a:lnTo>
                <a:lnTo>
                  <a:pt x="2221" y="8552"/>
                </a:lnTo>
                <a:lnTo>
                  <a:pt x="2036" y="8439"/>
                </a:lnTo>
                <a:lnTo>
                  <a:pt x="1851" y="8310"/>
                </a:lnTo>
                <a:lnTo>
                  <a:pt x="1680" y="8168"/>
                </a:lnTo>
                <a:lnTo>
                  <a:pt x="1509" y="8026"/>
                </a:lnTo>
                <a:lnTo>
                  <a:pt x="1352" y="7869"/>
                </a:lnTo>
                <a:lnTo>
                  <a:pt x="1196" y="7713"/>
                </a:lnTo>
                <a:lnTo>
                  <a:pt x="1054" y="7542"/>
                </a:lnTo>
                <a:lnTo>
                  <a:pt x="926" y="7371"/>
                </a:lnTo>
                <a:lnTo>
                  <a:pt x="783" y="7186"/>
                </a:lnTo>
                <a:lnTo>
                  <a:pt x="669" y="7001"/>
                </a:lnTo>
                <a:lnTo>
                  <a:pt x="556" y="6802"/>
                </a:lnTo>
                <a:lnTo>
                  <a:pt x="456" y="6603"/>
                </a:lnTo>
                <a:lnTo>
                  <a:pt x="371" y="6404"/>
                </a:lnTo>
                <a:lnTo>
                  <a:pt x="285" y="6190"/>
                </a:lnTo>
                <a:lnTo>
                  <a:pt x="214" y="5977"/>
                </a:lnTo>
                <a:lnTo>
                  <a:pt x="143" y="5763"/>
                </a:lnTo>
                <a:lnTo>
                  <a:pt x="100" y="5536"/>
                </a:lnTo>
                <a:lnTo>
                  <a:pt x="58" y="5308"/>
                </a:lnTo>
                <a:lnTo>
                  <a:pt x="29" y="5080"/>
                </a:lnTo>
                <a:lnTo>
                  <a:pt x="15" y="4838"/>
                </a:lnTo>
                <a:lnTo>
                  <a:pt x="1" y="4611"/>
                </a:lnTo>
                <a:lnTo>
                  <a:pt x="1" y="4611"/>
                </a:lnTo>
                <a:lnTo>
                  <a:pt x="15" y="4369"/>
                </a:lnTo>
                <a:lnTo>
                  <a:pt x="29" y="4141"/>
                </a:lnTo>
                <a:lnTo>
                  <a:pt x="58" y="3899"/>
                </a:lnTo>
                <a:lnTo>
                  <a:pt x="100" y="3671"/>
                </a:lnTo>
                <a:lnTo>
                  <a:pt x="143" y="3458"/>
                </a:lnTo>
                <a:lnTo>
                  <a:pt x="214" y="3230"/>
                </a:lnTo>
                <a:lnTo>
                  <a:pt x="285" y="3017"/>
                </a:lnTo>
                <a:lnTo>
                  <a:pt x="371" y="2818"/>
                </a:lnTo>
                <a:lnTo>
                  <a:pt x="456" y="2604"/>
                </a:lnTo>
                <a:lnTo>
                  <a:pt x="556" y="2405"/>
                </a:lnTo>
                <a:lnTo>
                  <a:pt x="669" y="2220"/>
                </a:lnTo>
                <a:lnTo>
                  <a:pt x="783" y="2035"/>
                </a:lnTo>
                <a:lnTo>
                  <a:pt x="926" y="1850"/>
                </a:lnTo>
                <a:lnTo>
                  <a:pt x="1054" y="1679"/>
                </a:lnTo>
                <a:lnTo>
                  <a:pt x="1196" y="1509"/>
                </a:lnTo>
                <a:lnTo>
                  <a:pt x="1352" y="1352"/>
                </a:lnTo>
                <a:lnTo>
                  <a:pt x="1509" y="1195"/>
                </a:lnTo>
                <a:lnTo>
                  <a:pt x="1680" y="1053"/>
                </a:lnTo>
                <a:lnTo>
                  <a:pt x="1851" y="911"/>
                </a:lnTo>
                <a:lnTo>
                  <a:pt x="2036" y="783"/>
                </a:lnTo>
                <a:lnTo>
                  <a:pt x="2221" y="669"/>
                </a:lnTo>
                <a:lnTo>
                  <a:pt x="2420" y="555"/>
                </a:lnTo>
                <a:lnTo>
                  <a:pt x="2619" y="456"/>
                </a:lnTo>
                <a:lnTo>
                  <a:pt x="2818" y="356"/>
                </a:lnTo>
                <a:lnTo>
                  <a:pt x="3032" y="271"/>
                </a:lnTo>
                <a:lnTo>
                  <a:pt x="3245" y="199"/>
                </a:lnTo>
                <a:lnTo>
                  <a:pt x="3459" y="142"/>
                </a:lnTo>
                <a:lnTo>
                  <a:pt x="3686" y="86"/>
                </a:lnTo>
                <a:lnTo>
                  <a:pt x="3914" y="43"/>
                </a:lnTo>
                <a:lnTo>
                  <a:pt x="4142" y="14"/>
                </a:lnTo>
                <a:lnTo>
                  <a:pt x="4383" y="0"/>
                </a:lnTo>
                <a:lnTo>
                  <a:pt x="4611" y="0"/>
                </a:lnTo>
                <a:lnTo>
                  <a:pt x="4611" y="0"/>
                </a:lnTo>
                <a:lnTo>
                  <a:pt x="4853" y="0"/>
                </a:lnTo>
                <a:lnTo>
                  <a:pt x="5095" y="14"/>
                </a:lnTo>
                <a:lnTo>
                  <a:pt x="5323" y="43"/>
                </a:lnTo>
                <a:lnTo>
                  <a:pt x="5550" y="86"/>
                </a:lnTo>
                <a:lnTo>
                  <a:pt x="5764" y="142"/>
                </a:lnTo>
                <a:lnTo>
                  <a:pt x="5991" y="199"/>
                </a:lnTo>
                <a:lnTo>
                  <a:pt x="6205" y="271"/>
                </a:lnTo>
                <a:lnTo>
                  <a:pt x="6418" y="356"/>
                </a:lnTo>
                <a:lnTo>
                  <a:pt x="6618" y="456"/>
                </a:lnTo>
                <a:lnTo>
                  <a:pt x="6817" y="555"/>
                </a:lnTo>
                <a:lnTo>
                  <a:pt x="7002" y="669"/>
                </a:lnTo>
                <a:lnTo>
                  <a:pt x="7201" y="783"/>
                </a:lnTo>
                <a:lnTo>
                  <a:pt x="7372" y="911"/>
                </a:lnTo>
                <a:lnTo>
                  <a:pt x="7557" y="1053"/>
                </a:lnTo>
                <a:lnTo>
                  <a:pt x="7713" y="1195"/>
                </a:lnTo>
                <a:lnTo>
                  <a:pt x="7884" y="1352"/>
                </a:lnTo>
                <a:lnTo>
                  <a:pt x="8026" y="1509"/>
                </a:lnTo>
                <a:lnTo>
                  <a:pt x="8183" y="1679"/>
                </a:lnTo>
                <a:lnTo>
                  <a:pt x="8311" y="1850"/>
                </a:lnTo>
                <a:lnTo>
                  <a:pt x="8439" y="2035"/>
                </a:lnTo>
                <a:lnTo>
                  <a:pt x="8567" y="2220"/>
                </a:lnTo>
                <a:lnTo>
                  <a:pt x="8667" y="2405"/>
                </a:lnTo>
                <a:lnTo>
                  <a:pt x="8780" y="2604"/>
                </a:lnTo>
                <a:lnTo>
                  <a:pt x="8866" y="2818"/>
                </a:lnTo>
                <a:lnTo>
                  <a:pt x="8951" y="3017"/>
                </a:lnTo>
                <a:lnTo>
                  <a:pt x="9022" y="3230"/>
                </a:lnTo>
                <a:lnTo>
                  <a:pt x="9079" y="3458"/>
                </a:lnTo>
                <a:lnTo>
                  <a:pt x="9136" y="3671"/>
                </a:lnTo>
                <a:lnTo>
                  <a:pt x="9179" y="3899"/>
                </a:lnTo>
                <a:lnTo>
                  <a:pt x="9207" y="4141"/>
                </a:lnTo>
                <a:lnTo>
                  <a:pt x="9222" y="4369"/>
                </a:lnTo>
                <a:lnTo>
                  <a:pt x="9236" y="4611"/>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18"/>
          <p:cNvSpPr/>
          <p:nvPr/>
        </p:nvSpPr>
        <p:spPr>
          <a:xfrm>
            <a:off x="1796338" y="3501400"/>
            <a:ext cx="164750" cy="142325"/>
          </a:xfrm>
          <a:custGeom>
            <a:avLst/>
            <a:gdLst/>
            <a:ahLst/>
            <a:cxnLst/>
            <a:rect l="l" t="t" r="r" b="b"/>
            <a:pathLst>
              <a:path w="6590" h="5693" extrusionOk="0">
                <a:moveTo>
                  <a:pt x="4383" y="0"/>
                </a:moveTo>
                <a:lnTo>
                  <a:pt x="4142" y="14"/>
                </a:lnTo>
                <a:lnTo>
                  <a:pt x="3914" y="43"/>
                </a:lnTo>
                <a:lnTo>
                  <a:pt x="3686" y="86"/>
                </a:lnTo>
                <a:lnTo>
                  <a:pt x="3459" y="142"/>
                </a:lnTo>
                <a:lnTo>
                  <a:pt x="3245" y="199"/>
                </a:lnTo>
                <a:lnTo>
                  <a:pt x="3032" y="271"/>
                </a:lnTo>
                <a:lnTo>
                  <a:pt x="2818" y="356"/>
                </a:lnTo>
                <a:lnTo>
                  <a:pt x="2619" y="456"/>
                </a:lnTo>
                <a:lnTo>
                  <a:pt x="2420" y="555"/>
                </a:lnTo>
                <a:lnTo>
                  <a:pt x="2221" y="669"/>
                </a:lnTo>
                <a:lnTo>
                  <a:pt x="2036" y="783"/>
                </a:lnTo>
                <a:lnTo>
                  <a:pt x="1851" y="911"/>
                </a:lnTo>
                <a:lnTo>
                  <a:pt x="1680" y="1053"/>
                </a:lnTo>
                <a:lnTo>
                  <a:pt x="1509" y="1195"/>
                </a:lnTo>
                <a:lnTo>
                  <a:pt x="1352" y="1352"/>
                </a:lnTo>
                <a:lnTo>
                  <a:pt x="1196" y="1509"/>
                </a:lnTo>
                <a:lnTo>
                  <a:pt x="1054" y="1679"/>
                </a:lnTo>
                <a:lnTo>
                  <a:pt x="926" y="1850"/>
                </a:lnTo>
                <a:lnTo>
                  <a:pt x="783" y="2035"/>
                </a:lnTo>
                <a:lnTo>
                  <a:pt x="669" y="2220"/>
                </a:lnTo>
                <a:lnTo>
                  <a:pt x="556" y="2405"/>
                </a:lnTo>
                <a:lnTo>
                  <a:pt x="456" y="2604"/>
                </a:lnTo>
                <a:lnTo>
                  <a:pt x="371" y="2818"/>
                </a:lnTo>
                <a:lnTo>
                  <a:pt x="285" y="3017"/>
                </a:lnTo>
                <a:lnTo>
                  <a:pt x="214" y="3230"/>
                </a:lnTo>
                <a:lnTo>
                  <a:pt x="143" y="3458"/>
                </a:lnTo>
                <a:lnTo>
                  <a:pt x="100" y="3671"/>
                </a:lnTo>
                <a:lnTo>
                  <a:pt x="58" y="3899"/>
                </a:lnTo>
                <a:lnTo>
                  <a:pt x="29" y="4141"/>
                </a:lnTo>
                <a:lnTo>
                  <a:pt x="15" y="4369"/>
                </a:lnTo>
                <a:lnTo>
                  <a:pt x="1" y="4611"/>
                </a:lnTo>
                <a:lnTo>
                  <a:pt x="15" y="4881"/>
                </a:lnTo>
                <a:lnTo>
                  <a:pt x="29" y="5151"/>
                </a:lnTo>
                <a:lnTo>
                  <a:pt x="72" y="5422"/>
                </a:lnTo>
                <a:lnTo>
                  <a:pt x="129" y="5692"/>
                </a:lnTo>
                <a:lnTo>
                  <a:pt x="413" y="5649"/>
                </a:lnTo>
                <a:lnTo>
                  <a:pt x="684" y="5607"/>
                </a:lnTo>
                <a:lnTo>
                  <a:pt x="968" y="5550"/>
                </a:lnTo>
                <a:lnTo>
                  <a:pt x="1239" y="5479"/>
                </a:lnTo>
                <a:lnTo>
                  <a:pt x="1509" y="5393"/>
                </a:lnTo>
                <a:lnTo>
                  <a:pt x="1765" y="5308"/>
                </a:lnTo>
                <a:lnTo>
                  <a:pt x="2021" y="5208"/>
                </a:lnTo>
                <a:lnTo>
                  <a:pt x="2277" y="5109"/>
                </a:lnTo>
                <a:lnTo>
                  <a:pt x="2534" y="4995"/>
                </a:lnTo>
                <a:lnTo>
                  <a:pt x="2775" y="4881"/>
                </a:lnTo>
                <a:lnTo>
                  <a:pt x="3017" y="4739"/>
                </a:lnTo>
                <a:lnTo>
                  <a:pt x="3259" y="4611"/>
                </a:lnTo>
                <a:lnTo>
                  <a:pt x="3487" y="4468"/>
                </a:lnTo>
                <a:lnTo>
                  <a:pt x="3700" y="4312"/>
                </a:lnTo>
                <a:lnTo>
                  <a:pt x="3928" y="4141"/>
                </a:lnTo>
                <a:lnTo>
                  <a:pt x="4142" y="3985"/>
                </a:lnTo>
                <a:lnTo>
                  <a:pt x="4341" y="3800"/>
                </a:lnTo>
                <a:lnTo>
                  <a:pt x="4540" y="3615"/>
                </a:lnTo>
                <a:lnTo>
                  <a:pt x="4739" y="3430"/>
                </a:lnTo>
                <a:lnTo>
                  <a:pt x="4924" y="3230"/>
                </a:lnTo>
                <a:lnTo>
                  <a:pt x="5109" y="3031"/>
                </a:lnTo>
                <a:lnTo>
                  <a:pt x="5280" y="2818"/>
                </a:lnTo>
                <a:lnTo>
                  <a:pt x="5451" y="2604"/>
                </a:lnTo>
                <a:lnTo>
                  <a:pt x="5607" y="2391"/>
                </a:lnTo>
                <a:lnTo>
                  <a:pt x="5750" y="2163"/>
                </a:lnTo>
                <a:lnTo>
                  <a:pt x="5906" y="1935"/>
                </a:lnTo>
                <a:lnTo>
                  <a:pt x="6034" y="1694"/>
                </a:lnTo>
                <a:lnTo>
                  <a:pt x="6162" y="1452"/>
                </a:lnTo>
                <a:lnTo>
                  <a:pt x="6276" y="1210"/>
                </a:lnTo>
                <a:lnTo>
                  <a:pt x="6390" y="954"/>
                </a:lnTo>
                <a:lnTo>
                  <a:pt x="6489" y="697"/>
                </a:lnTo>
                <a:lnTo>
                  <a:pt x="6589" y="427"/>
                </a:lnTo>
                <a:lnTo>
                  <a:pt x="6361" y="327"/>
                </a:lnTo>
                <a:lnTo>
                  <a:pt x="6120" y="242"/>
                </a:lnTo>
                <a:lnTo>
                  <a:pt x="5892" y="171"/>
                </a:lnTo>
                <a:lnTo>
                  <a:pt x="5636" y="114"/>
                </a:lnTo>
                <a:lnTo>
                  <a:pt x="5394" y="57"/>
                </a:lnTo>
                <a:lnTo>
                  <a:pt x="5138" y="29"/>
                </a:lnTo>
                <a:lnTo>
                  <a:pt x="4882" y="0"/>
                </a:lnTo>
                <a:close/>
              </a:path>
            </a:pathLst>
          </a:custGeom>
          <a:solidFill>
            <a:srgbClr val="D53F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18"/>
          <p:cNvSpPr/>
          <p:nvPr/>
        </p:nvSpPr>
        <p:spPr>
          <a:xfrm>
            <a:off x="1796338" y="3501400"/>
            <a:ext cx="164750" cy="142325"/>
          </a:xfrm>
          <a:custGeom>
            <a:avLst/>
            <a:gdLst/>
            <a:ahLst/>
            <a:cxnLst/>
            <a:rect l="l" t="t" r="r" b="b"/>
            <a:pathLst>
              <a:path w="6590" h="5693" fill="none" extrusionOk="0">
                <a:moveTo>
                  <a:pt x="4611" y="0"/>
                </a:moveTo>
                <a:lnTo>
                  <a:pt x="4611" y="0"/>
                </a:lnTo>
                <a:lnTo>
                  <a:pt x="4383" y="0"/>
                </a:lnTo>
                <a:lnTo>
                  <a:pt x="4142" y="14"/>
                </a:lnTo>
                <a:lnTo>
                  <a:pt x="3914" y="43"/>
                </a:lnTo>
                <a:lnTo>
                  <a:pt x="3686" y="86"/>
                </a:lnTo>
                <a:lnTo>
                  <a:pt x="3459" y="142"/>
                </a:lnTo>
                <a:lnTo>
                  <a:pt x="3245" y="199"/>
                </a:lnTo>
                <a:lnTo>
                  <a:pt x="3032" y="271"/>
                </a:lnTo>
                <a:lnTo>
                  <a:pt x="2818" y="356"/>
                </a:lnTo>
                <a:lnTo>
                  <a:pt x="2619" y="456"/>
                </a:lnTo>
                <a:lnTo>
                  <a:pt x="2420" y="555"/>
                </a:lnTo>
                <a:lnTo>
                  <a:pt x="2221" y="669"/>
                </a:lnTo>
                <a:lnTo>
                  <a:pt x="2036" y="783"/>
                </a:lnTo>
                <a:lnTo>
                  <a:pt x="1851" y="911"/>
                </a:lnTo>
                <a:lnTo>
                  <a:pt x="1680" y="1053"/>
                </a:lnTo>
                <a:lnTo>
                  <a:pt x="1509" y="1195"/>
                </a:lnTo>
                <a:lnTo>
                  <a:pt x="1352" y="1352"/>
                </a:lnTo>
                <a:lnTo>
                  <a:pt x="1196" y="1509"/>
                </a:lnTo>
                <a:lnTo>
                  <a:pt x="1054" y="1679"/>
                </a:lnTo>
                <a:lnTo>
                  <a:pt x="926" y="1850"/>
                </a:lnTo>
                <a:lnTo>
                  <a:pt x="783" y="2035"/>
                </a:lnTo>
                <a:lnTo>
                  <a:pt x="669" y="2220"/>
                </a:lnTo>
                <a:lnTo>
                  <a:pt x="556" y="2405"/>
                </a:lnTo>
                <a:lnTo>
                  <a:pt x="456" y="2604"/>
                </a:lnTo>
                <a:lnTo>
                  <a:pt x="371" y="2818"/>
                </a:lnTo>
                <a:lnTo>
                  <a:pt x="285" y="3017"/>
                </a:lnTo>
                <a:lnTo>
                  <a:pt x="214" y="3230"/>
                </a:lnTo>
                <a:lnTo>
                  <a:pt x="143" y="3458"/>
                </a:lnTo>
                <a:lnTo>
                  <a:pt x="100" y="3671"/>
                </a:lnTo>
                <a:lnTo>
                  <a:pt x="58" y="3899"/>
                </a:lnTo>
                <a:lnTo>
                  <a:pt x="29" y="4141"/>
                </a:lnTo>
                <a:lnTo>
                  <a:pt x="15" y="4369"/>
                </a:lnTo>
                <a:lnTo>
                  <a:pt x="1" y="4611"/>
                </a:lnTo>
                <a:lnTo>
                  <a:pt x="1" y="4611"/>
                </a:lnTo>
                <a:lnTo>
                  <a:pt x="15" y="4881"/>
                </a:lnTo>
                <a:lnTo>
                  <a:pt x="29" y="5151"/>
                </a:lnTo>
                <a:lnTo>
                  <a:pt x="72" y="5422"/>
                </a:lnTo>
                <a:lnTo>
                  <a:pt x="129" y="5692"/>
                </a:lnTo>
                <a:lnTo>
                  <a:pt x="129" y="5692"/>
                </a:lnTo>
                <a:lnTo>
                  <a:pt x="413" y="5649"/>
                </a:lnTo>
                <a:lnTo>
                  <a:pt x="684" y="5607"/>
                </a:lnTo>
                <a:lnTo>
                  <a:pt x="968" y="5550"/>
                </a:lnTo>
                <a:lnTo>
                  <a:pt x="1239" y="5479"/>
                </a:lnTo>
                <a:lnTo>
                  <a:pt x="1509" y="5393"/>
                </a:lnTo>
                <a:lnTo>
                  <a:pt x="1765" y="5308"/>
                </a:lnTo>
                <a:lnTo>
                  <a:pt x="2021" y="5208"/>
                </a:lnTo>
                <a:lnTo>
                  <a:pt x="2277" y="5109"/>
                </a:lnTo>
                <a:lnTo>
                  <a:pt x="2534" y="4995"/>
                </a:lnTo>
                <a:lnTo>
                  <a:pt x="2775" y="4881"/>
                </a:lnTo>
                <a:lnTo>
                  <a:pt x="3017" y="4739"/>
                </a:lnTo>
                <a:lnTo>
                  <a:pt x="3259" y="4611"/>
                </a:lnTo>
                <a:lnTo>
                  <a:pt x="3487" y="4468"/>
                </a:lnTo>
                <a:lnTo>
                  <a:pt x="3700" y="4312"/>
                </a:lnTo>
                <a:lnTo>
                  <a:pt x="3928" y="4141"/>
                </a:lnTo>
                <a:lnTo>
                  <a:pt x="4142" y="3985"/>
                </a:lnTo>
                <a:lnTo>
                  <a:pt x="4341" y="3800"/>
                </a:lnTo>
                <a:lnTo>
                  <a:pt x="4540" y="3615"/>
                </a:lnTo>
                <a:lnTo>
                  <a:pt x="4739" y="3430"/>
                </a:lnTo>
                <a:lnTo>
                  <a:pt x="4924" y="3230"/>
                </a:lnTo>
                <a:lnTo>
                  <a:pt x="5109" y="3031"/>
                </a:lnTo>
                <a:lnTo>
                  <a:pt x="5280" y="2818"/>
                </a:lnTo>
                <a:lnTo>
                  <a:pt x="5451" y="2604"/>
                </a:lnTo>
                <a:lnTo>
                  <a:pt x="5607" y="2391"/>
                </a:lnTo>
                <a:lnTo>
                  <a:pt x="5750" y="2163"/>
                </a:lnTo>
                <a:lnTo>
                  <a:pt x="5906" y="1935"/>
                </a:lnTo>
                <a:lnTo>
                  <a:pt x="6034" y="1694"/>
                </a:lnTo>
                <a:lnTo>
                  <a:pt x="6162" y="1452"/>
                </a:lnTo>
                <a:lnTo>
                  <a:pt x="6276" y="1210"/>
                </a:lnTo>
                <a:lnTo>
                  <a:pt x="6390" y="954"/>
                </a:lnTo>
                <a:lnTo>
                  <a:pt x="6489" y="697"/>
                </a:lnTo>
                <a:lnTo>
                  <a:pt x="6589" y="427"/>
                </a:lnTo>
                <a:lnTo>
                  <a:pt x="6589" y="427"/>
                </a:lnTo>
                <a:lnTo>
                  <a:pt x="6361" y="327"/>
                </a:lnTo>
                <a:lnTo>
                  <a:pt x="6120" y="242"/>
                </a:lnTo>
                <a:lnTo>
                  <a:pt x="5892" y="171"/>
                </a:lnTo>
                <a:lnTo>
                  <a:pt x="5636" y="114"/>
                </a:lnTo>
                <a:lnTo>
                  <a:pt x="5394" y="57"/>
                </a:lnTo>
                <a:lnTo>
                  <a:pt x="5138" y="29"/>
                </a:lnTo>
                <a:lnTo>
                  <a:pt x="4882" y="0"/>
                </a:lnTo>
                <a:lnTo>
                  <a:pt x="4611" y="0"/>
                </a:lnTo>
              </a:path>
            </a:pathLst>
          </a:cu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18"/>
          <p:cNvSpPr/>
          <p:nvPr/>
        </p:nvSpPr>
        <p:spPr>
          <a:xfrm>
            <a:off x="1914525" y="1385900"/>
            <a:ext cx="2290775" cy="2252650"/>
          </a:xfrm>
          <a:custGeom>
            <a:avLst/>
            <a:gdLst/>
            <a:ahLst/>
            <a:cxnLst/>
            <a:rect l="l" t="t" r="r" b="b"/>
            <a:pathLst>
              <a:path w="91631" h="90106" extrusionOk="0">
                <a:moveTo>
                  <a:pt x="0" y="90106"/>
                </a:moveTo>
                <a:lnTo>
                  <a:pt x="84773" y="0"/>
                </a:lnTo>
                <a:lnTo>
                  <a:pt x="91631" y="16192"/>
                </a:lnTo>
                <a:close/>
              </a:path>
            </a:pathLst>
          </a:custGeom>
          <a:solidFill>
            <a:srgbClr val="666666">
              <a:alpha val="12549"/>
            </a:srgbClr>
          </a:solidFill>
          <a:ln>
            <a:noFill/>
          </a:ln>
        </p:spPr>
      </p:sp>
      <p:grpSp>
        <p:nvGrpSpPr>
          <p:cNvPr id="418" name="Google Shape;418;p18"/>
          <p:cNvGrpSpPr/>
          <p:nvPr/>
        </p:nvGrpSpPr>
        <p:grpSpPr>
          <a:xfrm>
            <a:off x="3961063" y="1231575"/>
            <a:ext cx="4725888" cy="650100"/>
            <a:chOff x="3961063" y="1231575"/>
            <a:chExt cx="4725888" cy="650100"/>
          </a:xfrm>
        </p:grpSpPr>
        <p:sp>
          <p:nvSpPr>
            <p:cNvPr id="419" name="Google Shape;419;p18"/>
            <p:cNvSpPr/>
            <p:nvPr/>
          </p:nvSpPr>
          <p:spPr>
            <a:xfrm>
              <a:off x="5010150" y="1231575"/>
              <a:ext cx="3676800" cy="650100"/>
            </a:xfrm>
            <a:prstGeom prst="roundRect">
              <a:avLst>
                <a:gd name="adj" fmla="val 50000"/>
              </a:avLst>
            </a:prstGeom>
            <a:solidFill>
              <a:srgbClr val="E99B27">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18"/>
            <p:cNvSpPr/>
            <p:nvPr/>
          </p:nvSpPr>
          <p:spPr>
            <a:xfrm>
              <a:off x="3961063" y="1324425"/>
              <a:ext cx="2130000" cy="464400"/>
            </a:xfrm>
            <a:prstGeom prst="roundRect">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1" name="Google Shape;421;p18"/>
          <p:cNvGrpSpPr/>
          <p:nvPr/>
        </p:nvGrpSpPr>
        <p:grpSpPr>
          <a:xfrm>
            <a:off x="4122280" y="1390725"/>
            <a:ext cx="4564520" cy="331813"/>
            <a:chOff x="4122280" y="1390725"/>
            <a:chExt cx="4564520" cy="331813"/>
          </a:xfrm>
        </p:grpSpPr>
        <p:sp>
          <p:nvSpPr>
            <p:cNvPr id="422" name="Google Shape;422;p18"/>
            <p:cNvSpPr txBox="1"/>
            <p:nvPr/>
          </p:nvSpPr>
          <p:spPr>
            <a:xfrm>
              <a:off x="6091064" y="1390738"/>
              <a:ext cx="2595736"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en-US" sz="1500" b="1">
                  <a:latin typeface="Tahoma" panose="020B0604030504040204" pitchFamily="34" charset="0"/>
                  <a:ea typeface="Tahoma" panose="020B0604030504040204" pitchFamily="34" charset="0"/>
                  <a:cs typeface="Tahoma" panose="020B0604030504040204" pitchFamily="34" charset="0"/>
                </a:rPr>
                <a:t>Cuộc tấn công brute-force tại Đông Nam Á</a:t>
              </a:r>
              <a:endParaRPr sz="1500" b="1">
                <a:latin typeface="Tahoma" panose="020B0604030504040204" pitchFamily="34" charset="0"/>
                <a:ea typeface="Tahoma" panose="020B0604030504040204" pitchFamily="34" charset="0"/>
                <a:cs typeface="Tahoma" panose="020B0604030504040204" pitchFamily="34" charset="0"/>
                <a:sym typeface="Roboto"/>
              </a:endParaRPr>
            </a:p>
          </p:txBody>
        </p:sp>
        <p:sp>
          <p:nvSpPr>
            <p:cNvPr id="423" name="Google Shape;423;p18"/>
            <p:cNvSpPr txBox="1"/>
            <p:nvPr/>
          </p:nvSpPr>
          <p:spPr>
            <a:xfrm>
              <a:off x="4122280" y="1390725"/>
              <a:ext cx="17823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23 triệu</a:t>
              </a:r>
              <a:endParaRPr sz="18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endParaRPr>
            </a:p>
          </p:txBody>
        </p:sp>
      </p:grpSp>
      <p:sp>
        <p:nvSpPr>
          <p:cNvPr id="424" name="Google Shape;424;p18"/>
          <p:cNvSpPr/>
          <p:nvPr/>
        </p:nvSpPr>
        <p:spPr>
          <a:xfrm>
            <a:off x="1924050" y="2362200"/>
            <a:ext cx="2240750" cy="1266825"/>
          </a:xfrm>
          <a:custGeom>
            <a:avLst/>
            <a:gdLst/>
            <a:ahLst/>
            <a:cxnLst/>
            <a:rect l="l" t="t" r="r" b="b"/>
            <a:pathLst>
              <a:path w="89630" h="50673" extrusionOk="0">
                <a:moveTo>
                  <a:pt x="0" y="50673"/>
                </a:moveTo>
                <a:lnTo>
                  <a:pt x="85820" y="0"/>
                </a:lnTo>
                <a:lnTo>
                  <a:pt x="89630" y="17145"/>
                </a:lnTo>
                <a:close/>
              </a:path>
            </a:pathLst>
          </a:custGeom>
          <a:solidFill>
            <a:srgbClr val="666666">
              <a:alpha val="12549"/>
            </a:srgbClr>
          </a:solidFill>
          <a:ln>
            <a:noFill/>
          </a:ln>
        </p:spPr>
      </p:sp>
      <p:sp>
        <p:nvSpPr>
          <p:cNvPr id="425" name="Google Shape;425;p18"/>
          <p:cNvSpPr/>
          <p:nvPr/>
        </p:nvSpPr>
        <p:spPr>
          <a:xfrm>
            <a:off x="1952625" y="3333750"/>
            <a:ext cx="2224100" cy="461975"/>
          </a:xfrm>
          <a:custGeom>
            <a:avLst/>
            <a:gdLst/>
            <a:ahLst/>
            <a:cxnLst/>
            <a:rect l="l" t="t" r="r" b="b"/>
            <a:pathLst>
              <a:path w="88964" h="18479" extrusionOk="0">
                <a:moveTo>
                  <a:pt x="0" y="11430"/>
                </a:moveTo>
                <a:lnTo>
                  <a:pt x="88964" y="0"/>
                </a:lnTo>
                <a:lnTo>
                  <a:pt x="88964" y="18479"/>
                </a:lnTo>
                <a:close/>
              </a:path>
            </a:pathLst>
          </a:custGeom>
          <a:solidFill>
            <a:srgbClr val="666666">
              <a:alpha val="12549"/>
            </a:srgbClr>
          </a:solidFill>
          <a:ln>
            <a:noFill/>
          </a:ln>
        </p:spPr>
      </p:sp>
      <p:grpSp>
        <p:nvGrpSpPr>
          <p:cNvPr id="426" name="Google Shape;426;p18"/>
          <p:cNvGrpSpPr/>
          <p:nvPr/>
        </p:nvGrpSpPr>
        <p:grpSpPr>
          <a:xfrm>
            <a:off x="3961063" y="3237875"/>
            <a:ext cx="4725888" cy="650100"/>
            <a:chOff x="3961063" y="3237875"/>
            <a:chExt cx="4725888" cy="650100"/>
          </a:xfrm>
        </p:grpSpPr>
        <p:sp>
          <p:nvSpPr>
            <p:cNvPr id="427" name="Google Shape;427;p18"/>
            <p:cNvSpPr/>
            <p:nvPr/>
          </p:nvSpPr>
          <p:spPr>
            <a:xfrm>
              <a:off x="5010150" y="3237875"/>
              <a:ext cx="3676800" cy="650100"/>
            </a:xfrm>
            <a:prstGeom prst="roundRect">
              <a:avLst>
                <a:gd name="adj" fmla="val 50000"/>
              </a:avLst>
            </a:prstGeom>
            <a:solidFill>
              <a:srgbClr val="8027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18"/>
            <p:cNvSpPr/>
            <p:nvPr/>
          </p:nvSpPr>
          <p:spPr>
            <a:xfrm>
              <a:off x="3961063" y="3330725"/>
              <a:ext cx="2130000" cy="464400"/>
            </a:xfrm>
            <a:prstGeom prst="roundRect">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9" name="Google Shape;429;p18"/>
          <p:cNvGrpSpPr/>
          <p:nvPr/>
        </p:nvGrpSpPr>
        <p:grpSpPr>
          <a:xfrm>
            <a:off x="4027548" y="3397024"/>
            <a:ext cx="4506875" cy="331801"/>
            <a:chOff x="4027548" y="3397024"/>
            <a:chExt cx="4506875" cy="331801"/>
          </a:xfrm>
        </p:grpSpPr>
        <p:sp>
          <p:nvSpPr>
            <p:cNvPr id="430" name="Google Shape;430;p18"/>
            <p:cNvSpPr txBox="1"/>
            <p:nvPr/>
          </p:nvSpPr>
          <p:spPr>
            <a:xfrm>
              <a:off x="6104317" y="3397024"/>
              <a:ext cx="2430106"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en-US" b="1">
                  <a:latin typeface="Tahoma" panose="020B0604030504040204" pitchFamily="34" charset="0"/>
                  <a:ea typeface="Tahoma" panose="020B0604030504040204" pitchFamily="34" charset="0"/>
                  <a:cs typeface="Tahoma" panose="020B0604030504040204" pitchFamily="34" charset="0"/>
                  <a:sym typeface="Roboto"/>
                </a:rPr>
                <a:t>Gồm rò rỉ dữ liệu, gián đoạn hoạt động và thiệt hại tài chính lớn.</a:t>
              </a:r>
              <a:endParaRPr b="1">
                <a:latin typeface="Tahoma" panose="020B0604030504040204" pitchFamily="34" charset="0"/>
                <a:ea typeface="Tahoma" panose="020B0604030504040204" pitchFamily="34" charset="0"/>
                <a:cs typeface="Tahoma" panose="020B0604030504040204" pitchFamily="34" charset="0"/>
                <a:sym typeface="Roboto"/>
              </a:endParaRPr>
            </a:p>
          </p:txBody>
        </p:sp>
        <p:sp>
          <p:nvSpPr>
            <p:cNvPr id="431" name="Google Shape;431;p18"/>
            <p:cNvSpPr txBox="1"/>
            <p:nvPr/>
          </p:nvSpPr>
          <p:spPr>
            <a:xfrm>
              <a:off x="4027548" y="3397025"/>
              <a:ext cx="2010284"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Hậu quả </a:t>
              </a:r>
            </a:p>
            <a:p>
              <a:pPr marL="0" lvl="0" indent="0" algn="ctr" rtl="0">
                <a:spcBef>
                  <a:spcPts val="0"/>
                </a:spcBef>
                <a:spcAft>
                  <a:spcPts val="0"/>
                </a:spcAft>
                <a:buNone/>
              </a:pPr>
              <a:r>
                <a:rPr lang="en-US"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nghiêm trọng</a:t>
              </a:r>
              <a:endParaRPr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endParaRPr>
            </a:p>
          </p:txBody>
        </p:sp>
      </p:grpSp>
      <p:grpSp>
        <p:nvGrpSpPr>
          <p:cNvPr id="432" name="Google Shape;432;p18"/>
          <p:cNvGrpSpPr/>
          <p:nvPr/>
        </p:nvGrpSpPr>
        <p:grpSpPr>
          <a:xfrm>
            <a:off x="3961063" y="2234725"/>
            <a:ext cx="4725888" cy="650100"/>
            <a:chOff x="3961063" y="2234725"/>
            <a:chExt cx="4725888" cy="650100"/>
          </a:xfrm>
        </p:grpSpPr>
        <p:sp>
          <p:nvSpPr>
            <p:cNvPr id="433" name="Google Shape;433;p18"/>
            <p:cNvSpPr/>
            <p:nvPr/>
          </p:nvSpPr>
          <p:spPr>
            <a:xfrm>
              <a:off x="5010150" y="2234725"/>
              <a:ext cx="3676800" cy="650100"/>
            </a:xfrm>
            <a:prstGeom prst="roundRect">
              <a:avLst>
                <a:gd name="adj" fmla="val 50000"/>
              </a:avLst>
            </a:prstGeom>
            <a:solidFill>
              <a:srgbClr val="EA4827">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18"/>
            <p:cNvSpPr/>
            <p:nvPr/>
          </p:nvSpPr>
          <p:spPr>
            <a:xfrm>
              <a:off x="3961063" y="2327575"/>
              <a:ext cx="2130000" cy="464400"/>
            </a:xfrm>
            <a:prstGeom prst="roundRect">
              <a:avLst>
                <a:gd name="adj" fmla="val 50000"/>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35" name="Google Shape;435;p18"/>
          <p:cNvGrpSpPr/>
          <p:nvPr/>
        </p:nvGrpSpPr>
        <p:grpSpPr>
          <a:xfrm>
            <a:off x="3961064" y="2393875"/>
            <a:ext cx="4725735" cy="331806"/>
            <a:chOff x="3961064" y="2393875"/>
            <a:chExt cx="4725735" cy="331806"/>
          </a:xfrm>
        </p:grpSpPr>
        <p:sp>
          <p:nvSpPr>
            <p:cNvPr id="436" name="Google Shape;436;p18"/>
            <p:cNvSpPr txBox="1"/>
            <p:nvPr/>
          </p:nvSpPr>
          <p:spPr>
            <a:xfrm>
              <a:off x="6091062" y="2393881"/>
              <a:ext cx="2595737"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en-US" b="1">
                  <a:latin typeface="Tahoma" panose="020B0604030504040204" pitchFamily="34" charset="0"/>
                  <a:ea typeface="Tahoma" panose="020B0604030504040204" pitchFamily="34" charset="0"/>
                  <a:cs typeface="Tahoma" panose="020B0604030504040204" pitchFamily="34" charset="0"/>
                  <a:sym typeface="Roboto"/>
                </a:rPr>
                <a:t>Tạo điều kiện cho tội phạm mạng truy cập thông tin nhạy cảm.</a:t>
              </a:r>
              <a:endParaRPr b="1">
                <a:latin typeface="Tahoma" panose="020B0604030504040204" pitchFamily="34" charset="0"/>
                <a:ea typeface="Tahoma" panose="020B0604030504040204" pitchFamily="34" charset="0"/>
                <a:cs typeface="Tahoma" panose="020B0604030504040204" pitchFamily="34" charset="0"/>
                <a:sym typeface="Roboto"/>
              </a:endParaRPr>
            </a:p>
          </p:txBody>
        </p:sp>
        <p:sp>
          <p:nvSpPr>
            <p:cNvPr id="437" name="Google Shape;437;p18"/>
            <p:cNvSpPr txBox="1"/>
            <p:nvPr/>
          </p:nvSpPr>
          <p:spPr>
            <a:xfrm>
              <a:off x="3961064" y="2393875"/>
              <a:ext cx="2076768"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8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mật khẩu yếu</a:t>
              </a:r>
              <a:endParaRPr sz="18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endParaRPr>
            </a:p>
          </p:txBody>
        </p:sp>
      </p:grpSp>
      <p:sp>
        <p:nvSpPr>
          <p:cNvPr id="438" name="Google Shape;438;p18"/>
          <p:cNvSpPr/>
          <p:nvPr/>
        </p:nvSpPr>
        <p:spPr>
          <a:xfrm>
            <a:off x="1947875" y="3619500"/>
            <a:ext cx="2233600" cy="1171575"/>
          </a:xfrm>
          <a:custGeom>
            <a:avLst/>
            <a:gdLst/>
            <a:ahLst/>
            <a:cxnLst/>
            <a:rect l="l" t="t" r="r" b="b"/>
            <a:pathLst>
              <a:path w="89344" h="46863" extrusionOk="0">
                <a:moveTo>
                  <a:pt x="0" y="0"/>
                </a:moveTo>
                <a:lnTo>
                  <a:pt x="89344" y="28956"/>
                </a:lnTo>
                <a:lnTo>
                  <a:pt x="87249" y="46863"/>
                </a:lnTo>
                <a:close/>
              </a:path>
            </a:pathLst>
          </a:custGeom>
          <a:solidFill>
            <a:srgbClr val="666666">
              <a:alpha val="12549"/>
            </a:srgbClr>
          </a:solidFill>
          <a:ln>
            <a:noFill/>
          </a:ln>
        </p:spPr>
      </p:sp>
      <p:grpSp>
        <p:nvGrpSpPr>
          <p:cNvPr id="439" name="Google Shape;439;p18"/>
          <p:cNvGrpSpPr/>
          <p:nvPr/>
        </p:nvGrpSpPr>
        <p:grpSpPr>
          <a:xfrm>
            <a:off x="3961063" y="4241025"/>
            <a:ext cx="4725888" cy="650100"/>
            <a:chOff x="3961063" y="4241025"/>
            <a:chExt cx="4725888" cy="650100"/>
          </a:xfrm>
        </p:grpSpPr>
        <p:sp>
          <p:nvSpPr>
            <p:cNvPr id="440" name="Google Shape;440;p18"/>
            <p:cNvSpPr/>
            <p:nvPr/>
          </p:nvSpPr>
          <p:spPr>
            <a:xfrm>
              <a:off x="5010150" y="4241025"/>
              <a:ext cx="3676800" cy="650100"/>
            </a:xfrm>
            <a:prstGeom prst="roundRect">
              <a:avLst>
                <a:gd name="adj" fmla="val 50000"/>
              </a:avLst>
            </a:prstGeom>
            <a:solidFill>
              <a:srgbClr val="2776EA">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18"/>
            <p:cNvSpPr/>
            <p:nvPr/>
          </p:nvSpPr>
          <p:spPr>
            <a:xfrm>
              <a:off x="3961063" y="4333875"/>
              <a:ext cx="2130000" cy="464400"/>
            </a:xfrm>
            <a:prstGeom prst="roundRect">
              <a:avLst>
                <a:gd name="adj" fmla="val 50000"/>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2" name="Google Shape;442;p18"/>
          <p:cNvGrpSpPr/>
          <p:nvPr/>
        </p:nvGrpSpPr>
        <p:grpSpPr>
          <a:xfrm>
            <a:off x="4122280" y="4400167"/>
            <a:ext cx="4412143" cy="331808"/>
            <a:chOff x="4122280" y="4400167"/>
            <a:chExt cx="4412143" cy="331808"/>
          </a:xfrm>
        </p:grpSpPr>
        <p:sp>
          <p:nvSpPr>
            <p:cNvPr id="443" name="Google Shape;443;p18"/>
            <p:cNvSpPr txBox="1"/>
            <p:nvPr/>
          </p:nvSpPr>
          <p:spPr>
            <a:xfrm>
              <a:off x="6037832" y="4400167"/>
              <a:ext cx="2496591"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en-US" b="1">
                  <a:latin typeface="Roboto"/>
                  <a:ea typeface="Roboto"/>
                  <a:cs typeface="Roboto"/>
                  <a:sym typeface="Roboto"/>
                </a:rPr>
                <a:t>Sử dụng mật khẩu mạnh, bật xác thực hai yếu tố và giám sát hoạt động mạng</a:t>
              </a:r>
              <a:endParaRPr b="1">
                <a:latin typeface="Roboto"/>
                <a:ea typeface="Roboto"/>
                <a:cs typeface="Roboto"/>
                <a:sym typeface="Roboto"/>
              </a:endParaRPr>
            </a:p>
          </p:txBody>
        </p:sp>
        <p:sp>
          <p:nvSpPr>
            <p:cNvPr id="444" name="Google Shape;444;p18"/>
            <p:cNvSpPr txBox="1"/>
            <p:nvPr/>
          </p:nvSpPr>
          <p:spPr>
            <a:xfrm>
              <a:off x="4122280" y="4400175"/>
              <a:ext cx="1782300" cy="3318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Khuyến nghị </a:t>
              </a:r>
            </a:p>
            <a:p>
              <a:pPr marL="0" lvl="0" indent="0" algn="ctr" rtl="0">
                <a:spcBef>
                  <a:spcPts val="0"/>
                </a:spcBef>
                <a:spcAft>
                  <a:spcPts val="0"/>
                </a:spcAft>
                <a:buNone/>
              </a:pPr>
              <a:r>
                <a:rPr lang="en"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rPr>
                <a:t>bảo mật</a:t>
              </a:r>
              <a:endParaRPr sz="1700" b="1">
                <a:solidFill>
                  <a:schemeClr val="lt1"/>
                </a:solidFill>
                <a:latin typeface="Tahoma" panose="020B0604030504040204" pitchFamily="34" charset="0"/>
                <a:ea typeface="Tahoma" panose="020B0604030504040204" pitchFamily="34" charset="0"/>
                <a:cs typeface="Tahoma" panose="020B0604030504040204" pitchFamily="34" charset="0"/>
                <a:sym typeface="Fira Sans Extra Condensed"/>
              </a:endParaRPr>
            </a:p>
          </p:txBody>
        </p:sp>
      </p:grpSp>
      <p:sp>
        <p:nvSpPr>
          <p:cNvPr id="445" name="Google Shape;445;p18"/>
          <p:cNvSpPr/>
          <p:nvPr/>
        </p:nvSpPr>
        <p:spPr>
          <a:xfrm>
            <a:off x="1796350" y="3501225"/>
            <a:ext cx="231000" cy="2310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31"/>
        <p:cNvGrpSpPr/>
        <p:nvPr/>
      </p:nvGrpSpPr>
      <p:grpSpPr>
        <a:xfrm>
          <a:off x="0" y="0"/>
          <a:ext cx="0" cy="0"/>
          <a:chOff x="0" y="0"/>
          <a:chExt cx="0" cy="0"/>
        </a:xfrm>
      </p:grpSpPr>
      <p:sp>
        <p:nvSpPr>
          <p:cNvPr id="26" name="Rectangle 45">
            <a:extLst>
              <a:ext uri="{FF2B5EF4-FFF2-40B4-BE49-F238E27FC236}">
                <a16:creationId xmlns:a16="http://schemas.microsoft.com/office/drawing/2014/main" id="{E1F3E750-7FFD-4892-8413-3129CD12F81A}"/>
              </a:ext>
            </a:extLst>
          </p:cNvPr>
          <p:cNvSpPr>
            <a:spLocks noChangeArrowheads="1"/>
          </p:cNvSpPr>
          <p:nvPr/>
        </p:nvSpPr>
        <p:spPr bwMode="gray">
          <a:xfrm>
            <a:off x="0" y="18732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27" name="Google Shape;412;p18">
            <a:extLst>
              <a:ext uri="{FF2B5EF4-FFF2-40B4-BE49-F238E27FC236}">
                <a16:creationId xmlns:a16="http://schemas.microsoft.com/office/drawing/2014/main" id="{BB9813B1-CCAC-473E-A81F-CDA9CC62B903}"/>
              </a:ext>
            </a:extLst>
          </p:cNvPr>
          <p:cNvSpPr txBox="1">
            <a:spLocks/>
          </p:cNvSpPr>
          <p:nvPr/>
        </p:nvSpPr>
        <p:spPr>
          <a:xfrm>
            <a:off x="457200" y="31623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TẤN CÔNG BRUTE-FORCE</a:t>
            </a:r>
          </a:p>
        </p:txBody>
      </p:sp>
      <p:pic>
        <p:nvPicPr>
          <p:cNvPr id="5" name="Picture 4">
            <a:extLst>
              <a:ext uri="{FF2B5EF4-FFF2-40B4-BE49-F238E27FC236}">
                <a16:creationId xmlns:a16="http://schemas.microsoft.com/office/drawing/2014/main" id="{4584FCEF-9D77-456C-80A3-C61F37FC3C99}"/>
              </a:ext>
            </a:extLst>
          </p:cNvPr>
          <p:cNvPicPr>
            <a:picLocks noChangeAspect="1"/>
          </p:cNvPicPr>
          <p:nvPr/>
        </p:nvPicPr>
        <p:blipFill>
          <a:blip r:embed="rId3"/>
          <a:stretch>
            <a:fillRect/>
          </a:stretch>
        </p:blipFill>
        <p:spPr>
          <a:xfrm>
            <a:off x="190376" y="2568353"/>
            <a:ext cx="1771897" cy="1419423"/>
          </a:xfrm>
          <a:prstGeom prst="rect">
            <a:avLst/>
          </a:prstGeom>
        </p:spPr>
      </p:pic>
      <p:pic>
        <p:nvPicPr>
          <p:cNvPr id="7" name="Picture 6">
            <a:extLst>
              <a:ext uri="{FF2B5EF4-FFF2-40B4-BE49-F238E27FC236}">
                <a16:creationId xmlns:a16="http://schemas.microsoft.com/office/drawing/2014/main" id="{09E81635-12C8-4593-99AF-0C37C181AE4C}"/>
              </a:ext>
            </a:extLst>
          </p:cNvPr>
          <p:cNvPicPr>
            <a:picLocks noChangeAspect="1"/>
          </p:cNvPicPr>
          <p:nvPr/>
        </p:nvPicPr>
        <p:blipFill>
          <a:blip r:embed="rId4"/>
          <a:stretch>
            <a:fillRect/>
          </a:stretch>
        </p:blipFill>
        <p:spPr>
          <a:xfrm>
            <a:off x="3971475" y="2749353"/>
            <a:ext cx="1562318" cy="1238423"/>
          </a:xfrm>
          <a:prstGeom prst="rect">
            <a:avLst/>
          </a:prstGeom>
        </p:spPr>
      </p:pic>
      <p:pic>
        <p:nvPicPr>
          <p:cNvPr id="9" name="Picture 8">
            <a:extLst>
              <a:ext uri="{FF2B5EF4-FFF2-40B4-BE49-F238E27FC236}">
                <a16:creationId xmlns:a16="http://schemas.microsoft.com/office/drawing/2014/main" id="{EF0BDDD9-5869-4D20-B90E-40DAC52334DF}"/>
              </a:ext>
            </a:extLst>
          </p:cNvPr>
          <p:cNvPicPr>
            <a:picLocks noChangeAspect="1"/>
          </p:cNvPicPr>
          <p:nvPr/>
        </p:nvPicPr>
        <p:blipFill rotWithShape="1">
          <a:blip r:embed="rId5"/>
          <a:srcRect r="9799" b="6179"/>
          <a:stretch/>
        </p:blipFill>
        <p:spPr>
          <a:xfrm>
            <a:off x="7172325" y="2696958"/>
            <a:ext cx="1666875" cy="1343212"/>
          </a:xfrm>
          <a:prstGeom prst="rect">
            <a:avLst/>
          </a:prstGeom>
        </p:spPr>
      </p:pic>
      <p:sp>
        <p:nvSpPr>
          <p:cNvPr id="10" name="Arrow: Right 9">
            <a:extLst>
              <a:ext uri="{FF2B5EF4-FFF2-40B4-BE49-F238E27FC236}">
                <a16:creationId xmlns:a16="http://schemas.microsoft.com/office/drawing/2014/main" id="{08514E0A-0353-463D-9D1E-A3F05D4F157B}"/>
              </a:ext>
            </a:extLst>
          </p:cNvPr>
          <p:cNvSpPr/>
          <p:nvPr/>
        </p:nvSpPr>
        <p:spPr>
          <a:xfrm>
            <a:off x="2332943" y="2916139"/>
            <a:ext cx="1143000" cy="84772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Right 36">
            <a:extLst>
              <a:ext uri="{FF2B5EF4-FFF2-40B4-BE49-F238E27FC236}">
                <a16:creationId xmlns:a16="http://schemas.microsoft.com/office/drawing/2014/main" id="{5C46A289-502A-4ED2-87DC-508F2A43FF35}"/>
              </a:ext>
            </a:extLst>
          </p:cNvPr>
          <p:cNvSpPr/>
          <p:nvPr/>
        </p:nvSpPr>
        <p:spPr>
          <a:xfrm>
            <a:off x="5914343" y="2944701"/>
            <a:ext cx="1143000" cy="84772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118">
            <a:extLst>
              <a:ext uri="{FF2B5EF4-FFF2-40B4-BE49-F238E27FC236}">
                <a16:creationId xmlns:a16="http://schemas.microsoft.com/office/drawing/2014/main" id="{3E52DF03-E956-4CCF-965E-CFFE7BC29726}"/>
              </a:ext>
            </a:extLst>
          </p:cNvPr>
          <p:cNvSpPr/>
          <p:nvPr/>
        </p:nvSpPr>
        <p:spPr>
          <a:xfrm>
            <a:off x="390525" y="1282717"/>
            <a:ext cx="8362950" cy="847725"/>
          </a:xfrm>
          <a:prstGeom prst="roundRect">
            <a:avLst>
              <a:gd name="adj" fmla="val 50000"/>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Tahoma" panose="020B0604030504040204" pitchFamily="34" charset="0"/>
                <a:ea typeface="Tahoma" panose="020B0604030504040204" pitchFamily="34" charset="0"/>
                <a:cs typeface="Tahoma" panose="020B0604030504040204" pitchFamily="34" charset="0"/>
              </a:rPr>
              <a:t>Tấn công brute-force là cuộc tấn công </a:t>
            </a:r>
            <a:r>
              <a:rPr lang="vi-VN" b="1">
                <a:solidFill>
                  <a:schemeClr val="tx1"/>
                </a:solidFill>
                <a:latin typeface="Tahoma" panose="020B0604030504040204" pitchFamily="34" charset="0"/>
                <a:ea typeface="Tahoma" panose="020B0604030504040204" pitchFamily="34" charset="0"/>
                <a:cs typeface="Tahoma" panose="020B0604030504040204" pitchFamily="34" charset="0"/>
              </a:rPr>
              <a:t>trong đó tin tặc hack tài khoản người dùng bằng cách đoán ID và mật khẩu thông qua các cách kết hợp khác nhau</a:t>
            </a:r>
            <a:endParaRPr lang="en-US"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4FA01569-E660-4A6B-8BD5-8DDDFB6AF355}"/>
              </a:ext>
            </a:extLst>
          </p:cNvPr>
          <p:cNvSpPr txBox="1"/>
          <p:nvPr/>
        </p:nvSpPr>
        <p:spPr>
          <a:xfrm>
            <a:off x="3311141" y="2658644"/>
            <a:ext cx="171522" cy="369332"/>
          </a:xfrm>
          <a:prstGeom prst="rect">
            <a:avLst/>
          </a:prstGeom>
          <a:noFill/>
        </p:spPr>
        <p:txBody>
          <a:bodyPr wrap="none" lIns="0" tIns="0" rIns="0" bIns="0" rtlCol="0">
            <a:spAutoFit/>
          </a:bodyPr>
          <a:lstStyle/>
          <a:p>
            <a:pPr algn="ctr"/>
            <a:r>
              <a:rPr lang="en-US" sz="2400" b="1" dirty="0">
                <a:solidFill>
                  <a:schemeClr val="lt1"/>
                </a:solidFill>
              </a:rPr>
              <a:t>1</a:t>
            </a:r>
          </a:p>
        </p:txBody>
      </p:sp>
      <p:sp>
        <p:nvSpPr>
          <p:cNvPr id="96" name="TextBox 95">
            <a:extLst>
              <a:ext uri="{FF2B5EF4-FFF2-40B4-BE49-F238E27FC236}">
                <a16:creationId xmlns:a16="http://schemas.microsoft.com/office/drawing/2014/main" id="{F3165B65-4439-4CCE-BDA7-2611BC4A575B}"/>
              </a:ext>
            </a:extLst>
          </p:cNvPr>
          <p:cNvSpPr txBox="1"/>
          <p:nvPr/>
        </p:nvSpPr>
        <p:spPr>
          <a:xfrm>
            <a:off x="5154440" y="1684609"/>
            <a:ext cx="171522" cy="369332"/>
          </a:xfrm>
          <a:prstGeom prst="rect">
            <a:avLst/>
          </a:prstGeom>
          <a:noFill/>
        </p:spPr>
        <p:txBody>
          <a:bodyPr wrap="none" lIns="0" tIns="0" rIns="0" bIns="0" rtlCol="0">
            <a:spAutoFit/>
          </a:bodyPr>
          <a:lstStyle/>
          <a:p>
            <a:pPr algn="ctr"/>
            <a:r>
              <a:rPr lang="en-US" sz="2400" b="1" dirty="0">
                <a:solidFill>
                  <a:schemeClr val="lt1"/>
                </a:solidFill>
              </a:rPr>
              <a:t>2</a:t>
            </a:r>
          </a:p>
        </p:txBody>
      </p:sp>
      <p:sp>
        <p:nvSpPr>
          <p:cNvPr id="97" name="TextBox 96">
            <a:extLst>
              <a:ext uri="{FF2B5EF4-FFF2-40B4-BE49-F238E27FC236}">
                <a16:creationId xmlns:a16="http://schemas.microsoft.com/office/drawing/2014/main" id="{72C108FE-FFCB-451B-9427-C240CEEAAACF}"/>
              </a:ext>
            </a:extLst>
          </p:cNvPr>
          <p:cNvSpPr txBox="1"/>
          <p:nvPr/>
        </p:nvSpPr>
        <p:spPr>
          <a:xfrm>
            <a:off x="5141608" y="3650255"/>
            <a:ext cx="171522" cy="369332"/>
          </a:xfrm>
          <a:prstGeom prst="rect">
            <a:avLst/>
          </a:prstGeom>
          <a:noFill/>
        </p:spPr>
        <p:txBody>
          <a:bodyPr wrap="none" lIns="0" tIns="0" rIns="0" bIns="0" rtlCol="0">
            <a:spAutoFit/>
          </a:bodyPr>
          <a:lstStyle/>
          <a:p>
            <a:pPr algn="ctr"/>
            <a:r>
              <a:rPr lang="en-US" sz="2400" b="1" dirty="0">
                <a:solidFill>
                  <a:schemeClr val="lt1"/>
                </a:solidFill>
              </a:rPr>
              <a:t>3</a:t>
            </a:r>
          </a:p>
        </p:txBody>
      </p:sp>
      <p:sp>
        <p:nvSpPr>
          <p:cNvPr id="57" name="TextBox 56"/>
          <p:cNvSpPr txBox="1"/>
          <p:nvPr/>
        </p:nvSpPr>
        <p:spPr>
          <a:xfrm>
            <a:off x="533553" y="2401555"/>
            <a:ext cx="2606097" cy="2031325"/>
          </a:xfrm>
          <a:prstGeom prst="rect">
            <a:avLst/>
          </a:prstGeom>
          <a:noFill/>
        </p:spPr>
        <p:txBody>
          <a:bodyPr wrap="square" rtlCol="0">
            <a:spAutoFit/>
          </a:bodyPr>
          <a:lstStyle/>
          <a:p>
            <a:pPr algn="just"/>
            <a:r>
              <a:rPr lang="vi-VN">
                <a:latin typeface="Tahoma" panose="020B0604030504040204" pitchFamily="34" charset="0"/>
                <a:ea typeface="Tahoma" panose="020B0604030504040204" pitchFamily="34" charset="0"/>
                <a:cs typeface="Tahoma" panose="020B0604030504040204" pitchFamily="34" charset="0"/>
              </a:rPr>
              <a:t>Kẻ tấn công sử dụng tên người dùng hoặc danh sách tên người dùng và cố gắng đoán mật khẩu bằng cách thử nghiệm từng kết hợp cho đến khi tìm ra đúng. Quá trình này có thể được thực hiện thủ công hoặc bằng script tự động.</a:t>
            </a:r>
            <a:endParaRPr lang="en-US" dirty="0">
              <a:latin typeface="Tahoma" panose="020B0604030504040204" pitchFamily="34" charset="0"/>
              <a:ea typeface="Tahoma" panose="020B0604030504040204" pitchFamily="34" charset="0"/>
              <a:cs typeface="Tahoma" panose="020B0604030504040204" pitchFamily="34" charset="0"/>
            </a:endParaRPr>
          </a:p>
        </p:txBody>
      </p:sp>
      <p:cxnSp>
        <p:nvCxnSpPr>
          <p:cNvPr id="83" name="Straight Connector 82">
            <a:extLst>
              <a:ext uri="{FF2B5EF4-FFF2-40B4-BE49-F238E27FC236}">
                <a16:creationId xmlns:a16="http://schemas.microsoft.com/office/drawing/2014/main" id="{FF9BB454-16B1-4468-AEC8-BC0AA79300EA}"/>
              </a:ext>
            </a:extLst>
          </p:cNvPr>
          <p:cNvCxnSpPr>
            <a:cxnSpLocks/>
          </p:cNvCxnSpPr>
          <p:nvPr/>
        </p:nvCxnSpPr>
        <p:spPr>
          <a:xfrm flipH="1">
            <a:off x="684748" y="2393240"/>
            <a:ext cx="24532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79084CA0-5790-4E53-BABF-AAC4E2C7B5A8}"/>
              </a:ext>
            </a:extLst>
          </p:cNvPr>
          <p:cNvSpPr/>
          <p:nvPr/>
        </p:nvSpPr>
        <p:spPr>
          <a:xfrm>
            <a:off x="1067975" y="1897516"/>
            <a:ext cx="2141547" cy="511743"/>
          </a:xfrm>
          <a:prstGeom prst="rect">
            <a:avLst/>
          </a:prstGeom>
        </p:spPr>
        <p:txBody>
          <a:bodyPr wrap="square" anchor="ctr">
            <a:spAutoFit/>
          </a:bodyPr>
          <a:lstStyle/>
          <a:p>
            <a:pPr>
              <a:lnSpc>
                <a:spcPct val="120000"/>
              </a:lnSpc>
            </a:pPr>
            <a:r>
              <a:rPr lang="en-US" sz="1200" b="1" dirty="0">
                <a:solidFill>
                  <a:schemeClr val="accent1"/>
                </a:solidFill>
                <a:latin typeface="Tahoma" panose="020B0604030504040204" pitchFamily="34" charset="0"/>
                <a:ea typeface="Tahoma" panose="020B0604030504040204" pitchFamily="34" charset="0"/>
                <a:cs typeface="Tahoma" panose="020B0604030504040204" pitchFamily="34" charset="0"/>
              </a:rPr>
              <a:t>1</a:t>
            </a:r>
            <a:r>
              <a:rPr lang="en-US" sz="1200" b="1">
                <a:solidFill>
                  <a:schemeClr val="accent1"/>
                </a:solidFill>
                <a:latin typeface="Tahoma" panose="020B0604030504040204" pitchFamily="34" charset="0"/>
                <a:ea typeface="Tahoma" panose="020B0604030504040204" pitchFamily="34" charset="0"/>
                <a:cs typeface="Tahoma" panose="020B0604030504040204" pitchFamily="34" charset="0"/>
              </a:rPr>
              <a:t>. Tấn công Brute-Force Truyền thống</a:t>
            </a:r>
            <a:endParaRPr lang="en-US" sz="1200" b="1" dirty="0">
              <a:solidFill>
                <a:schemeClr val="accent1"/>
              </a:solidFill>
              <a:latin typeface="Tahoma" panose="020B0604030504040204" pitchFamily="34" charset="0"/>
              <a:ea typeface="Tahoma" panose="020B0604030504040204" pitchFamily="34" charset="0"/>
              <a:cs typeface="Tahoma" panose="020B0604030504040204" pitchFamily="34" charset="0"/>
            </a:endParaRPr>
          </a:p>
        </p:txBody>
      </p:sp>
      <p:grpSp>
        <p:nvGrpSpPr>
          <p:cNvPr id="113" name="Binoculars3" descr="{&quot;Key&quot;:&quot;POWER_USER_SHAPE_ICON&quot;,&quot;Value&quot;:&quot;POWER_USER_SHAPE_ICON_STYLE_1&quot;}">
            <a:extLst>
              <a:ext uri="{FF2B5EF4-FFF2-40B4-BE49-F238E27FC236}">
                <a16:creationId xmlns:a16="http://schemas.microsoft.com/office/drawing/2014/main" id="{BB614D62-BC96-42B2-A92A-A149A9448798}"/>
              </a:ext>
            </a:extLst>
          </p:cNvPr>
          <p:cNvGrpSpPr>
            <a:grpSpLocks noChangeAspect="1"/>
          </p:cNvGrpSpPr>
          <p:nvPr/>
        </p:nvGrpSpPr>
        <p:grpSpPr>
          <a:xfrm>
            <a:off x="732557" y="2059926"/>
            <a:ext cx="298273" cy="278119"/>
            <a:chOff x="7786688" y="1243013"/>
            <a:chExt cx="469900" cy="438150"/>
          </a:xfrm>
        </p:grpSpPr>
        <p:sp>
          <p:nvSpPr>
            <p:cNvPr id="114" name="Rectangle 486">
              <a:extLst>
                <a:ext uri="{FF2B5EF4-FFF2-40B4-BE49-F238E27FC236}">
                  <a16:creationId xmlns:a16="http://schemas.microsoft.com/office/drawing/2014/main" id="{D94CB444-693F-49FD-9822-4128AA99CE61}"/>
                </a:ext>
              </a:extLst>
            </p:cNvPr>
            <p:cNvSpPr>
              <a:spLocks noChangeArrowheads="1"/>
            </p:cNvSpPr>
            <p:nvPr/>
          </p:nvSpPr>
          <p:spPr bwMode="auto">
            <a:xfrm>
              <a:off x="7802563" y="1582738"/>
              <a:ext cx="177800" cy="6508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15" name="Rectangle 487">
              <a:extLst>
                <a:ext uri="{FF2B5EF4-FFF2-40B4-BE49-F238E27FC236}">
                  <a16:creationId xmlns:a16="http://schemas.microsoft.com/office/drawing/2014/main" id="{8DD32B8E-FB65-450A-A466-012F615FCFAA}"/>
                </a:ext>
              </a:extLst>
            </p:cNvPr>
            <p:cNvSpPr>
              <a:spLocks noChangeArrowheads="1"/>
            </p:cNvSpPr>
            <p:nvPr/>
          </p:nvSpPr>
          <p:spPr bwMode="auto">
            <a:xfrm>
              <a:off x="8062913" y="1582738"/>
              <a:ext cx="177800" cy="6508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16" name="Rectangle 488">
              <a:extLst>
                <a:ext uri="{FF2B5EF4-FFF2-40B4-BE49-F238E27FC236}">
                  <a16:creationId xmlns:a16="http://schemas.microsoft.com/office/drawing/2014/main" id="{7A256223-51B0-442A-9FAA-99F37B9FC863}"/>
                </a:ext>
              </a:extLst>
            </p:cNvPr>
            <p:cNvSpPr>
              <a:spLocks noChangeArrowheads="1"/>
            </p:cNvSpPr>
            <p:nvPr/>
          </p:nvSpPr>
          <p:spPr bwMode="auto">
            <a:xfrm>
              <a:off x="7820025" y="1535113"/>
              <a:ext cx="146050" cy="47625"/>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17" name="Rectangle 489">
              <a:extLst>
                <a:ext uri="{FF2B5EF4-FFF2-40B4-BE49-F238E27FC236}">
                  <a16:creationId xmlns:a16="http://schemas.microsoft.com/office/drawing/2014/main" id="{D52ADC8A-97B5-4C49-B818-DBD4CADD846E}"/>
                </a:ext>
              </a:extLst>
            </p:cNvPr>
            <p:cNvSpPr>
              <a:spLocks noChangeArrowheads="1"/>
            </p:cNvSpPr>
            <p:nvPr/>
          </p:nvSpPr>
          <p:spPr bwMode="auto">
            <a:xfrm>
              <a:off x="8078788" y="1535113"/>
              <a:ext cx="146050" cy="47625"/>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18" name="Freeform 490">
              <a:extLst>
                <a:ext uri="{FF2B5EF4-FFF2-40B4-BE49-F238E27FC236}">
                  <a16:creationId xmlns:a16="http://schemas.microsoft.com/office/drawing/2014/main" id="{24B29E15-F2D1-4EBC-B814-144071180701}"/>
                </a:ext>
              </a:extLst>
            </p:cNvPr>
            <p:cNvSpPr>
              <a:spLocks/>
            </p:cNvSpPr>
            <p:nvPr/>
          </p:nvSpPr>
          <p:spPr bwMode="auto">
            <a:xfrm>
              <a:off x="7820025" y="1454150"/>
              <a:ext cx="146050" cy="80963"/>
            </a:xfrm>
            <a:custGeom>
              <a:avLst/>
              <a:gdLst>
                <a:gd name="T0" fmla="*/ 150 w 150"/>
                <a:gd name="T1" fmla="*/ 33 h 83"/>
                <a:gd name="T2" fmla="*/ 150 w 150"/>
                <a:gd name="T3" fmla="*/ 83 h 83"/>
                <a:gd name="T4" fmla="*/ 0 w 150"/>
                <a:gd name="T5" fmla="*/ 83 h 83"/>
                <a:gd name="T6" fmla="*/ 50 w 150"/>
                <a:gd name="T7" fmla="*/ 0 h 83"/>
                <a:gd name="T8" fmla="*/ 133 w 150"/>
                <a:gd name="T9" fmla="*/ 0 h 83"/>
              </a:gdLst>
              <a:ahLst/>
              <a:cxnLst>
                <a:cxn ang="0">
                  <a:pos x="T0" y="T1"/>
                </a:cxn>
                <a:cxn ang="0">
                  <a:pos x="T2" y="T3"/>
                </a:cxn>
                <a:cxn ang="0">
                  <a:pos x="T4" y="T5"/>
                </a:cxn>
                <a:cxn ang="0">
                  <a:pos x="T6" y="T7"/>
                </a:cxn>
                <a:cxn ang="0">
                  <a:pos x="T8" y="T9"/>
                </a:cxn>
              </a:cxnLst>
              <a:rect l="0" t="0" r="r" b="b"/>
              <a:pathLst>
                <a:path w="150" h="83">
                  <a:moveTo>
                    <a:pt x="150" y="33"/>
                  </a:moveTo>
                  <a:lnTo>
                    <a:pt x="150" y="83"/>
                  </a:lnTo>
                  <a:lnTo>
                    <a:pt x="0" y="83"/>
                  </a:lnTo>
                  <a:lnTo>
                    <a:pt x="50" y="0"/>
                  </a:lnTo>
                  <a:lnTo>
                    <a:pt x="133"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19" name="Freeform 491">
              <a:extLst>
                <a:ext uri="{FF2B5EF4-FFF2-40B4-BE49-F238E27FC236}">
                  <a16:creationId xmlns:a16="http://schemas.microsoft.com/office/drawing/2014/main" id="{5D32EB69-926D-4EBB-8D3B-3904977213C5}"/>
                </a:ext>
              </a:extLst>
            </p:cNvPr>
            <p:cNvSpPr>
              <a:spLocks/>
            </p:cNvSpPr>
            <p:nvPr/>
          </p:nvSpPr>
          <p:spPr bwMode="auto">
            <a:xfrm>
              <a:off x="7867650" y="1308100"/>
              <a:ext cx="98425" cy="146050"/>
            </a:xfrm>
            <a:custGeom>
              <a:avLst/>
              <a:gdLst>
                <a:gd name="T0" fmla="*/ 83 w 100"/>
                <a:gd name="T1" fmla="*/ 150 h 150"/>
                <a:gd name="T2" fmla="*/ 0 w 100"/>
                <a:gd name="T3" fmla="*/ 150 h 150"/>
                <a:gd name="T4" fmla="*/ 0 w 100"/>
                <a:gd name="T5" fmla="*/ 0 h 150"/>
                <a:gd name="T6" fmla="*/ 100 w 100"/>
                <a:gd name="T7" fmla="*/ 0 h 150"/>
                <a:gd name="T8" fmla="*/ 100 w 100"/>
                <a:gd name="T9" fmla="*/ 33 h 150"/>
              </a:gdLst>
              <a:ahLst/>
              <a:cxnLst>
                <a:cxn ang="0">
                  <a:pos x="T0" y="T1"/>
                </a:cxn>
                <a:cxn ang="0">
                  <a:pos x="T2" y="T3"/>
                </a:cxn>
                <a:cxn ang="0">
                  <a:pos x="T4" y="T5"/>
                </a:cxn>
                <a:cxn ang="0">
                  <a:pos x="T6" y="T7"/>
                </a:cxn>
                <a:cxn ang="0">
                  <a:pos x="T8" y="T9"/>
                </a:cxn>
              </a:cxnLst>
              <a:rect l="0" t="0" r="r" b="b"/>
              <a:pathLst>
                <a:path w="100" h="150">
                  <a:moveTo>
                    <a:pt x="83" y="150"/>
                  </a:moveTo>
                  <a:lnTo>
                    <a:pt x="0" y="150"/>
                  </a:lnTo>
                  <a:lnTo>
                    <a:pt x="0" y="0"/>
                  </a:lnTo>
                  <a:lnTo>
                    <a:pt x="100" y="0"/>
                  </a:lnTo>
                  <a:lnTo>
                    <a:pt x="100" y="33"/>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0" name="Rectangle 492">
              <a:extLst>
                <a:ext uri="{FF2B5EF4-FFF2-40B4-BE49-F238E27FC236}">
                  <a16:creationId xmlns:a16="http://schemas.microsoft.com/office/drawing/2014/main" id="{73081723-074B-4ED4-B95B-9A41DA7655B7}"/>
                </a:ext>
              </a:extLst>
            </p:cNvPr>
            <p:cNvSpPr>
              <a:spLocks noChangeArrowheads="1"/>
            </p:cNvSpPr>
            <p:nvPr/>
          </p:nvSpPr>
          <p:spPr bwMode="auto">
            <a:xfrm>
              <a:off x="7883525" y="1274763"/>
              <a:ext cx="65088" cy="3333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1" name="Rectangle 493">
              <a:extLst>
                <a:ext uri="{FF2B5EF4-FFF2-40B4-BE49-F238E27FC236}">
                  <a16:creationId xmlns:a16="http://schemas.microsoft.com/office/drawing/2014/main" id="{8DD42DD2-DC01-44E2-AEB5-08635E8A0C2F}"/>
                </a:ext>
              </a:extLst>
            </p:cNvPr>
            <p:cNvSpPr>
              <a:spLocks noChangeArrowheads="1"/>
            </p:cNvSpPr>
            <p:nvPr/>
          </p:nvSpPr>
          <p:spPr bwMode="auto">
            <a:xfrm>
              <a:off x="7867650" y="1243013"/>
              <a:ext cx="98425" cy="31750"/>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2" name="Freeform 494">
              <a:extLst>
                <a:ext uri="{FF2B5EF4-FFF2-40B4-BE49-F238E27FC236}">
                  <a16:creationId xmlns:a16="http://schemas.microsoft.com/office/drawing/2014/main" id="{B3DA5125-DCFA-4699-8AA0-312E404620BE}"/>
                </a:ext>
              </a:extLst>
            </p:cNvPr>
            <p:cNvSpPr>
              <a:spLocks/>
            </p:cNvSpPr>
            <p:nvPr/>
          </p:nvSpPr>
          <p:spPr bwMode="auto">
            <a:xfrm>
              <a:off x="8078788" y="1454150"/>
              <a:ext cx="146050" cy="80963"/>
            </a:xfrm>
            <a:custGeom>
              <a:avLst/>
              <a:gdLst>
                <a:gd name="T0" fmla="*/ 0 w 150"/>
                <a:gd name="T1" fmla="*/ 33 h 83"/>
                <a:gd name="T2" fmla="*/ 0 w 150"/>
                <a:gd name="T3" fmla="*/ 83 h 83"/>
                <a:gd name="T4" fmla="*/ 150 w 150"/>
                <a:gd name="T5" fmla="*/ 83 h 83"/>
                <a:gd name="T6" fmla="*/ 100 w 150"/>
                <a:gd name="T7" fmla="*/ 0 h 83"/>
                <a:gd name="T8" fmla="*/ 17 w 150"/>
                <a:gd name="T9" fmla="*/ 0 h 83"/>
              </a:gdLst>
              <a:ahLst/>
              <a:cxnLst>
                <a:cxn ang="0">
                  <a:pos x="T0" y="T1"/>
                </a:cxn>
                <a:cxn ang="0">
                  <a:pos x="T2" y="T3"/>
                </a:cxn>
                <a:cxn ang="0">
                  <a:pos x="T4" y="T5"/>
                </a:cxn>
                <a:cxn ang="0">
                  <a:pos x="T6" y="T7"/>
                </a:cxn>
                <a:cxn ang="0">
                  <a:pos x="T8" y="T9"/>
                </a:cxn>
              </a:cxnLst>
              <a:rect l="0" t="0" r="r" b="b"/>
              <a:pathLst>
                <a:path w="150" h="83">
                  <a:moveTo>
                    <a:pt x="0" y="33"/>
                  </a:moveTo>
                  <a:lnTo>
                    <a:pt x="0" y="83"/>
                  </a:lnTo>
                  <a:lnTo>
                    <a:pt x="150" y="83"/>
                  </a:lnTo>
                  <a:lnTo>
                    <a:pt x="100" y="0"/>
                  </a:lnTo>
                  <a:lnTo>
                    <a:pt x="17" y="0"/>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3" name="Freeform 495">
              <a:extLst>
                <a:ext uri="{FF2B5EF4-FFF2-40B4-BE49-F238E27FC236}">
                  <a16:creationId xmlns:a16="http://schemas.microsoft.com/office/drawing/2014/main" id="{7E925578-CA96-485C-B681-824705482CE8}"/>
                </a:ext>
              </a:extLst>
            </p:cNvPr>
            <p:cNvSpPr>
              <a:spLocks/>
            </p:cNvSpPr>
            <p:nvPr/>
          </p:nvSpPr>
          <p:spPr bwMode="auto">
            <a:xfrm>
              <a:off x="8078788" y="1308100"/>
              <a:ext cx="96838" cy="146050"/>
            </a:xfrm>
            <a:custGeom>
              <a:avLst/>
              <a:gdLst>
                <a:gd name="T0" fmla="*/ 17 w 100"/>
                <a:gd name="T1" fmla="*/ 150 h 150"/>
                <a:gd name="T2" fmla="*/ 100 w 100"/>
                <a:gd name="T3" fmla="*/ 150 h 150"/>
                <a:gd name="T4" fmla="*/ 100 w 100"/>
                <a:gd name="T5" fmla="*/ 0 h 150"/>
                <a:gd name="T6" fmla="*/ 0 w 100"/>
                <a:gd name="T7" fmla="*/ 0 h 150"/>
                <a:gd name="T8" fmla="*/ 0 w 100"/>
                <a:gd name="T9" fmla="*/ 33 h 150"/>
              </a:gdLst>
              <a:ahLst/>
              <a:cxnLst>
                <a:cxn ang="0">
                  <a:pos x="T0" y="T1"/>
                </a:cxn>
                <a:cxn ang="0">
                  <a:pos x="T2" y="T3"/>
                </a:cxn>
                <a:cxn ang="0">
                  <a:pos x="T4" y="T5"/>
                </a:cxn>
                <a:cxn ang="0">
                  <a:pos x="T6" y="T7"/>
                </a:cxn>
                <a:cxn ang="0">
                  <a:pos x="T8" y="T9"/>
                </a:cxn>
              </a:cxnLst>
              <a:rect l="0" t="0" r="r" b="b"/>
              <a:pathLst>
                <a:path w="100" h="150">
                  <a:moveTo>
                    <a:pt x="17" y="150"/>
                  </a:moveTo>
                  <a:lnTo>
                    <a:pt x="100" y="150"/>
                  </a:lnTo>
                  <a:lnTo>
                    <a:pt x="100" y="0"/>
                  </a:lnTo>
                  <a:lnTo>
                    <a:pt x="0" y="0"/>
                  </a:lnTo>
                  <a:lnTo>
                    <a:pt x="0" y="33"/>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4" name="Rectangle 496">
              <a:extLst>
                <a:ext uri="{FF2B5EF4-FFF2-40B4-BE49-F238E27FC236}">
                  <a16:creationId xmlns:a16="http://schemas.microsoft.com/office/drawing/2014/main" id="{B0CFF418-9A11-4EB1-90EC-27D8C1A43949}"/>
                </a:ext>
              </a:extLst>
            </p:cNvPr>
            <p:cNvSpPr>
              <a:spLocks noChangeArrowheads="1"/>
            </p:cNvSpPr>
            <p:nvPr/>
          </p:nvSpPr>
          <p:spPr bwMode="auto">
            <a:xfrm>
              <a:off x="8094663" y="1274763"/>
              <a:ext cx="65088" cy="3333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5" name="Rectangle 497">
              <a:extLst>
                <a:ext uri="{FF2B5EF4-FFF2-40B4-BE49-F238E27FC236}">
                  <a16:creationId xmlns:a16="http://schemas.microsoft.com/office/drawing/2014/main" id="{7BE273FA-15F1-415D-BC83-A10D90154433}"/>
                </a:ext>
              </a:extLst>
            </p:cNvPr>
            <p:cNvSpPr>
              <a:spLocks noChangeArrowheads="1"/>
            </p:cNvSpPr>
            <p:nvPr/>
          </p:nvSpPr>
          <p:spPr bwMode="auto">
            <a:xfrm>
              <a:off x="8078788" y="1243013"/>
              <a:ext cx="96838" cy="31750"/>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6" name="Rectangle 498">
              <a:extLst>
                <a:ext uri="{FF2B5EF4-FFF2-40B4-BE49-F238E27FC236}">
                  <a16:creationId xmlns:a16="http://schemas.microsoft.com/office/drawing/2014/main" id="{1C5A43E0-0A7F-402B-B402-55F76CAFCC83}"/>
                </a:ext>
              </a:extLst>
            </p:cNvPr>
            <p:cNvSpPr>
              <a:spLocks noChangeArrowheads="1"/>
            </p:cNvSpPr>
            <p:nvPr/>
          </p:nvSpPr>
          <p:spPr bwMode="auto">
            <a:xfrm>
              <a:off x="7786688" y="1647825"/>
              <a:ext cx="211138" cy="3333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7" name="Rectangle 499">
              <a:extLst>
                <a:ext uri="{FF2B5EF4-FFF2-40B4-BE49-F238E27FC236}">
                  <a16:creationId xmlns:a16="http://schemas.microsoft.com/office/drawing/2014/main" id="{BE734E89-8419-40AE-8437-0EAA79AC591A}"/>
                </a:ext>
              </a:extLst>
            </p:cNvPr>
            <p:cNvSpPr>
              <a:spLocks noChangeArrowheads="1"/>
            </p:cNvSpPr>
            <p:nvPr/>
          </p:nvSpPr>
          <p:spPr bwMode="auto">
            <a:xfrm>
              <a:off x="8047038" y="1647825"/>
              <a:ext cx="209550" cy="3333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8" name="Rectangle 500">
              <a:extLst>
                <a:ext uri="{FF2B5EF4-FFF2-40B4-BE49-F238E27FC236}">
                  <a16:creationId xmlns:a16="http://schemas.microsoft.com/office/drawing/2014/main" id="{A17508F2-9834-461D-A506-58E29C594F0D}"/>
                </a:ext>
              </a:extLst>
            </p:cNvPr>
            <p:cNvSpPr>
              <a:spLocks noChangeArrowheads="1"/>
            </p:cNvSpPr>
            <p:nvPr/>
          </p:nvSpPr>
          <p:spPr bwMode="auto">
            <a:xfrm>
              <a:off x="7948613" y="1339850"/>
              <a:ext cx="146050" cy="146050"/>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29" name="Rectangle 501">
              <a:extLst>
                <a:ext uri="{FF2B5EF4-FFF2-40B4-BE49-F238E27FC236}">
                  <a16:creationId xmlns:a16="http://schemas.microsoft.com/office/drawing/2014/main" id="{2BD98678-3A17-45FC-BFE6-77BDFD249E8D}"/>
                </a:ext>
              </a:extLst>
            </p:cNvPr>
            <p:cNvSpPr>
              <a:spLocks noChangeArrowheads="1"/>
            </p:cNvSpPr>
            <p:nvPr/>
          </p:nvSpPr>
          <p:spPr bwMode="auto">
            <a:xfrm>
              <a:off x="7997825" y="1420813"/>
              <a:ext cx="49213" cy="65088"/>
            </a:xfrm>
            <a:prstGeom prst="rect">
              <a:avLst/>
            </a:pr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grpSp>
      <p:sp>
        <p:nvSpPr>
          <p:cNvPr id="85" name="TextBox 84">
            <a:extLst>
              <a:ext uri="{FF2B5EF4-FFF2-40B4-BE49-F238E27FC236}">
                <a16:creationId xmlns:a16="http://schemas.microsoft.com/office/drawing/2014/main" id="{64FBBA63-F805-446B-84E2-C2DFE1B63BE9}"/>
              </a:ext>
            </a:extLst>
          </p:cNvPr>
          <p:cNvSpPr txBox="1"/>
          <p:nvPr/>
        </p:nvSpPr>
        <p:spPr>
          <a:xfrm>
            <a:off x="6020296" y="1360557"/>
            <a:ext cx="2857499" cy="1384995"/>
          </a:xfrm>
          <a:prstGeom prst="rect">
            <a:avLst/>
          </a:prstGeom>
          <a:noFill/>
        </p:spPr>
        <p:txBody>
          <a:bodyPr wrap="square" rtlCol="0">
            <a:spAutoFit/>
          </a:bodyPr>
          <a:lstStyle/>
          <a:p>
            <a:pPr algn="just"/>
            <a:r>
              <a:rPr lang="vi-VN">
                <a:latin typeface="Tahoma" panose="020B0604030504040204" pitchFamily="34" charset="0"/>
                <a:ea typeface="Tahoma" panose="020B0604030504040204" pitchFamily="34" charset="0"/>
                <a:cs typeface="Tahoma" panose="020B0604030504040204" pitchFamily="34" charset="0"/>
              </a:rPr>
              <a:t>Ngược lại với tấn công truyền thống, loại tấn công này bắt đầu với một mật khẩu đã biết và thử nghiệm với nhiều tên người dùng khác nhau cho đến khi tìm ra kết hợp đúng.</a:t>
            </a:r>
            <a:endParaRPr lang="en-US" dirty="0">
              <a:latin typeface="Tahoma" panose="020B0604030504040204" pitchFamily="34" charset="0"/>
              <a:ea typeface="Tahoma" panose="020B0604030504040204" pitchFamily="34" charset="0"/>
              <a:cs typeface="Tahoma" panose="020B0604030504040204" pitchFamily="34" charset="0"/>
            </a:endParaRPr>
          </a:p>
        </p:txBody>
      </p:sp>
      <p:cxnSp>
        <p:nvCxnSpPr>
          <p:cNvPr id="86" name="Straight Connector 85">
            <a:extLst>
              <a:ext uri="{FF2B5EF4-FFF2-40B4-BE49-F238E27FC236}">
                <a16:creationId xmlns:a16="http://schemas.microsoft.com/office/drawing/2014/main" id="{46A66D37-9898-4C8D-A9B6-C0B7281D3999}"/>
              </a:ext>
            </a:extLst>
          </p:cNvPr>
          <p:cNvCxnSpPr>
            <a:cxnSpLocks/>
          </p:cNvCxnSpPr>
          <p:nvPr/>
        </p:nvCxnSpPr>
        <p:spPr>
          <a:xfrm flipH="1">
            <a:off x="6020297" y="1325121"/>
            <a:ext cx="245322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DE58DE45-9C98-41AB-943B-432CFDC9E82A}"/>
              </a:ext>
            </a:extLst>
          </p:cNvPr>
          <p:cNvSpPr/>
          <p:nvPr/>
        </p:nvSpPr>
        <p:spPr>
          <a:xfrm>
            <a:off x="6318624" y="840574"/>
            <a:ext cx="2067636" cy="461665"/>
          </a:xfrm>
          <a:prstGeom prst="rect">
            <a:avLst/>
          </a:prstGeom>
        </p:spPr>
        <p:txBody>
          <a:bodyPr wrap="square" anchor="ctr">
            <a:spAutoFit/>
          </a:bodyPr>
          <a:lstStyle/>
          <a:p>
            <a:r>
              <a:rPr lang="en-US" sz="1200" b="1" dirty="0">
                <a:solidFill>
                  <a:schemeClr val="accent2"/>
                </a:solidFill>
              </a:rPr>
              <a:t>2</a:t>
            </a:r>
            <a:r>
              <a:rPr lang="en-US" sz="1200" b="1">
                <a:solidFill>
                  <a:schemeClr val="accent2"/>
                </a:solidFill>
              </a:rPr>
              <a:t>. </a:t>
            </a:r>
            <a:r>
              <a:rPr lang="vi-VN" sz="1200" b="1">
                <a:solidFill>
                  <a:schemeClr val="accent2"/>
                </a:solidFill>
              </a:rPr>
              <a:t>Tấn công Brute-Force Ngược</a:t>
            </a:r>
            <a:endParaRPr lang="en-US" sz="1200" b="1" dirty="0">
              <a:solidFill>
                <a:schemeClr val="accent2"/>
              </a:solidFill>
            </a:endParaRPr>
          </a:p>
        </p:txBody>
      </p:sp>
      <p:sp>
        <p:nvSpPr>
          <p:cNvPr id="93" name="TextBox 92">
            <a:extLst>
              <a:ext uri="{FF2B5EF4-FFF2-40B4-BE49-F238E27FC236}">
                <a16:creationId xmlns:a16="http://schemas.microsoft.com/office/drawing/2014/main" id="{BEF0EFA9-8C2F-4350-BD94-9862DA17A70E}"/>
              </a:ext>
            </a:extLst>
          </p:cNvPr>
          <p:cNvSpPr txBox="1"/>
          <p:nvPr/>
        </p:nvSpPr>
        <p:spPr>
          <a:xfrm>
            <a:off x="5985554" y="3315880"/>
            <a:ext cx="2997902" cy="1815882"/>
          </a:xfrm>
          <a:prstGeom prst="rect">
            <a:avLst/>
          </a:prstGeom>
          <a:noFill/>
        </p:spPr>
        <p:txBody>
          <a:bodyPr wrap="square" rtlCol="0">
            <a:spAutoFit/>
          </a:bodyPr>
          <a:lstStyle/>
          <a:p>
            <a:pPr algn="just"/>
            <a:r>
              <a:rPr lang="vi-VN">
                <a:latin typeface="Tahoma" panose="020B0604030504040204" pitchFamily="34" charset="0"/>
                <a:ea typeface="Tahoma" panose="020B0604030504040204" pitchFamily="34" charset="0"/>
                <a:cs typeface="Tahoma" panose="020B0604030504040204" pitchFamily="34" charset="0"/>
              </a:rPr>
              <a:t>Kẻ tấn công sử dụng một danh sách từ đã được biên soạn trước, thường dựa trên nghiên cứu về mục tiêu, để thử nghiệm các thông tin đăng nhập. Danh sách này, được gọi là "từ điển", bao gồm các từ hoặc biến thể của mật khẩu phổ biến.</a:t>
            </a:r>
            <a:endParaRPr lang="en-US" dirty="0">
              <a:latin typeface="Tahoma" panose="020B0604030504040204" pitchFamily="34" charset="0"/>
              <a:ea typeface="Tahoma" panose="020B0604030504040204" pitchFamily="34" charset="0"/>
              <a:cs typeface="Tahoma" panose="020B0604030504040204" pitchFamily="34" charset="0"/>
            </a:endParaRPr>
          </a:p>
        </p:txBody>
      </p:sp>
      <p:cxnSp>
        <p:nvCxnSpPr>
          <p:cNvPr id="94" name="Straight Connector 93">
            <a:extLst>
              <a:ext uri="{FF2B5EF4-FFF2-40B4-BE49-F238E27FC236}">
                <a16:creationId xmlns:a16="http://schemas.microsoft.com/office/drawing/2014/main" id="{26101998-9B41-4B44-8760-0B4E92B941F4}"/>
              </a:ext>
            </a:extLst>
          </p:cNvPr>
          <p:cNvCxnSpPr>
            <a:cxnSpLocks/>
          </p:cNvCxnSpPr>
          <p:nvPr/>
        </p:nvCxnSpPr>
        <p:spPr>
          <a:xfrm flipH="1">
            <a:off x="6041653" y="3307566"/>
            <a:ext cx="2453228"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7747617F-34C0-41AE-B3F7-F87CE47A07CA}"/>
              </a:ext>
            </a:extLst>
          </p:cNvPr>
          <p:cNvSpPr/>
          <p:nvPr/>
        </p:nvSpPr>
        <p:spPr>
          <a:xfrm>
            <a:off x="6427244" y="2997926"/>
            <a:ext cx="2067636" cy="276999"/>
          </a:xfrm>
          <a:prstGeom prst="rect">
            <a:avLst/>
          </a:prstGeom>
        </p:spPr>
        <p:txBody>
          <a:bodyPr wrap="square" anchor="ctr">
            <a:spAutoFit/>
          </a:bodyPr>
          <a:lstStyle/>
          <a:p>
            <a:r>
              <a:rPr lang="en-US" sz="1200" b="1" dirty="0">
                <a:solidFill>
                  <a:schemeClr val="accent3"/>
                </a:solidFill>
              </a:rPr>
              <a:t>3</a:t>
            </a:r>
            <a:r>
              <a:rPr lang="en-US" sz="1200" b="1">
                <a:solidFill>
                  <a:schemeClr val="accent3"/>
                </a:solidFill>
              </a:rPr>
              <a:t>. Tấn công Từ điển</a:t>
            </a:r>
            <a:endParaRPr lang="en-US" sz="1200" b="1" dirty="0">
              <a:solidFill>
                <a:schemeClr val="accent3"/>
              </a:solidFill>
            </a:endParaRPr>
          </a:p>
        </p:txBody>
      </p:sp>
      <p:grpSp>
        <p:nvGrpSpPr>
          <p:cNvPr id="130" name="Bishop" descr="{&quot;Key&quot;:&quot;POWER_USER_SHAPE_ICON&quot;,&quot;Value&quot;:&quot;POWER_USER_SHAPE_ICON_STYLE_1&quot;}">
            <a:extLst>
              <a:ext uri="{FF2B5EF4-FFF2-40B4-BE49-F238E27FC236}">
                <a16:creationId xmlns:a16="http://schemas.microsoft.com/office/drawing/2014/main" id="{5CD86439-02BB-40BB-8698-2BD0B1D7C36F}"/>
              </a:ext>
            </a:extLst>
          </p:cNvPr>
          <p:cNvGrpSpPr>
            <a:grpSpLocks noChangeAspect="1"/>
          </p:cNvGrpSpPr>
          <p:nvPr/>
        </p:nvGrpSpPr>
        <p:grpSpPr>
          <a:xfrm>
            <a:off x="6101948" y="947049"/>
            <a:ext cx="161915" cy="336524"/>
            <a:chOff x="2800042" y="3941012"/>
            <a:chExt cx="254300" cy="528540"/>
          </a:xfrm>
        </p:grpSpPr>
        <p:sp>
          <p:nvSpPr>
            <p:cNvPr id="131" name="Freeform 42">
              <a:extLst>
                <a:ext uri="{FF2B5EF4-FFF2-40B4-BE49-F238E27FC236}">
                  <a16:creationId xmlns:a16="http://schemas.microsoft.com/office/drawing/2014/main" id="{B7D1884F-81FC-4A6B-BC8F-26371C2BE0E1}"/>
                </a:ext>
              </a:extLst>
            </p:cNvPr>
            <p:cNvSpPr>
              <a:spLocks/>
            </p:cNvSpPr>
            <p:nvPr/>
          </p:nvSpPr>
          <p:spPr bwMode="auto">
            <a:xfrm>
              <a:off x="2843449" y="4001138"/>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Lst>
              <a:ahLst/>
              <a:cxnLst>
                <a:cxn ang="0">
                  <a:pos x="T0" y="T1"/>
                </a:cxn>
                <a:cxn ang="0">
                  <a:pos x="T2" y="T3"/>
                </a:cxn>
                <a:cxn ang="0">
                  <a:pos x="T4" y="T5"/>
                </a:cxn>
                <a:cxn ang="0">
                  <a:pos x="T6" y="T7"/>
                </a:cxn>
                <a:cxn ang="0">
                  <a:pos x="T8" y="T9"/>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close/>
                </a:path>
              </a:pathLst>
            </a:custGeom>
            <a:noFill/>
            <a:ln w="12700">
              <a:solidFill>
                <a:schemeClr val="accent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2" name="Freeform 43">
              <a:extLst>
                <a:ext uri="{FF2B5EF4-FFF2-40B4-BE49-F238E27FC236}">
                  <a16:creationId xmlns:a16="http://schemas.microsoft.com/office/drawing/2014/main" id="{19FA2230-66AB-4E3A-AB39-0905F680DAAE}"/>
                </a:ext>
              </a:extLst>
            </p:cNvPr>
            <p:cNvSpPr>
              <a:spLocks noEditPoints="1"/>
            </p:cNvSpPr>
            <p:nvPr/>
          </p:nvSpPr>
          <p:spPr bwMode="auto">
            <a:xfrm>
              <a:off x="2843449" y="3997607"/>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 name="T10" fmla="*/ 1016 w 1235"/>
                <a:gd name="T11" fmla="*/ 269 h 1509"/>
                <a:gd name="T12" fmla="*/ 1016 w 1235"/>
                <a:gd name="T13" fmla="*/ 269 h 1509"/>
              </a:gdLst>
              <a:ahLst/>
              <a:cxnLst>
                <a:cxn ang="0">
                  <a:pos x="T0" y="T1"/>
                </a:cxn>
                <a:cxn ang="0">
                  <a:pos x="T2" y="T3"/>
                </a:cxn>
                <a:cxn ang="0">
                  <a:pos x="T4" y="T5"/>
                </a:cxn>
                <a:cxn ang="0">
                  <a:pos x="T6" y="T7"/>
                </a:cxn>
                <a:cxn ang="0">
                  <a:pos x="T8" y="T9"/>
                </a:cxn>
                <a:cxn ang="0">
                  <a:pos x="T10" y="T11"/>
                </a:cxn>
                <a:cxn ang="0">
                  <a:pos x="T12" y="T13"/>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lnTo>
                    <a:pt x="1016" y="269"/>
                  </a:lnTo>
                  <a:close/>
                  <a:moveTo>
                    <a:pt x="1016" y="269"/>
                  </a:moveTo>
                  <a:close/>
                </a:path>
              </a:pathLst>
            </a:custGeom>
            <a:noFill/>
            <a:ln w="12700" cap="rnd">
              <a:solidFill>
                <a:schemeClr val="accent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3" name="Freeform 44">
              <a:extLst>
                <a:ext uri="{FF2B5EF4-FFF2-40B4-BE49-F238E27FC236}">
                  <a16:creationId xmlns:a16="http://schemas.microsoft.com/office/drawing/2014/main" id="{0F860E53-E536-445C-A2E2-321DCD479774}"/>
                </a:ext>
              </a:extLst>
            </p:cNvPr>
            <p:cNvSpPr>
              <a:spLocks/>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path>
              </a:pathLst>
            </a:custGeom>
            <a:noFill/>
            <a:ln w="12700">
              <a:solidFill>
                <a:schemeClr val="accent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4" name="Freeform 45">
              <a:extLst>
                <a:ext uri="{FF2B5EF4-FFF2-40B4-BE49-F238E27FC236}">
                  <a16:creationId xmlns:a16="http://schemas.microsoft.com/office/drawing/2014/main" id="{E60BE5F9-88EB-4F9F-9474-8500F9B980D9}"/>
                </a:ext>
              </a:extLst>
            </p:cNvPr>
            <p:cNvSpPr>
              <a:spLocks noEditPoints="1"/>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 name="T18" fmla="*/ 1813 w 18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moveTo>
                    <a:pt x="1813" y="250"/>
                  </a:moveTo>
                  <a:close/>
                </a:path>
              </a:pathLst>
            </a:custGeom>
            <a:noFill/>
            <a:ln w="12700" cap="rnd">
              <a:solidFill>
                <a:schemeClr val="accent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5" name="Freeform 46">
              <a:extLst>
                <a:ext uri="{FF2B5EF4-FFF2-40B4-BE49-F238E27FC236}">
                  <a16:creationId xmlns:a16="http://schemas.microsoft.com/office/drawing/2014/main" id="{EAFB48DA-909E-4A8C-928A-0453DBDE74BE}"/>
                </a:ext>
              </a:extLst>
            </p:cNvPr>
            <p:cNvSpPr>
              <a:spLocks/>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path>
              </a:pathLst>
            </a:custGeom>
            <a:noFill/>
            <a:ln w="12700">
              <a:solidFill>
                <a:schemeClr val="accent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6" name="Freeform 47">
              <a:extLst>
                <a:ext uri="{FF2B5EF4-FFF2-40B4-BE49-F238E27FC236}">
                  <a16:creationId xmlns:a16="http://schemas.microsoft.com/office/drawing/2014/main" id="{4C947433-7964-47A7-8FCB-8C5EE6091029}"/>
                </a:ext>
              </a:extLst>
            </p:cNvPr>
            <p:cNvSpPr>
              <a:spLocks noEditPoints="1"/>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 name="T18" fmla="*/ 1563 w 1625"/>
                <a:gd name="T1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moveTo>
                    <a:pt x="1563" y="375"/>
                  </a:moveTo>
                  <a:close/>
                </a:path>
              </a:pathLst>
            </a:custGeom>
            <a:noFill/>
            <a:ln w="12700" cap="rnd">
              <a:solidFill>
                <a:schemeClr val="accent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7" name="Freeform 51">
              <a:extLst>
                <a:ext uri="{FF2B5EF4-FFF2-40B4-BE49-F238E27FC236}">
                  <a16:creationId xmlns:a16="http://schemas.microsoft.com/office/drawing/2014/main" id="{9AA1EB33-5DE1-4AF2-879B-52E6AC2EFE42}"/>
                </a:ext>
              </a:extLst>
            </p:cNvPr>
            <p:cNvSpPr>
              <a:spLocks noEditPoints="1"/>
            </p:cNvSpPr>
            <p:nvPr/>
          </p:nvSpPr>
          <p:spPr bwMode="auto">
            <a:xfrm>
              <a:off x="2833967" y="4198023"/>
              <a:ext cx="186451" cy="45719"/>
            </a:xfrm>
            <a:custGeom>
              <a:avLst/>
              <a:gdLst>
                <a:gd name="T0" fmla="*/ 1313 w 1375"/>
                <a:gd name="T1" fmla="*/ 250 h 250"/>
                <a:gd name="T2" fmla="*/ 63 w 1375"/>
                <a:gd name="T3" fmla="*/ 250 h 250"/>
                <a:gd name="T4" fmla="*/ 0 w 1375"/>
                <a:gd name="T5" fmla="*/ 188 h 250"/>
                <a:gd name="T6" fmla="*/ 0 w 1375"/>
                <a:gd name="T7" fmla="*/ 63 h 250"/>
                <a:gd name="T8" fmla="*/ 63 w 1375"/>
                <a:gd name="T9" fmla="*/ 0 h 250"/>
                <a:gd name="T10" fmla="*/ 1313 w 1375"/>
                <a:gd name="T11" fmla="*/ 0 h 250"/>
                <a:gd name="T12" fmla="*/ 1375 w 1375"/>
                <a:gd name="T13" fmla="*/ 63 h 250"/>
                <a:gd name="T14" fmla="*/ 1375 w 1375"/>
                <a:gd name="T15" fmla="*/ 188 h 250"/>
                <a:gd name="T16" fmla="*/ 1313 w 1375"/>
                <a:gd name="T17" fmla="*/ 250 h 250"/>
                <a:gd name="T18" fmla="*/ 1313 w 13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5" h="250">
                  <a:moveTo>
                    <a:pt x="1313" y="250"/>
                  </a:moveTo>
                  <a:lnTo>
                    <a:pt x="63" y="250"/>
                  </a:lnTo>
                  <a:cubicBezTo>
                    <a:pt x="28" y="250"/>
                    <a:pt x="0" y="222"/>
                    <a:pt x="0" y="188"/>
                  </a:cubicBezTo>
                  <a:lnTo>
                    <a:pt x="0" y="63"/>
                  </a:lnTo>
                  <a:cubicBezTo>
                    <a:pt x="0" y="28"/>
                    <a:pt x="28" y="0"/>
                    <a:pt x="63" y="0"/>
                  </a:cubicBezTo>
                  <a:lnTo>
                    <a:pt x="1313" y="0"/>
                  </a:lnTo>
                  <a:cubicBezTo>
                    <a:pt x="1347" y="0"/>
                    <a:pt x="1375" y="28"/>
                    <a:pt x="1375" y="63"/>
                  </a:cubicBezTo>
                  <a:lnTo>
                    <a:pt x="1375" y="188"/>
                  </a:lnTo>
                  <a:cubicBezTo>
                    <a:pt x="1375" y="222"/>
                    <a:pt x="1347" y="250"/>
                    <a:pt x="1313" y="250"/>
                  </a:cubicBezTo>
                  <a:close/>
                  <a:moveTo>
                    <a:pt x="1313" y="250"/>
                  </a:moveTo>
                  <a:close/>
                </a:path>
              </a:pathLst>
            </a:custGeom>
            <a:noFill/>
            <a:ln w="12700" cap="rnd">
              <a:solidFill>
                <a:schemeClr val="accent2"/>
              </a:solidFill>
              <a:prstDash val="solid"/>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8" name="Freeform 58">
              <a:extLst>
                <a:ext uri="{FF2B5EF4-FFF2-40B4-BE49-F238E27FC236}">
                  <a16:creationId xmlns:a16="http://schemas.microsoft.com/office/drawing/2014/main" id="{68D31D13-149D-434A-8683-A18B5F95ADB2}"/>
                </a:ext>
              </a:extLst>
            </p:cNvPr>
            <p:cNvSpPr>
              <a:spLocks/>
            </p:cNvSpPr>
            <p:nvPr/>
          </p:nvSpPr>
          <p:spPr bwMode="auto">
            <a:xfrm>
              <a:off x="2850261" y="4242099"/>
              <a:ext cx="151458" cy="142641"/>
            </a:xfrm>
            <a:custGeom>
              <a:avLst/>
              <a:gdLst>
                <a:gd name="T0" fmla="*/ 1058 w 1117"/>
                <a:gd name="T1" fmla="*/ 1250 h 1250"/>
                <a:gd name="T2" fmla="*/ 58 w 1117"/>
                <a:gd name="T3" fmla="*/ 1250 h 1250"/>
                <a:gd name="T4" fmla="*/ 5 w 1117"/>
                <a:gd name="T5" fmla="*/ 1188 h 1250"/>
                <a:gd name="T6" fmla="*/ 174 w 1117"/>
                <a:gd name="T7" fmla="*/ 63 h 1250"/>
                <a:gd name="T8" fmla="*/ 246 w 1117"/>
                <a:gd name="T9" fmla="*/ 0 h 1250"/>
                <a:gd name="T10" fmla="*/ 871 w 1117"/>
                <a:gd name="T11" fmla="*/ 0 h 1250"/>
                <a:gd name="T12" fmla="*/ 943 w 1117"/>
                <a:gd name="T13" fmla="*/ 63 h 1250"/>
                <a:gd name="T14" fmla="*/ 1112 w 1117"/>
                <a:gd name="T15" fmla="*/ 1188 h 1250"/>
                <a:gd name="T16" fmla="*/ 1058 w 1117"/>
                <a:gd name="T17" fmla="*/ 125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7" h="1250">
                  <a:moveTo>
                    <a:pt x="1058" y="1250"/>
                  </a:moveTo>
                  <a:lnTo>
                    <a:pt x="58" y="1250"/>
                  </a:lnTo>
                  <a:cubicBezTo>
                    <a:pt x="24" y="1250"/>
                    <a:pt x="0" y="1222"/>
                    <a:pt x="5" y="1188"/>
                  </a:cubicBezTo>
                  <a:lnTo>
                    <a:pt x="174" y="63"/>
                  </a:lnTo>
                  <a:cubicBezTo>
                    <a:pt x="179" y="28"/>
                    <a:pt x="211" y="0"/>
                    <a:pt x="246" y="0"/>
                  </a:cubicBezTo>
                  <a:lnTo>
                    <a:pt x="871" y="0"/>
                  </a:lnTo>
                  <a:cubicBezTo>
                    <a:pt x="905" y="0"/>
                    <a:pt x="938" y="28"/>
                    <a:pt x="943" y="63"/>
                  </a:cubicBezTo>
                  <a:lnTo>
                    <a:pt x="1112" y="1188"/>
                  </a:lnTo>
                  <a:cubicBezTo>
                    <a:pt x="1117" y="1222"/>
                    <a:pt x="1093" y="1250"/>
                    <a:pt x="1058" y="1250"/>
                  </a:cubicBezTo>
                  <a:close/>
                </a:path>
              </a:pathLst>
            </a:custGeom>
            <a:noFill/>
            <a:ln w="12700">
              <a:solidFill>
                <a:schemeClr val="accent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39" name="Freeform 60">
              <a:extLst>
                <a:ext uri="{FF2B5EF4-FFF2-40B4-BE49-F238E27FC236}">
                  <a16:creationId xmlns:a16="http://schemas.microsoft.com/office/drawing/2014/main" id="{F1FA482D-96AD-4FB0-9D2C-68DA9B01C958}"/>
                </a:ext>
              </a:extLst>
            </p:cNvPr>
            <p:cNvSpPr>
              <a:spLocks/>
            </p:cNvSpPr>
            <p:nvPr/>
          </p:nvSpPr>
          <p:spPr bwMode="auto">
            <a:xfrm>
              <a:off x="2900546" y="3941012"/>
              <a:ext cx="50887" cy="67849"/>
            </a:xfrm>
            <a:custGeom>
              <a:avLst/>
              <a:gdLst>
                <a:gd name="T0" fmla="*/ 313 w 375"/>
                <a:gd name="T1" fmla="*/ 500 h 500"/>
                <a:gd name="T2" fmla="*/ 63 w 375"/>
                <a:gd name="T3" fmla="*/ 500 h 500"/>
                <a:gd name="T4" fmla="*/ 0 w 375"/>
                <a:gd name="T5" fmla="*/ 438 h 500"/>
                <a:gd name="T6" fmla="*/ 0 w 375"/>
                <a:gd name="T7" fmla="*/ 63 h 500"/>
                <a:gd name="T8" fmla="*/ 63 w 375"/>
                <a:gd name="T9" fmla="*/ 0 h 500"/>
                <a:gd name="T10" fmla="*/ 313 w 375"/>
                <a:gd name="T11" fmla="*/ 0 h 500"/>
                <a:gd name="T12" fmla="*/ 375 w 375"/>
                <a:gd name="T13" fmla="*/ 63 h 500"/>
                <a:gd name="T14" fmla="*/ 375 w 375"/>
                <a:gd name="T15" fmla="*/ 438 h 500"/>
                <a:gd name="T16" fmla="*/ 313 w 375"/>
                <a:gd name="T17"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0">
                  <a:moveTo>
                    <a:pt x="313" y="500"/>
                  </a:moveTo>
                  <a:lnTo>
                    <a:pt x="63" y="500"/>
                  </a:lnTo>
                  <a:cubicBezTo>
                    <a:pt x="28" y="500"/>
                    <a:pt x="0" y="472"/>
                    <a:pt x="0" y="438"/>
                  </a:cubicBezTo>
                  <a:lnTo>
                    <a:pt x="0" y="63"/>
                  </a:lnTo>
                  <a:cubicBezTo>
                    <a:pt x="0" y="28"/>
                    <a:pt x="28" y="0"/>
                    <a:pt x="63" y="0"/>
                  </a:cubicBezTo>
                  <a:lnTo>
                    <a:pt x="313" y="0"/>
                  </a:lnTo>
                  <a:cubicBezTo>
                    <a:pt x="347" y="0"/>
                    <a:pt x="375" y="28"/>
                    <a:pt x="375" y="63"/>
                  </a:cubicBezTo>
                  <a:lnTo>
                    <a:pt x="375" y="438"/>
                  </a:lnTo>
                  <a:cubicBezTo>
                    <a:pt x="375" y="472"/>
                    <a:pt x="347" y="500"/>
                    <a:pt x="313" y="500"/>
                  </a:cubicBezTo>
                  <a:close/>
                </a:path>
              </a:pathLst>
            </a:custGeom>
            <a:noFill/>
            <a:ln w="12700">
              <a:solidFill>
                <a:schemeClr val="accent2"/>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grpSp>
      <p:pic>
        <p:nvPicPr>
          <p:cNvPr id="186" name="Picture 185">
            <a:extLst>
              <a:ext uri="{FF2B5EF4-FFF2-40B4-BE49-F238E27FC236}">
                <a16:creationId xmlns:a16="http://schemas.microsoft.com/office/drawing/2014/main" id="{F996017A-7315-4FCA-848A-A6D5DA93498E}"/>
              </a:ext>
            </a:extLst>
          </p:cNvPr>
          <p:cNvPicPr>
            <a:picLocks noChangeAspect="1"/>
          </p:cNvPicPr>
          <p:nvPr/>
        </p:nvPicPr>
        <p:blipFill>
          <a:blip r:embed="rId54"/>
          <a:stretch>
            <a:fillRect/>
          </a:stretch>
        </p:blipFill>
        <p:spPr>
          <a:xfrm>
            <a:off x="3645803" y="2132650"/>
            <a:ext cx="1820525" cy="1458377"/>
          </a:xfrm>
          <a:prstGeom prst="rect">
            <a:avLst/>
          </a:prstGeom>
        </p:spPr>
      </p:pic>
      <p:grpSp>
        <p:nvGrpSpPr>
          <p:cNvPr id="140" name="Moscow" descr="{&quot;Key&quot;:&quot;POWER_USER_SHAPE_ICON&quot;,&quot;Value&quot;:&quot;POWER_USER_SHAPE_ICON_STYLE_1&quot;}">
            <a:extLst>
              <a:ext uri="{FF2B5EF4-FFF2-40B4-BE49-F238E27FC236}">
                <a16:creationId xmlns:a16="http://schemas.microsoft.com/office/drawing/2014/main" id="{D565EFC8-2F65-45AF-8571-2CE34F20E271}"/>
              </a:ext>
            </a:extLst>
          </p:cNvPr>
          <p:cNvGrpSpPr>
            <a:grpSpLocks noChangeAspect="1"/>
          </p:cNvGrpSpPr>
          <p:nvPr/>
        </p:nvGrpSpPr>
        <p:grpSpPr>
          <a:xfrm>
            <a:off x="6070484" y="2898144"/>
            <a:ext cx="290852" cy="370177"/>
            <a:chOff x="7029450" y="3489325"/>
            <a:chExt cx="454025" cy="577851"/>
          </a:xfrm>
          <a:solidFill>
            <a:schemeClr val="accent3"/>
          </a:solidFill>
        </p:grpSpPr>
        <p:sp>
          <p:nvSpPr>
            <p:cNvPr id="141" name="Freeform 200">
              <a:extLst>
                <a:ext uri="{FF2B5EF4-FFF2-40B4-BE49-F238E27FC236}">
                  <a16:creationId xmlns:a16="http://schemas.microsoft.com/office/drawing/2014/main" id="{C9290438-DBCD-4EEA-9C76-AC5D1A54E84A}"/>
                </a:ext>
              </a:extLst>
            </p:cNvPr>
            <p:cNvSpPr>
              <a:spLocks noEditPoints="1"/>
            </p:cNvSpPr>
            <p:nvPr/>
          </p:nvSpPr>
          <p:spPr bwMode="auto">
            <a:xfrm>
              <a:off x="7029450" y="3941763"/>
              <a:ext cx="454025" cy="125413"/>
            </a:xfrm>
            <a:custGeom>
              <a:avLst/>
              <a:gdLst>
                <a:gd name="T0" fmla="*/ 134 w 4018"/>
                <a:gd name="T1" fmla="*/ 967 h 1101"/>
                <a:gd name="T2" fmla="*/ 3885 w 4018"/>
                <a:gd name="T3" fmla="*/ 967 h 1101"/>
                <a:gd name="T4" fmla="*/ 3885 w 4018"/>
                <a:gd name="T5" fmla="*/ 134 h 1101"/>
                <a:gd name="T6" fmla="*/ 134 w 4018"/>
                <a:gd name="T7" fmla="*/ 134 h 1101"/>
                <a:gd name="T8" fmla="*/ 134 w 4018"/>
                <a:gd name="T9" fmla="*/ 967 h 1101"/>
                <a:gd name="T10" fmla="*/ 3952 w 4018"/>
                <a:gd name="T11" fmla="*/ 1101 h 1101"/>
                <a:gd name="T12" fmla="*/ 67 w 4018"/>
                <a:gd name="T13" fmla="*/ 1101 h 1101"/>
                <a:gd name="T14" fmla="*/ 0 w 4018"/>
                <a:gd name="T15" fmla="*/ 1034 h 1101"/>
                <a:gd name="T16" fmla="*/ 0 w 4018"/>
                <a:gd name="T17" fmla="*/ 67 h 1101"/>
                <a:gd name="T18" fmla="*/ 67 w 4018"/>
                <a:gd name="T19" fmla="*/ 0 h 1101"/>
                <a:gd name="T20" fmla="*/ 3952 w 4018"/>
                <a:gd name="T21" fmla="*/ 0 h 1101"/>
                <a:gd name="T22" fmla="*/ 4018 w 4018"/>
                <a:gd name="T23" fmla="*/ 67 h 1101"/>
                <a:gd name="T24" fmla="*/ 4018 w 4018"/>
                <a:gd name="T25" fmla="*/ 1034 h 1101"/>
                <a:gd name="T26" fmla="*/ 3952 w 4018"/>
                <a:gd name="T27" fmla="*/ 1101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8" h="1101">
                  <a:moveTo>
                    <a:pt x="134" y="967"/>
                  </a:moveTo>
                  <a:lnTo>
                    <a:pt x="3885" y="967"/>
                  </a:lnTo>
                  <a:lnTo>
                    <a:pt x="3885" y="134"/>
                  </a:lnTo>
                  <a:lnTo>
                    <a:pt x="134" y="134"/>
                  </a:lnTo>
                  <a:lnTo>
                    <a:pt x="134" y="967"/>
                  </a:lnTo>
                  <a:close/>
                  <a:moveTo>
                    <a:pt x="3952" y="1101"/>
                  </a:moveTo>
                  <a:lnTo>
                    <a:pt x="67" y="1101"/>
                  </a:lnTo>
                  <a:cubicBezTo>
                    <a:pt x="30" y="1101"/>
                    <a:pt x="0" y="1071"/>
                    <a:pt x="0" y="1034"/>
                  </a:cubicBezTo>
                  <a:lnTo>
                    <a:pt x="0" y="67"/>
                  </a:lnTo>
                  <a:cubicBezTo>
                    <a:pt x="0" y="30"/>
                    <a:pt x="30" y="0"/>
                    <a:pt x="67" y="0"/>
                  </a:cubicBezTo>
                  <a:lnTo>
                    <a:pt x="3952" y="0"/>
                  </a:lnTo>
                  <a:cubicBezTo>
                    <a:pt x="3988" y="0"/>
                    <a:pt x="4018" y="30"/>
                    <a:pt x="4018" y="67"/>
                  </a:cubicBezTo>
                  <a:lnTo>
                    <a:pt x="4018" y="1034"/>
                  </a:lnTo>
                  <a:cubicBezTo>
                    <a:pt x="4018" y="1071"/>
                    <a:pt x="3988" y="1101"/>
                    <a:pt x="3952" y="110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2" name="Freeform 201">
              <a:extLst>
                <a:ext uri="{FF2B5EF4-FFF2-40B4-BE49-F238E27FC236}">
                  <a16:creationId xmlns:a16="http://schemas.microsoft.com/office/drawing/2014/main" id="{3248B194-2F58-4C0B-9FF1-2A924AC5953E}"/>
                </a:ext>
              </a:extLst>
            </p:cNvPr>
            <p:cNvSpPr>
              <a:spLocks noEditPoints="1"/>
            </p:cNvSpPr>
            <p:nvPr/>
          </p:nvSpPr>
          <p:spPr bwMode="auto">
            <a:xfrm>
              <a:off x="7053263" y="3813175"/>
              <a:ext cx="101600" cy="144463"/>
            </a:xfrm>
            <a:custGeom>
              <a:avLst/>
              <a:gdLst>
                <a:gd name="T0" fmla="*/ 133 w 900"/>
                <a:gd name="T1" fmla="*/ 1134 h 1267"/>
                <a:gd name="T2" fmla="*/ 767 w 900"/>
                <a:gd name="T3" fmla="*/ 1134 h 1267"/>
                <a:gd name="T4" fmla="*/ 767 w 900"/>
                <a:gd name="T5" fmla="*/ 133 h 1267"/>
                <a:gd name="T6" fmla="*/ 133 w 900"/>
                <a:gd name="T7" fmla="*/ 133 h 1267"/>
                <a:gd name="T8" fmla="*/ 133 w 900"/>
                <a:gd name="T9" fmla="*/ 1134 h 1267"/>
                <a:gd name="T10" fmla="*/ 833 w 900"/>
                <a:gd name="T11" fmla="*/ 1267 h 1267"/>
                <a:gd name="T12" fmla="*/ 67 w 900"/>
                <a:gd name="T13" fmla="*/ 1267 h 1267"/>
                <a:gd name="T14" fmla="*/ 0 w 900"/>
                <a:gd name="T15" fmla="*/ 1200 h 1267"/>
                <a:gd name="T16" fmla="*/ 0 w 900"/>
                <a:gd name="T17" fmla="*/ 66 h 1267"/>
                <a:gd name="T18" fmla="*/ 67 w 900"/>
                <a:gd name="T19" fmla="*/ 0 h 1267"/>
                <a:gd name="T20" fmla="*/ 833 w 900"/>
                <a:gd name="T21" fmla="*/ 0 h 1267"/>
                <a:gd name="T22" fmla="*/ 900 w 900"/>
                <a:gd name="T23" fmla="*/ 66 h 1267"/>
                <a:gd name="T24" fmla="*/ 900 w 900"/>
                <a:gd name="T25" fmla="*/ 1200 h 1267"/>
                <a:gd name="T26" fmla="*/ 833 w 900"/>
                <a:gd name="T27" fmla="*/ 1267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0" h="1267">
                  <a:moveTo>
                    <a:pt x="133" y="1134"/>
                  </a:moveTo>
                  <a:lnTo>
                    <a:pt x="767" y="1134"/>
                  </a:lnTo>
                  <a:lnTo>
                    <a:pt x="767" y="133"/>
                  </a:lnTo>
                  <a:lnTo>
                    <a:pt x="133" y="133"/>
                  </a:lnTo>
                  <a:lnTo>
                    <a:pt x="133" y="1134"/>
                  </a:lnTo>
                  <a:close/>
                  <a:moveTo>
                    <a:pt x="833" y="1267"/>
                  </a:moveTo>
                  <a:lnTo>
                    <a:pt x="67" y="1267"/>
                  </a:lnTo>
                  <a:cubicBezTo>
                    <a:pt x="30" y="1267"/>
                    <a:pt x="0" y="1237"/>
                    <a:pt x="0" y="1200"/>
                  </a:cubicBezTo>
                  <a:lnTo>
                    <a:pt x="0" y="66"/>
                  </a:lnTo>
                  <a:cubicBezTo>
                    <a:pt x="0" y="30"/>
                    <a:pt x="30" y="0"/>
                    <a:pt x="67" y="0"/>
                  </a:cubicBezTo>
                  <a:lnTo>
                    <a:pt x="833" y="0"/>
                  </a:lnTo>
                  <a:cubicBezTo>
                    <a:pt x="870" y="0"/>
                    <a:pt x="900" y="30"/>
                    <a:pt x="900" y="66"/>
                  </a:cubicBezTo>
                  <a:lnTo>
                    <a:pt x="900" y="1200"/>
                  </a:lnTo>
                  <a:cubicBezTo>
                    <a:pt x="900" y="1237"/>
                    <a:pt x="870" y="1267"/>
                    <a:pt x="833" y="126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3" name="Freeform 202">
              <a:extLst>
                <a:ext uri="{FF2B5EF4-FFF2-40B4-BE49-F238E27FC236}">
                  <a16:creationId xmlns:a16="http://schemas.microsoft.com/office/drawing/2014/main" id="{CC6B5AA1-B572-46C1-9744-1FC89369C418}"/>
                </a:ext>
              </a:extLst>
            </p:cNvPr>
            <p:cNvSpPr>
              <a:spLocks noEditPoints="1"/>
            </p:cNvSpPr>
            <p:nvPr/>
          </p:nvSpPr>
          <p:spPr bwMode="auto">
            <a:xfrm>
              <a:off x="7234238" y="3797300"/>
              <a:ext cx="98425" cy="160338"/>
            </a:xfrm>
            <a:custGeom>
              <a:avLst/>
              <a:gdLst>
                <a:gd name="T0" fmla="*/ 134 w 867"/>
                <a:gd name="T1" fmla="*/ 1268 h 1401"/>
                <a:gd name="T2" fmla="*/ 734 w 867"/>
                <a:gd name="T3" fmla="*/ 1268 h 1401"/>
                <a:gd name="T4" fmla="*/ 734 w 867"/>
                <a:gd name="T5" fmla="*/ 134 h 1401"/>
                <a:gd name="T6" fmla="*/ 134 w 867"/>
                <a:gd name="T7" fmla="*/ 134 h 1401"/>
                <a:gd name="T8" fmla="*/ 134 w 867"/>
                <a:gd name="T9" fmla="*/ 1268 h 1401"/>
                <a:gd name="T10" fmla="*/ 801 w 867"/>
                <a:gd name="T11" fmla="*/ 1401 h 1401"/>
                <a:gd name="T12" fmla="*/ 67 w 867"/>
                <a:gd name="T13" fmla="*/ 1401 h 1401"/>
                <a:gd name="T14" fmla="*/ 0 w 867"/>
                <a:gd name="T15" fmla="*/ 1334 h 1401"/>
                <a:gd name="T16" fmla="*/ 0 w 867"/>
                <a:gd name="T17" fmla="*/ 67 h 1401"/>
                <a:gd name="T18" fmla="*/ 67 w 867"/>
                <a:gd name="T19" fmla="*/ 0 h 1401"/>
                <a:gd name="T20" fmla="*/ 801 w 867"/>
                <a:gd name="T21" fmla="*/ 0 h 1401"/>
                <a:gd name="T22" fmla="*/ 867 w 867"/>
                <a:gd name="T23" fmla="*/ 67 h 1401"/>
                <a:gd name="T24" fmla="*/ 867 w 867"/>
                <a:gd name="T25" fmla="*/ 1334 h 1401"/>
                <a:gd name="T26" fmla="*/ 801 w 867"/>
                <a:gd name="T27" fmla="*/ 1401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7" h="1401">
                  <a:moveTo>
                    <a:pt x="134" y="1268"/>
                  </a:moveTo>
                  <a:lnTo>
                    <a:pt x="734" y="1268"/>
                  </a:lnTo>
                  <a:lnTo>
                    <a:pt x="734" y="134"/>
                  </a:lnTo>
                  <a:lnTo>
                    <a:pt x="134" y="134"/>
                  </a:lnTo>
                  <a:lnTo>
                    <a:pt x="134" y="1268"/>
                  </a:lnTo>
                  <a:close/>
                  <a:moveTo>
                    <a:pt x="801" y="1401"/>
                  </a:moveTo>
                  <a:lnTo>
                    <a:pt x="67" y="1401"/>
                  </a:lnTo>
                  <a:cubicBezTo>
                    <a:pt x="30" y="1401"/>
                    <a:pt x="0" y="1371"/>
                    <a:pt x="0" y="1334"/>
                  </a:cubicBezTo>
                  <a:lnTo>
                    <a:pt x="0" y="67"/>
                  </a:lnTo>
                  <a:cubicBezTo>
                    <a:pt x="0" y="30"/>
                    <a:pt x="30" y="0"/>
                    <a:pt x="67" y="0"/>
                  </a:cubicBezTo>
                  <a:lnTo>
                    <a:pt x="801" y="0"/>
                  </a:lnTo>
                  <a:cubicBezTo>
                    <a:pt x="837" y="0"/>
                    <a:pt x="867" y="30"/>
                    <a:pt x="867" y="67"/>
                  </a:cubicBezTo>
                  <a:lnTo>
                    <a:pt x="867" y="1334"/>
                  </a:lnTo>
                  <a:cubicBezTo>
                    <a:pt x="867" y="1371"/>
                    <a:pt x="837" y="1401"/>
                    <a:pt x="801" y="140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4" name="Freeform 203">
              <a:extLst>
                <a:ext uri="{FF2B5EF4-FFF2-40B4-BE49-F238E27FC236}">
                  <a16:creationId xmlns:a16="http://schemas.microsoft.com/office/drawing/2014/main" id="{00F82F15-93A5-4666-A77D-FBD7B0B42A5C}"/>
                </a:ext>
              </a:extLst>
            </p:cNvPr>
            <p:cNvSpPr>
              <a:spLocks noEditPoints="1"/>
            </p:cNvSpPr>
            <p:nvPr/>
          </p:nvSpPr>
          <p:spPr bwMode="auto">
            <a:xfrm>
              <a:off x="7359650" y="3843338"/>
              <a:ext cx="101600" cy="114300"/>
            </a:xfrm>
            <a:custGeom>
              <a:avLst/>
              <a:gdLst>
                <a:gd name="T0" fmla="*/ 133 w 900"/>
                <a:gd name="T1" fmla="*/ 868 h 1001"/>
                <a:gd name="T2" fmla="*/ 767 w 900"/>
                <a:gd name="T3" fmla="*/ 868 h 1001"/>
                <a:gd name="T4" fmla="*/ 767 w 900"/>
                <a:gd name="T5" fmla="*/ 134 h 1001"/>
                <a:gd name="T6" fmla="*/ 133 w 900"/>
                <a:gd name="T7" fmla="*/ 134 h 1001"/>
                <a:gd name="T8" fmla="*/ 133 w 900"/>
                <a:gd name="T9" fmla="*/ 868 h 1001"/>
                <a:gd name="T10" fmla="*/ 833 w 900"/>
                <a:gd name="T11" fmla="*/ 1001 h 1001"/>
                <a:gd name="T12" fmla="*/ 66 w 900"/>
                <a:gd name="T13" fmla="*/ 1001 h 1001"/>
                <a:gd name="T14" fmla="*/ 0 w 900"/>
                <a:gd name="T15" fmla="*/ 934 h 1001"/>
                <a:gd name="T16" fmla="*/ 0 w 900"/>
                <a:gd name="T17" fmla="*/ 67 h 1001"/>
                <a:gd name="T18" fmla="*/ 66 w 900"/>
                <a:gd name="T19" fmla="*/ 0 h 1001"/>
                <a:gd name="T20" fmla="*/ 833 w 900"/>
                <a:gd name="T21" fmla="*/ 0 h 1001"/>
                <a:gd name="T22" fmla="*/ 900 w 900"/>
                <a:gd name="T23" fmla="*/ 67 h 1001"/>
                <a:gd name="T24" fmla="*/ 900 w 900"/>
                <a:gd name="T25" fmla="*/ 934 h 1001"/>
                <a:gd name="T26" fmla="*/ 833 w 900"/>
                <a:gd name="T27" fmla="*/ 1001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0" h="1001">
                  <a:moveTo>
                    <a:pt x="133" y="868"/>
                  </a:moveTo>
                  <a:lnTo>
                    <a:pt x="767" y="868"/>
                  </a:lnTo>
                  <a:lnTo>
                    <a:pt x="767" y="134"/>
                  </a:lnTo>
                  <a:lnTo>
                    <a:pt x="133" y="134"/>
                  </a:lnTo>
                  <a:lnTo>
                    <a:pt x="133" y="868"/>
                  </a:lnTo>
                  <a:close/>
                  <a:moveTo>
                    <a:pt x="833" y="1001"/>
                  </a:moveTo>
                  <a:lnTo>
                    <a:pt x="66" y="1001"/>
                  </a:lnTo>
                  <a:cubicBezTo>
                    <a:pt x="30" y="1001"/>
                    <a:pt x="0" y="971"/>
                    <a:pt x="0" y="934"/>
                  </a:cubicBezTo>
                  <a:lnTo>
                    <a:pt x="0" y="67"/>
                  </a:lnTo>
                  <a:cubicBezTo>
                    <a:pt x="0" y="30"/>
                    <a:pt x="30" y="0"/>
                    <a:pt x="66" y="0"/>
                  </a:cubicBezTo>
                  <a:lnTo>
                    <a:pt x="833" y="0"/>
                  </a:lnTo>
                  <a:cubicBezTo>
                    <a:pt x="870" y="0"/>
                    <a:pt x="900" y="30"/>
                    <a:pt x="900" y="67"/>
                  </a:cubicBezTo>
                  <a:lnTo>
                    <a:pt x="900" y="934"/>
                  </a:lnTo>
                  <a:cubicBezTo>
                    <a:pt x="900" y="971"/>
                    <a:pt x="870" y="1001"/>
                    <a:pt x="833" y="100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5" name="Freeform 204">
              <a:extLst>
                <a:ext uri="{FF2B5EF4-FFF2-40B4-BE49-F238E27FC236}">
                  <a16:creationId xmlns:a16="http://schemas.microsoft.com/office/drawing/2014/main" id="{F04F4A55-A792-4EC5-A6D5-78E2A96F6CCE}"/>
                </a:ext>
              </a:extLst>
            </p:cNvPr>
            <p:cNvSpPr>
              <a:spLocks/>
            </p:cNvSpPr>
            <p:nvPr/>
          </p:nvSpPr>
          <p:spPr bwMode="auto">
            <a:xfrm>
              <a:off x="7032625" y="3702050"/>
              <a:ext cx="80963" cy="125413"/>
            </a:xfrm>
            <a:custGeom>
              <a:avLst/>
              <a:gdLst>
                <a:gd name="T0" fmla="*/ 243 w 723"/>
                <a:gd name="T1" fmla="*/ 1106 h 1106"/>
                <a:gd name="T2" fmla="*/ 116 w 723"/>
                <a:gd name="T3" fmla="*/ 1062 h 1106"/>
                <a:gd name="T4" fmla="*/ 0 w 723"/>
                <a:gd name="T5" fmla="*/ 789 h 1106"/>
                <a:gd name="T6" fmla="*/ 419 w 723"/>
                <a:gd name="T7" fmla="*/ 218 h 1106"/>
                <a:gd name="T8" fmla="*/ 589 w 723"/>
                <a:gd name="T9" fmla="*/ 65 h 1106"/>
                <a:gd name="T10" fmla="*/ 656 w 723"/>
                <a:gd name="T11" fmla="*/ 0 h 1106"/>
                <a:gd name="T12" fmla="*/ 656 w 723"/>
                <a:gd name="T13" fmla="*/ 0 h 1106"/>
                <a:gd name="T14" fmla="*/ 723 w 723"/>
                <a:gd name="T15" fmla="*/ 66 h 1106"/>
                <a:gd name="T16" fmla="*/ 499 w 723"/>
                <a:gd name="T17" fmla="*/ 324 h 1106"/>
                <a:gd name="T18" fmla="*/ 134 w 723"/>
                <a:gd name="T19" fmla="*/ 789 h 1106"/>
                <a:gd name="T20" fmla="*/ 244 w 723"/>
                <a:gd name="T21" fmla="*/ 972 h 1106"/>
                <a:gd name="T22" fmla="*/ 244 w 723"/>
                <a:gd name="T23" fmla="*/ 972 h 1106"/>
                <a:gd name="T24" fmla="*/ 311 w 723"/>
                <a:gd name="T25" fmla="*/ 1039 h 1106"/>
                <a:gd name="T26" fmla="*/ 243 w 723"/>
                <a:gd name="T27" fmla="*/ 1106 h 1106"/>
                <a:gd name="T28" fmla="*/ 243 w 723"/>
                <a:gd name="T29" fmla="*/ 1106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3" h="1106">
                  <a:moveTo>
                    <a:pt x="243" y="1106"/>
                  </a:moveTo>
                  <a:cubicBezTo>
                    <a:pt x="236" y="1106"/>
                    <a:pt x="176" y="1104"/>
                    <a:pt x="116" y="1062"/>
                  </a:cubicBezTo>
                  <a:cubicBezTo>
                    <a:pt x="63" y="1024"/>
                    <a:pt x="0" y="946"/>
                    <a:pt x="0" y="789"/>
                  </a:cubicBezTo>
                  <a:cubicBezTo>
                    <a:pt x="0" y="534"/>
                    <a:pt x="242" y="351"/>
                    <a:pt x="419" y="218"/>
                  </a:cubicBezTo>
                  <a:cubicBezTo>
                    <a:pt x="488" y="166"/>
                    <a:pt x="582" y="95"/>
                    <a:pt x="589" y="65"/>
                  </a:cubicBezTo>
                  <a:cubicBezTo>
                    <a:pt x="590" y="29"/>
                    <a:pt x="619" y="0"/>
                    <a:pt x="656" y="0"/>
                  </a:cubicBezTo>
                  <a:lnTo>
                    <a:pt x="656" y="0"/>
                  </a:lnTo>
                  <a:cubicBezTo>
                    <a:pt x="693" y="0"/>
                    <a:pt x="723" y="30"/>
                    <a:pt x="723" y="66"/>
                  </a:cubicBezTo>
                  <a:cubicBezTo>
                    <a:pt x="723" y="156"/>
                    <a:pt x="629" y="226"/>
                    <a:pt x="499" y="324"/>
                  </a:cubicBezTo>
                  <a:cubicBezTo>
                    <a:pt x="336" y="447"/>
                    <a:pt x="133" y="601"/>
                    <a:pt x="134" y="789"/>
                  </a:cubicBezTo>
                  <a:cubicBezTo>
                    <a:pt x="134" y="959"/>
                    <a:pt x="226" y="971"/>
                    <a:pt x="244" y="972"/>
                  </a:cubicBezTo>
                  <a:lnTo>
                    <a:pt x="244" y="972"/>
                  </a:lnTo>
                  <a:cubicBezTo>
                    <a:pt x="281" y="972"/>
                    <a:pt x="311" y="1002"/>
                    <a:pt x="311" y="1039"/>
                  </a:cubicBezTo>
                  <a:cubicBezTo>
                    <a:pt x="311" y="1076"/>
                    <a:pt x="280" y="1106"/>
                    <a:pt x="243" y="1106"/>
                  </a:cubicBezTo>
                  <a:lnTo>
                    <a:pt x="243" y="1106"/>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6" name="Freeform 206">
              <a:extLst>
                <a:ext uri="{FF2B5EF4-FFF2-40B4-BE49-F238E27FC236}">
                  <a16:creationId xmlns:a16="http://schemas.microsoft.com/office/drawing/2014/main" id="{F58C2E91-33F0-4A00-9535-01856D359A42}"/>
                </a:ext>
              </a:extLst>
            </p:cNvPr>
            <p:cNvSpPr>
              <a:spLocks/>
            </p:cNvSpPr>
            <p:nvPr/>
          </p:nvSpPr>
          <p:spPr bwMode="auto">
            <a:xfrm>
              <a:off x="7096126" y="3702050"/>
              <a:ext cx="82550" cy="125413"/>
            </a:xfrm>
            <a:custGeom>
              <a:avLst/>
              <a:gdLst>
                <a:gd name="T0" fmla="*/ 479 w 723"/>
                <a:gd name="T1" fmla="*/ 1105 h 1105"/>
                <a:gd name="T2" fmla="*/ 479 w 723"/>
                <a:gd name="T3" fmla="*/ 1105 h 1105"/>
                <a:gd name="T4" fmla="*/ 413 w 723"/>
                <a:gd name="T5" fmla="*/ 1039 h 1105"/>
                <a:gd name="T6" fmla="*/ 479 w 723"/>
                <a:gd name="T7" fmla="*/ 972 h 1105"/>
                <a:gd name="T8" fmla="*/ 479 w 723"/>
                <a:gd name="T9" fmla="*/ 972 h 1105"/>
                <a:gd name="T10" fmla="*/ 589 w 723"/>
                <a:gd name="T11" fmla="*/ 789 h 1105"/>
                <a:gd name="T12" fmla="*/ 223 w 723"/>
                <a:gd name="T13" fmla="*/ 324 h 1105"/>
                <a:gd name="T14" fmla="*/ 0 w 723"/>
                <a:gd name="T15" fmla="*/ 66 h 1105"/>
                <a:gd name="T16" fmla="*/ 67 w 723"/>
                <a:gd name="T17" fmla="*/ 0 h 1105"/>
                <a:gd name="T18" fmla="*/ 67 w 723"/>
                <a:gd name="T19" fmla="*/ 0 h 1105"/>
                <a:gd name="T20" fmla="*/ 133 w 723"/>
                <a:gd name="T21" fmla="*/ 65 h 1105"/>
                <a:gd name="T22" fmla="*/ 304 w 723"/>
                <a:gd name="T23" fmla="*/ 218 h 1105"/>
                <a:gd name="T24" fmla="*/ 723 w 723"/>
                <a:gd name="T25" fmla="*/ 789 h 1105"/>
                <a:gd name="T26" fmla="*/ 606 w 723"/>
                <a:gd name="T27" fmla="*/ 1062 h 1105"/>
                <a:gd name="T28" fmla="*/ 479 w 723"/>
                <a:gd name="T29" fmla="*/ 1105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3" h="1105">
                  <a:moveTo>
                    <a:pt x="479" y="1105"/>
                  </a:moveTo>
                  <a:lnTo>
                    <a:pt x="479" y="1105"/>
                  </a:lnTo>
                  <a:cubicBezTo>
                    <a:pt x="443" y="1105"/>
                    <a:pt x="413" y="1076"/>
                    <a:pt x="413" y="1039"/>
                  </a:cubicBezTo>
                  <a:cubicBezTo>
                    <a:pt x="413" y="1002"/>
                    <a:pt x="443" y="972"/>
                    <a:pt x="479" y="972"/>
                  </a:cubicBezTo>
                  <a:lnTo>
                    <a:pt x="479" y="972"/>
                  </a:lnTo>
                  <a:cubicBezTo>
                    <a:pt x="497" y="972"/>
                    <a:pt x="589" y="959"/>
                    <a:pt x="589" y="789"/>
                  </a:cubicBezTo>
                  <a:cubicBezTo>
                    <a:pt x="589" y="601"/>
                    <a:pt x="386" y="447"/>
                    <a:pt x="223" y="324"/>
                  </a:cubicBezTo>
                  <a:cubicBezTo>
                    <a:pt x="94" y="226"/>
                    <a:pt x="0" y="155"/>
                    <a:pt x="0" y="66"/>
                  </a:cubicBezTo>
                  <a:cubicBezTo>
                    <a:pt x="0" y="29"/>
                    <a:pt x="30" y="0"/>
                    <a:pt x="67" y="0"/>
                  </a:cubicBezTo>
                  <a:lnTo>
                    <a:pt x="67" y="0"/>
                  </a:lnTo>
                  <a:cubicBezTo>
                    <a:pt x="103" y="0"/>
                    <a:pt x="133" y="29"/>
                    <a:pt x="133" y="65"/>
                  </a:cubicBezTo>
                  <a:cubicBezTo>
                    <a:pt x="141" y="95"/>
                    <a:pt x="235" y="166"/>
                    <a:pt x="304" y="218"/>
                  </a:cubicBezTo>
                  <a:cubicBezTo>
                    <a:pt x="480" y="351"/>
                    <a:pt x="723" y="534"/>
                    <a:pt x="723" y="789"/>
                  </a:cubicBezTo>
                  <a:cubicBezTo>
                    <a:pt x="723" y="946"/>
                    <a:pt x="659" y="1024"/>
                    <a:pt x="606" y="1062"/>
                  </a:cubicBezTo>
                  <a:cubicBezTo>
                    <a:pt x="547" y="1104"/>
                    <a:pt x="486" y="1105"/>
                    <a:pt x="479" y="1105"/>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7" name="Freeform 207">
              <a:extLst>
                <a:ext uri="{FF2B5EF4-FFF2-40B4-BE49-F238E27FC236}">
                  <a16:creationId xmlns:a16="http://schemas.microsoft.com/office/drawing/2014/main" id="{F0961AEF-F95D-4399-B758-11154CA0D22F}"/>
                </a:ext>
              </a:extLst>
            </p:cNvPr>
            <p:cNvSpPr>
              <a:spLocks/>
            </p:cNvSpPr>
            <p:nvPr/>
          </p:nvSpPr>
          <p:spPr bwMode="auto">
            <a:xfrm>
              <a:off x="7212013" y="3529013"/>
              <a:ext cx="31750" cy="42863"/>
            </a:xfrm>
            <a:custGeom>
              <a:avLst/>
              <a:gdLst>
                <a:gd name="T0" fmla="*/ 110 w 278"/>
                <a:gd name="T1" fmla="*/ 372 h 372"/>
                <a:gd name="T2" fmla="*/ 0 w 278"/>
                <a:gd name="T3" fmla="*/ 244 h 372"/>
                <a:gd name="T4" fmla="*/ 123 w 278"/>
                <a:gd name="T5" fmla="*/ 64 h 372"/>
                <a:gd name="T6" fmla="*/ 149 w 278"/>
                <a:gd name="T7" fmla="*/ 43 h 372"/>
                <a:gd name="T8" fmla="*/ 211 w 278"/>
                <a:gd name="T9" fmla="*/ 0 h 372"/>
                <a:gd name="T10" fmla="*/ 211 w 278"/>
                <a:gd name="T11" fmla="*/ 0 h 372"/>
                <a:gd name="T12" fmla="*/ 278 w 278"/>
                <a:gd name="T13" fmla="*/ 66 h 372"/>
                <a:gd name="T14" fmla="*/ 203 w 278"/>
                <a:gd name="T15" fmla="*/ 170 h 372"/>
                <a:gd name="T16" fmla="*/ 134 w 278"/>
                <a:gd name="T17" fmla="*/ 243 h 372"/>
                <a:gd name="T18" fmla="*/ 177 w 278"/>
                <a:gd name="T19" fmla="*/ 305 h 372"/>
                <a:gd name="T20" fmla="*/ 110 w 278"/>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2">
                  <a:moveTo>
                    <a:pt x="110" y="372"/>
                  </a:moveTo>
                  <a:cubicBezTo>
                    <a:pt x="68" y="372"/>
                    <a:pt x="0" y="337"/>
                    <a:pt x="0" y="244"/>
                  </a:cubicBezTo>
                  <a:cubicBezTo>
                    <a:pt x="0" y="156"/>
                    <a:pt x="74" y="100"/>
                    <a:pt x="123" y="64"/>
                  </a:cubicBezTo>
                  <a:cubicBezTo>
                    <a:pt x="131" y="57"/>
                    <a:pt x="142" y="49"/>
                    <a:pt x="149" y="43"/>
                  </a:cubicBezTo>
                  <a:cubicBezTo>
                    <a:pt x="158" y="18"/>
                    <a:pt x="183" y="0"/>
                    <a:pt x="211" y="0"/>
                  </a:cubicBezTo>
                  <a:lnTo>
                    <a:pt x="211" y="0"/>
                  </a:lnTo>
                  <a:cubicBezTo>
                    <a:pt x="248" y="0"/>
                    <a:pt x="278" y="30"/>
                    <a:pt x="278" y="66"/>
                  </a:cubicBezTo>
                  <a:cubicBezTo>
                    <a:pt x="278" y="113"/>
                    <a:pt x="242" y="141"/>
                    <a:pt x="203" y="170"/>
                  </a:cubicBezTo>
                  <a:cubicBezTo>
                    <a:pt x="179" y="188"/>
                    <a:pt x="135" y="221"/>
                    <a:pt x="134" y="243"/>
                  </a:cubicBezTo>
                  <a:cubicBezTo>
                    <a:pt x="159" y="252"/>
                    <a:pt x="177" y="277"/>
                    <a:pt x="177" y="305"/>
                  </a:cubicBezTo>
                  <a:cubicBezTo>
                    <a:pt x="177" y="342"/>
                    <a:pt x="147" y="372"/>
                    <a:pt x="110" y="37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8" name="Freeform 208">
              <a:extLst>
                <a:ext uri="{FF2B5EF4-FFF2-40B4-BE49-F238E27FC236}">
                  <a16:creationId xmlns:a16="http://schemas.microsoft.com/office/drawing/2014/main" id="{92540EBA-7047-444C-B929-A1F0FA5602D4}"/>
                </a:ext>
              </a:extLst>
            </p:cNvPr>
            <p:cNvSpPr>
              <a:spLocks/>
            </p:cNvSpPr>
            <p:nvPr/>
          </p:nvSpPr>
          <p:spPr bwMode="auto">
            <a:xfrm>
              <a:off x="7227888" y="3529013"/>
              <a:ext cx="31750" cy="42863"/>
            </a:xfrm>
            <a:custGeom>
              <a:avLst/>
              <a:gdLst>
                <a:gd name="T0" fmla="*/ 168 w 278"/>
                <a:gd name="T1" fmla="*/ 372 h 372"/>
                <a:gd name="T2" fmla="*/ 101 w 278"/>
                <a:gd name="T3" fmla="*/ 305 h 372"/>
                <a:gd name="T4" fmla="*/ 145 w 278"/>
                <a:gd name="T5" fmla="*/ 243 h 372"/>
                <a:gd name="T6" fmla="*/ 75 w 278"/>
                <a:gd name="T7" fmla="*/ 170 h 372"/>
                <a:gd name="T8" fmla="*/ 0 w 278"/>
                <a:gd name="T9" fmla="*/ 67 h 372"/>
                <a:gd name="T10" fmla="*/ 67 w 278"/>
                <a:gd name="T11" fmla="*/ 0 h 372"/>
                <a:gd name="T12" fmla="*/ 129 w 278"/>
                <a:gd name="T13" fmla="*/ 43 h 372"/>
                <a:gd name="T14" fmla="*/ 155 w 278"/>
                <a:gd name="T15" fmla="*/ 64 h 372"/>
                <a:gd name="T16" fmla="*/ 278 w 278"/>
                <a:gd name="T17" fmla="*/ 244 h 372"/>
                <a:gd name="T18" fmla="*/ 168 w 278"/>
                <a:gd name="T19"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372">
                  <a:moveTo>
                    <a:pt x="168" y="372"/>
                  </a:moveTo>
                  <a:cubicBezTo>
                    <a:pt x="131" y="372"/>
                    <a:pt x="101" y="342"/>
                    <a:pt x="101" y="305"/>
                  </a:cubicBezTo>
                  <a:cubicBezTo>
                    <a:pt x="101" y="277"/>
                    <a:pt x="119" y="252"/>
                    <a:pt x="145" y="243"/>
                  </a:cubicBezTo>
                  <a:cubicBezTo>
                    <a:pt x="143" y="222"/>
                    <a:pt x="99" y="188"/>
                    <a:pt x="75" y="170"/>
                  </a:cubicBezTo>
                  <a:cubicBezTo>
                    <a:pt x="37" y="141"/>
                    <a:pt x="0" y="114"/>
                    <a:pt x="0" y="67"/>
                  </a:cubicBezTo>
                  <a:cubicBezTo>
                    <a:pt x="0" y="30"/>
                    <a:pt x="30" y="0"/>
                    <a:pt x="67" y="0"/>
                  </a:cubicBezTo>
                  <a:cubicBezTo>
                    <a:pt x="95" y="0"/>
                    <a:pt x="120" y="18"/>
                    <a:pt x="129" y="43"/>
                  </a:cubicBezTo>
                  <a:cubicBezTo>
                    <a:pt x="136" y="49"/>
                    <a:pt x="147" y="57"/>
                    <a:pt x="155" y="64"/>
                  </a:cubicBezTo>
                  <a:cubicBezTo>
                    <a:pt x="204" y="100"/>
                    <a:pt x="278" y="156"/>
                    <a:pt x="278" y="244"/>
                  </a:cubicBezTo>
                  <a:cubicBezTo>
                    <a:pt x="278" y="337"/>
                    <a:pt x="211" y="372"/>
                    <a:pt x="168" y="37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49" name="Freeform 209">
              <a:extLst>
                <a:ext uri="{FF2B5EF4-FFF2-40B4-BE49-F238E27FC236}">
                  <a16:creationId xmlns:a16="http://schemas.microsoft.com/office/drawing/2014/main" id="{33D6A3C1-A50A-4A6F-9657-E8D43223C16A}"/>
                </a:ext>
              </a:extLst>
            </p:cNvPr>
            <p:cNvSpPr>
              <a:spLocks/>
            </p:cNvSpPr>
            <p:nvPr/>
          </p:nvSpPr>
          <p:spPr bwMode="auto">
            <a:xfrm>
              <a:off x="7215188" y="3692525"/>
              <a:ext cx="79375" cy="119063"/>
            </a:xfrm>
            <a:custGeom>
              <a:avLst/>
              <a:gdLst>
                <a:gd name="T0" fmla="*/ 234 w 692"/>
                <a:gd name="T1" fmla="*/ 1056 h 1056"/>
                <a:gd name="T2" fmla="*/ 112 w 692"/>
                <a:gd name="T3" fmla="*/ 1014 h 1056"/>
                <a:gd name="T4" fmla="*/ 0 w 692"/>
                <a:gd name="T5" fmla="*/ 752 h 1056"/>
                <a:gd name="T6" fmla="*/ 399 w 692"/>
                <a:gd name="T7" fmla="*/ 208 h 1056"/>
                <a:gd name="T8" fmla="*/ 559 w 692"/>
                <a:gd name="T9" fmla="*/ 65 h 1056"/>
                <a:gd name="T10" fmla="*/ 626 w 692"/>
                <a:gd name="T11" fmla="*/ 0 h 1056"/>
                <a:gd name="T12" fmla="*/ 626 w 692"/>
                <a:gd name="T13" fmla="*/ 0 h 1056"/>
                <a:gd name="T14" fmla="*/ 692 w 692"/>
                <a:gd name="T15" fmla="*/ 67 h 1056"/>
                <a:gd name="T16" fmla="*/ 479 w 692"/>
                <a:gd name="T17" fmla="*/ 314 h 1056"/>
                <a:gd name="T18" fmla="*/ 134 w 692"/>
                <a:gd name="T19" fmla="*/ 752 h 1056"/>
                <a:gd name="T20" fmla="*/ 235 w 692"/>
                <a:gd name="T21" fmla="*/ 923 h 1056"/>
                <a:gd name="T22" fmla="*/ 235 w 692"/>
                <a:gd name="T23" fmla="*/ 923 h 1056"/>
                <a:gd name="T24" fmla="*/ 301 w 692"/>
                <a:gd name="T25" fmla="*/ 990 h 1056"/>
                <a:gd name="T26" fmla="*/ 234 w 692"/>
                <a:gd name="T27" fmla="*/ 1056 h 1056"/>
                <a:gd name="T28" fmla="*/ 234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234" y="1056"/>
                  </a:moveTo>
                  <a:cubicBezTo>
                    <a:pt x="228" y="1056"/>
                    <a:pt x="170" y="1055"/>
                    <a:pt x="112" y="1014"/>
                  </a:cubicBezTo>
                  <a:cubicBezTo>
                    <a:pt x="61" y="978"/>
                    <a:pt x="0" y="903"/>
                    <a:pt x="0" y="752"/>
                  </a:cubicBezTo>
                  <a:cubicBezTo>
                    <a:pt x="0" y="509"/>
                    <a:pt x="231" y="335"/>
                    <a:pt x="399" y="208"/>
                  </a:cubicBezTo>
                  <a:cubicBezTo>
                    <a:pt x="463" y="160"/>
                    <a:pt x="550" y="94"/>
                    <a:pt x="559" y="65"/>
                  </a:cubicBezTo>
                  <a:cubicBezTo>
                    <a:pt x="560" y="29"/>
                    <a:pt x="589" y="0"/>
                    <a:pt x="626" y="0"/>
                  </a:cubicBezTo>
                  <a:lnTo>
                    <a:pt x="626" y="0"/>
                  </a:lnTo>
                  <a:cubicBezTo>
                    <a:pt x="662" y="0"/>
                    <a:pt x="692" y="30"/>
                    <a:pt x="692" y="67"/>
                  </a:cubicBezTo>
                  <a:cubicBezTo>
                    <a:pt x="692" y="153"/>
                    <a:pt x="603" y="221"/>
                    <a:pt x="479" y="314"/>
                  </a:cubicBezTo>
                  <a:cubicBezTo>
                    <a:pt x="325" y="431"/>
                    <a:pt x="134" y="575"/>
                    <a:pt x="134" y="752"/>
                  </a:cubicBezTo>
                  <a:cubicBezTo>
                    <a:pt x="134" y="911"/>
                    <a:pt x="218" y="922"/>
                    <a:pt x="235" y="923"/>
                  </a:cubicBezTo>
                  <a:lnTo>
                    <a:pt x="235" y="923"/>
                  </a:lnTo>
                  <a:cubicBezTo>
                    <a:pt x="272" y="923"/>
                    <a:pt x="301" y="953"/>
                    <a:pt x="301" y="990"/>
                  </a:cubicBezTo>
                  <a:cubicBezTo>
                    <a:pt x="301" y="1026"/>
                    <a:pt x="271" y="1056"/>
                    <a:pt x="234" y="1056"/>
                  </a:cubicBezTo>
                  <a:lnTo>
                    <a:pt x="234" y="1056"/>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0" name="Freeform 210">
              <a:extLst>
                <a:ext uri="{FF2B5EF4-FFF2-40B4-BE49-F238E27FC236}">
                  <a16:creationId xmlns:a16="http://schemas.microsoft.com/office/drawing/2014/main" id="{C2FEF393-6EFB-4530-8897-D9709D44ABB8}"/>
                </a:ext>
              </a:extLst>
            </p:cNvPr>
            <p:cNvSpPr>
              <a:spLocks/>
            </p:cNvSpPr>
            <p:nvPr/>
          </p:nvSpPr>
          <p:spPr bwMode="auto">
            <a:xfrm>
              <a:off x="7277101" y="3692525"/>
              <a:ext cx="77788" cy="119063"/>
            </a:xfrm>
            <a:custGeom>
              <a:avLst/>
              <a:gdLst>
                <a:gd name="T0" fmla="*/ 458 w 692"/>
                <a:gd name="T1" fmla="*/ 1056 h 1056"/>
                <a:gd name="T2" fmla="*/ 458 w 692"/>
                <a:gd name="T3" fmla="*/ 1056 h 1056"/>
                <a:gd name="T4" fmla="*/ 392 w 692"/>
                <a:gd name="T5" fmla="*/ 989 h 1056"/>
                <a:gd name="T6" fmla="*/ 458 w 692"/>
                <a:gd name="T7" fmla="*/ 923 h 1056"/>
                <a:gd name="T8" fmla="*/ 458 w 692"/>
                <a:gd name="T9" fmla="*/ 923 h 1056"/>
                <a:gd name="T10" fmla="*/ 559 w 692"/>
                <a:gd name="T11" fmla="*/ 752 h 1056"/>
                <a:gd name="T12" fmla="*/ 213 w 692"/>
                <a:gd name="T13" fmla="*/ 314 h 1056"/>
                <a:gd name="T14" fmla="*/ 0 w 692"/>
                <a:gd name="T15" fmla="*/ 67 h 1056"/>
                <a:gd name="T16" fmla="*/ 67 w 692"/>
                <a:gd name="T17" fmla="*/ 0 h 1056"/>
                <a:gd name="T18" fmla="*/ 67 w 692"/>
                <a:gd name="T19" fmla="*/ 0 h 1056"/>
                <a:gd name="T20" fmla="*/ 133 w 692"/>
                <a:gd name="T21" fmla="*/ 65 h 1056"/>
                <a:gd name="T22" fmla="*/ 293 w 692"/>
                <a:gd name="T23" fmla="*/ 208 h 1056"/>
                <a:gd name="T24" fmla="*/ 692 w 692"/>
                <a:gd name="T25" fmla="*/ 752 h 1056"/>
                <a:gd name="T26" fmla="*/ 581 w 692"/>
                <a:gd name="T27" fmla="*/ 1014 h 1056"/>
                <a:gd name="T28" fmla="*/ 458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458" y="1056"/>
                  </a:moveTo>
                  <a:lnTo>
                    <a:pt x="458" y="1056"/>
                  </a:lnTo>
                  <a:cubicBezTo>
                    <a:pt x="422" y="1056"/>
                    <a:pt x="392" y="1026"/>
                    <a:pt x="392" y="989"/>
                  </a:cubicBezTo>
                  <a:cubicBezTo>
                    <a:pt x="392" y="953"/>
                    <a:pt x="422" y="923"/>
                    <a:pt x="458" y="923"/>
                  </a:cubicBezTo>
                  <a:lnTo>
                    <a:pt x="458" y="923"/>
                  </a:lnTo>
                  <a:cubicBezTo>
                    <a:pt x="474" y="922"/>
                    <a:pt x="559" y="910"/>
                    <a:pt x="559" y="752"/>
                  </a:cubicBezTo>
                  <a:cubicBezTo>
                    <a:pt x="559" y="575"/>
                    <a:pt x="367" y="431"/>
                    <a:pt x="213" y="314"/>
                  </a:cubicBezTo>
                  <a:cubicBezTo>
                    <a:pt x="90" y="221"/>
                    <a:pt x="0" y="153"/>
                    <a:pt x="0" y="67"/>
                  </a:cubicBezTo>
                  <a:cubicBezTo>
                    <a:pt x="0" y="30"/>
                    <a:pt x="30" y="0"/>
                    <a:pt x="67" y="0"/>
                  </a:cubicBezTo>
                  <a:lnTo>
                    <a:pt x="67" y="0"/>
                  </a:lnTo>
                  <a:cubicBezTo>
                    <a:pt x="103" y="0"/>
                    <a:pt x="132" y="29"/>
                    <a:pt x="133" y="65"/>
                  </a:cubicBezTo>
                  <a:cubicBezTo>
                    <a:pt x="142" y="93"/>
                    <a:pt x="230" y="159"/>
                    <a:pt x="293" y="208"/>
                  </a:cubicBezTo>
                  <a:cubicBezTo>
                    <a:pt x="462" y="335"/>
                    <a:pt x="692" y="509"/>
                    <a:pt x="692" y="752"/>
                  </a:cubicBezTo>
                  <a:cubicBezTo>
                    <a:pt x="692" y="903"/>
                    <a:pt x="631" y="978"/>
                    <a:pt x="581" y="1014"/>
                  </a:cubicBezTo>
                  <a:cubicBezTo>
                    <a:pt x="523" y="1055"/>
                    <a:pt x="465" y="1056"/>
                    <a:pt x="458" y="1056"/>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1" name="Freeform 211">
              <a:extLst>
                <a:ext uri="{FF2B5EF4-FFF2-40B4-BE49-F238E27FC236}">
                  <a16:creationId xmlns:a16="http://schemas.microsoft.com/office/drawing/2014/main" id="{1E50A28F-3642-4737-ABB5-C241AACEE070}"/>
                </a:ext>
              </a:extLst>
            </p:cNvPr>
            <p:cNvSpPr>
              <a:spLocks noEditPoints="1"/>
            </p:cNvSpPr>
            <p:nvPr/>
          </p:nvSpPr>
          <p:spPr bwMode="auto">
            <a:xfrm>
              <a:off x="7146926" y="3805238"/>
              <a:ext cx="100013" cy="87313"/>
            </a:xfrm>
            <a:custGeom>
              <a:avLst/>
              <a:gdLst>
                <a:gd name="T0" fmla="*/ 183 w 879"/>
                <a:gd name="T1" fmla="*/ 638 h 771"/>
                <a:gd name="T2" fmla="*/ 695 w 879"/>
                <a:gd name="T3" fmla="*/ 638 h 771"/>
                <a:gd name="T4" fmla="*/ 745 w 879"/>
                <a:gd name="T5" fmla="*/ 538 h 771"/>
                <a:gd name="T6" fmla="*/ 519 w 879"/>
                <a:gd name="T7" fmla="*/ 255 h 771"/>
                <a:gd name="T8" fmla="*/ 438 w 879"/>
                <a:gd name="T9" fmla="*/ 191 h 771"/>
                <a:gd name="T10" fmla="*/ 360 w 879"/>
                <a:gd name="T11" fmla="*/ 253 h 771"/>
                <a:gd name="T12" fmla="*/ 133 w 879"/>
                <a:gd name="T13" fmla="*/ 538 h 771"/>
                <a:gd name="T14" fmla="*/ 183 w 879"/>
                <a:gd name="T15" fmla="*/ 638 h 771"/>
                <a:gd name="T16" fmla="*/ 699 w 879"/>
                <a:gd name="T17" fmla="*/ 771 h 771"/>
                <a:gd name="T18" fmla="*/ 181 w 879"/>
                <a:gd name="T19" fmla="*/ 771 h 771"/>
                <a:gd name="T20" fmla="*/ 177 w 879"/>
                <a:gd name="T21" fmla="*/ 771 h 771"/>
                <a:gd name="T22" fmla="*/ 0 w 879"/>
                <a:gd name="T23" fmla="*/ 538 h 771"/>
                <a:gd name="T24" fmla="*/ 279 w 879"/>
                <a:gd name="T25" fmla="*/ 147 h 771"/>
                <a:gd name="T26" fmla="*/ 366 w 879"/>
                <a:gd name="T27" fmla="*/ 76 h 771"/>
                <a:gd name="T28" fmla="*/ 366 w 879"/>
                <a:gd name="T29" fmla="*/ 69 h 771"/>
                <a:gd name="T30" fmla="*/ 427 w 879"/>
                <a:gd name="T31" fmla="*/ 3 h 771"/>
                <a:gd name="T32" fmla="*/ 447 w 879"/>
                <a:gd name="T33" fmla="*/ 0 h 771"/>
                <a:gd name="T34" fmla="*/ 447 w 879"/>
                <a:gd name="T35" fmla="*/ 0 h 771"/>
                <a:gd name="T36" fmla="*/ 513 w 879"/>
                <a:gd name="T37" fmla="*/ 67 h 771"/>
                <a:gd name="T38" fmla="*/ 513 w 879"/>
                <a:gd name="T39" fmla="*/ 78 h 771"/>
                <a:gd name="T40" fmla="*/ 600 w 879"/>
                <a:gd name="T41" fmla="*/ 149 h 771"/>
                <a:gd name="T42" fmla="*/ 879 w 879"/>
                <a:gd name="T43" fmla="*/ 538 h 771"/>
                <a:gd name="T44" fmla="*/ 702 w 879"/>
                <a:gd name="T45" fmla="*/ 771 h 771"/>
                <a:gd name="T46" fmla="*/ 699 w 879"/>
                <a:gd name="T47" fmla="*/ 771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9" h="771">
                  <a:moveTo>
                    <a:pt x="183" y="638"/>
                  </a:moveTo>
                  <a:lnTo>
                    <a:pt x="695" y="638"/>
                  </a:lnTo>
                  <a:cubicBezTo>
                    <a:pt x="709" y="636"/>
                    <a:pt x="745" y="622"/>
                    <a:pt x="745" y="538"/>
                  </a:cubicBezTo>
                  <a:cubicBezTo>
                    <a:pt x="745" y="428"/>
                    <a:pt x="620" y="332"/>
                    <a:pt x="519" y="255"/>
                  </a:cubicBezTo>
                  <a:cubicBezTo>
                    <a:pt x="489" y="232"/>
                    <a:pt x="461" y="211"/>
                    <a:pt x="438" y="191"/>
                  </a:cubicBezTo>
                  <a:cubicBezTo>
                    <a:pt x="416" y="210"/>
                    <a:pt x="389" y="231"/>
                    <a:pt x="360" y="253"/>
                  </a:cubicBezTo>
                  <a:cubicBezTo>
                    <a:pt x="259" y="331"/>
                    <a:pt x="133" y="428"/>
                    <a:pt x="133" y="538"/>
                  </a:cubicBezTo>
                  <a:cubicBezTo>
                    <a:pt x="133" y="628"/>
                    <a:pt x="177" y="637"/>
                    <a:pt x="183" y="638"/>
                  </a:cubicBezTo>
                  <a:close/>
                  <a:moveTo>
                    <a:pt x="699" y="771"/>
                  </a:moveTo>
                  <a:lnTo>
                    <a:pt x="181" y="771"/>
                  </a:lnTo>
                  <a:cubicBezTo>
                    <a:pt x="180" y="771"/>
                    <a:pt x="178" y="771"/>
                    <a:pt x="177" y="771"/>
                  </a:cubicBezTo>
                  <a:cubicBezTo>
                    <a:pt x="116" y="768"/>
                    <a:pt x="0" y="716"/>
                    <a:pt x="0" y="538"/>
                  </a:cubicBezTo>
                  <a:cubicBezTo>
                    <a:pt x="0" y="362"/>
                    <a:pt x="161" y="238"/>
                    <a:pt x="279" y="147"/>
                  </a:cubicBezTo>
                  <a:cubicBezTo>
                    <a:pt x="308" y="125"/>
                    <a:pt x="345" y="97"/>
                    <a:pt x="366" y="76"/>
                  </a:cubicBezTo>
                  <a:cubicBezTo>
                    <a:pt x="366" y="74"/>
                    <a:pt x="366" y="72"/>
                    <a:pt x="366" y="69"/>
                  </a:cubicBezTo>
                  <a:cubicBezTo>
                    <a:pt x="366" y="34"/>
                    <a:pt x="393" y="5"/>
                    <a:pt x="427" y="3"/>
                  </a:cubicBezTo>
                  <a:cubicBezTo>
                    <a:pt x="434" y="1"/>
                    <a:pt x="440" y="0"/>
                    <a:pt x="447" y="0"/>
                  </a:cubicBezTo>
                  <a:lnTo>
                    <a:pt x="447" y="0"/>
                  </a:lnTo>
                  <a:cubicBezTo>
                    <a:pt x="484" y="0"/>
                    <a:pt x="513" y="30"/>
                    <a:pt x="513" y="67"/>
                  </a:cubicBezTo>
                  <a:cubicBezTo>
                    <a:pt x="513" y="70"/>
                    <a:pt x="513" y="74"/>
                    <a:pt x="513" y="78"/>
                  </a:cubicBezTo>
                  <a:cubicBezTo>
                    <a:pt x="534" y="99"/>
                    <a:pt x="571" y="127"/>
                    <a:pt x="600" y="149"/>
                  </a:cubicBezTo>
                  <a:cubicBezTo>
                    <a:pt x="717" y="239"/>
                    <a:pt x="879" y="362"/>
                    <a:pt x="879" y="538"/>
                  </a:cubicBezTo>
                  <a:cubicBezTo>
                    <a:pt x="879" y="716"/>
                    <a:pt x="763" y="768"/>
                    <a:pt x="702" y="771"/>
                  </a:cubicBezTo>
                  <a:cubicBezTo>
                    <a:pt x="701" y="771"/>
                    <a:pt x="700" y="771"/>
                    <a:pt x="699" y="771"/>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2" name="Freeform 212">
              <a:extLst>
                <a:ext uri="{FF2B5EF4-FFF2-40B4-BE49-F238E27FC236}">
                  <a16:creationId xmlns:a16="http://schemas.microsoft.com/office/drawing/2014/main" id="{14BA2F73-9A29-437D-8FA2-B0C480B07519}"/>
                </a:ext>
              </a:extLst>
            </p:cNvPr>
            <p:cNvSpPr>
              <a:spLocks/>
            </p:cNvSpPr>
            <p:nvPr/>
          </p:nvSpPr>
          <p:spPr bwMode="auto">
            <a:xfrm>
              <a:off x="7340601" y="3733800"/>
              <a:ext cx="77788" cy="120650"/>
            </a:xfrm>
            <a:custGeom>
              <a:avLst/>
              <a:gdLst>
                <a:gd name="T0" fmla="*/ 234 w 692"/>
                <a:gd name="T1" fmla="*/ 1056 h 1056"/>
                <a:gd name="T2" fmla="*/ 111 w 692"/>
                <a:gd name="T3" fmla="*/ 1014 h 1056"/>
                <a:gd name="T4" fmla="*/ 0 w 692"/>
                <a:gd name="T5" fmla="*/ 752 h 1056"/>
                <a:gd name="T6" fmla="*/ 398 w 692"/>
                <a:gd name="T7" fmla="*/ 208 h 1056"/>
                <a:gd name="T8" fmla="*/ 559 w 692"/>
                <a:gd name="T9" fmla="*/ 65 h 1056"/>
                <a:gd name="T10" fmla="*/ 625 w 692"/>
                <a:gd name="T11" fmla="*/ 0 h 1056"/>
                <a:gd name="T12" fmla="*/ 625 w 692"/>
                <a:gd name="T13" fmla="*/ 0 h 1056"/>
                <a:gd name="T14" fmla="*/ 692 w 692"/>
                <a:gd name="T15" fmla="*/ 67 h 1056"/>
                <a:gd name="T16" fmla="*/ 479 w 692"/>
                <a:gd name="T17" fmla="*/ 314 h 1056"/>
                <a:gd name="T18" fmla="*/ 133 w 692"/>
                <a:gd name="T19" fmla="*/ 752 h 1056"/>
                <a:gd name="T20" fmla="*/ 235 w 692"/>
                <a:gd name="T21" fmla="*/ 922 h 1056"/>
                <a:gd name="T22" fmla="*/ 235 w 692"/>
                <a:gd name="T23" fmla="*/ 922 h 1056"/>
                <a:gd name="T24" fmla="*/ 301 w 692"/>
                <a:gd name="T25" fmla="*/ 989 h 1056"/>
                <a:gd name="T26" fmla="*/ 234 w 692"/>
                <a:gd name="T27" fmla="*/ 1056 h 1056"/>
                <a:gd name="T28" fmla="*/ 234 w 692"/>
                <a:gd name="T29"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2" h="1056">
                  <a:moveTo>
                    <a:pt x="234" y="1056"/>
                  </a:moveTo>
                  <a:cubicBezTo>
                    <a:pt x="227" y="1056"/>
                    <a:pt x="169" y="1054"/>
                    <a:pt x="111" y="1014"/>
                  </a:cubicBezTo>
                  <a:cubicBezTo>
                    <a:pt x="60" y="978"/>
                    <a:pt x="0" y="903"/>
                    <a:pt x="0" y="752"/>
                  </a:cubicBezTo>
                  <a:cubicBezTo>
                    <a:pt x="0" y="509"/>
                    <a:pt x="230" y="335"/>
                    <a:pt x="398" y="208"/>
                  </a:cubicBezTo>
                  <a:cubicBezTo>
                    <a:pt x="463" y="159"/>
                    <a:pt x="550" y="93"/>
                    <a:pt x="559" y="65"/>
                  </a:cubicBezTo>
                  <a:cubicBezTo>
                    <a:pt x="559" y="29"/>
                    <a:pt x="589" y="0"/>
                    <a:pt x="625" y="0"/>
                  </a:cubicBezTo>
                  <a:lnTo>
                    <a:pt x="625" y="0"/>
                  </a:lnTo>
                  <a:cubicBezTo>
                    <a:pt x="662" y="0"/>
                    <a:pt x="692" y="30"/>
                    <a:pt x="692" y="67"/>
                  </a:cubicBezTo>
                  <a:cubicBezTo>
                    <a:pt x="692" y="153"/>
                    <a:pt x="602" y="220"/>
                    <a:pt x="479" y="314"/>
                  </a:cubicBezTo>
                  <a:cubicBezTo>
                    <a:pt x="325" y="430"/>
                    <a:pt x="133" y="575"/>
                    <a:pt x="133" y="752"/>
                  </a:cubicBezTo>
                  <a:cubicBezTo>
                    <a:pt x="133" y="910"/>
                    <a:pt x="218" y="922"/>
                    <a:pt x="235" y="922"/>
                  </a:cubicBezTo>
                  <a:lnTo>
                    <a:pt x="235" y="922"/>
                  </a:lnTo>
                  <a:cubicBezTo>
                    <a:pt x="272" y="922"/>
                    <a:pt x="301" y="952"/>
                    <a:pt x="301" y="989"/>
                  </a:cubicBezTo>
                  <a:cubicBezTo>
                    <a:pt x="301" y="1026"/>
                    <a:pt x="271" y="1056"/>
                    <a:pt x="234" y="1056"/>
                  </a:cubicBezTo>
                  <a:lnTo>
                    <a:pt x="234" y="105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3" name="Freeform 213">
              <a:extLst>
                <a:ext uri="{FF2B5EF4-FFF2-40B4-BE49-F238E27FC236}">
                  <a16:creationId xmlns:a16="http://schemas.microsoft.com/office/drawing/2014/main" id="{C95DE926-020D-448F-8DD0-AEB3D2AEC838}"/>
                </a:ext>
              </a:extLst>
            </p:cNvPr>
            <p:cNvSpPr>
              <a:spLocks/>
            </p:cNvSpPr>
            <p:nvPr/>
          </p:nvSpPr>
          <p:spPr bwMode="auto">
            <a:xfrm>
              <a:off x="7400926" y="3733800"/>
              <a:ext cx="79375" cy="123825"/>
            </a:xfrm>
            <a:custGeom>
              <a:avLst/>
              <a:gdLst>
                <a:gd name="T0" fmla="*/ 458 w 693"/>
                <a:gd name="T1" fmla="*/ 1089 h 1089"/>
                <a:gd name="T2" fmla="*/ 393 w 693"/>
                <a:gd name="T3" fmla="*/ 1035 h 1089"/>
                <a:gd name="T4" fmla="*/ 445 w 693"/>
                <a:gd name="T5" fmla="*/ 957 h 1089"/>
                <a:gd name="T6" fmla="*/ 559 w 693"/>
                <a:gd name="T7" fmla="*/ 752 h 1089"/>
                <a:gd name="T8" fmla="*/ 214 w 693"/>
                <a:gd name="T9" fmla="*/ 314 h 1089"/>
                <a:gd name="T10" fmla="*/ 0 w 693"/>
                <a:gd name="T11" fmla="*/ 67 h 1089"/>
                <a:gd name="T12" fmla="*/ 67 w 693"/>
                <a:gd name="T13" fmla="*/ 0 h 1089"/>
                <a:gd name="T14" fmla="*/ 67 w 693"/>
                <a:gd name="T15" fmla="*/ 0 h 1089"/>
                <a:gd name="T16" fmla="*/ 134 w 693"/>
                <a:gd name="T17" fmla="*/ 65 h 1089"/>
                <a:gd name="T18" fmla="*/ 294 w 693"/>
                <a:gd name="T19" fmla="*/ 208 h 1089"/>
                <a:gd name="T20" fmla="*/ 693 w 693"/>
                <a:gd name="T21" fmla="*/ 752 h 1089"/>
                <a:gd name="T22" fmla="*/ 472 w 693"/>
                <a:gd name="T23" fmla="*/ 1088 h 1089"/>
                <a:gd name="T24" fmla="*/ 458 w 693"/>
                <a:gd name="T25" fmla="*/ 1089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3" h="1089">
                  <a:moveTo>
                    <a:pt x="458" y="1089"/>
                  </a:moveTo>
                  <a:cubicBezTo>
                    <a:pt x="427" y="1089"/>
                    <a:pt x="399" y="1067"/>
                    <a:pt x="393" y="1035"/>
                  </a:cubicBezTo>
                  <a:cubicBezTo>
                    <a:pt x="386" y="999"/>
                    <a:pt x="409" y="964"/>
                    <a:pt x="445" y="957"/>
                  </a:cubicBezTo>
                  <a:cubicBezTo>
                    <a:pt x="456" y="955"/>
                    <a:pt x="559" y="925"/>
                    <a:pt x="559" y="752"/>
                  </a:cubicBezTo>
                  <a:cubicBezTo>
                    <a:pt x="559" y="575"/>
                    <a:pt x="368" y="430"/>
                    <a:pt x="214" y="314"/>
                  </a:cubicBezTo>
                  <a:cubicBezTo>
                    <a:pt x="90" y="220"/>
                    <a:pt x="0" y="153"/>
                    <a:pt x="0" y="67"/>
                  </a:cubicBezTo>
                  <a:cubicBezTo>
                    <a:pt x="0" y="30"/>
                    <a:pt x="30" y="0"/>
                    <a:pt x="67" y="0"/>
                  </a:cubicBezTo>
                  <a:lnTo>
                    <a:pt x="67" y="0"/>
                  </a:lnTo>
                  <a:cubicBezTo>
                    <a:pt x="103" y="0"/>
                    <a:pt x="133" y="29"/>
                    <a:pt x="134" y="65"/>
                  </a:cubicBezTo>
                  <a:cubicBezTo>
                    <a:pt x="142" y="93"/>
                    <a:pt x="230" y="159"/>
                    <a:pt x="294" y="208"/>
                  </a:cubicBezTo>
                  <a:cubicBezTo>
                    <a:pt x="462" y="335"/>
                    <a:pt x="693" y="509"/>
                    <a:pt x="693" y="752"/>
                  </a:cubicBezTo>
                  <a:cubicBezTo>
                    <a:pt x="692" y="983"/>
                    <a:pt x="548" y="1073"/>
                    <a:pt x="472" y="1088"/>
                  </a:cubicBezTo>
                  <a:cubicBezTo>
                    <a:pt x="467" y="1089"/>
                    <a:pt x="463" y="1089"/>
                    <a:pt x="458" y="108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4" name="Freeform 214">
              <a:extLst>
                <a:ext uri="{FF2B5EF4-FFF2-40B4-BE49-F238E27FC236}">
                  <a16:creationId xmlns:a16="http://schemas.microsoft.com/office/drawing/2014/main" id="{CBEC29E1-F266-4B95-8B63-1CDADBA9CEAF}"/>
                </a:ext>
              </a:extLst>
            </p:cNvPr>
            <p:cNvSpPr>
              <a:spLocks/>
            </p:cNvSpPr>
            <p:nvPr/>
          </p:nvSpPr>
          <p:spPr bwMode="auto">
            <a:xfrm>
              <a:off x="7173913" y="3708400"/>
              <a:ext cx="104775" cy="15875"/>
            </a:xfrm>
            <a:custGeom>
              <a:avLst/>
              <a:gdLst>
                <a:gd name="T0" fmla="*/ 857 w 924"/>
                <a:gd name="T1" fmla="*/ 136 h 136"/>
                <a:gd name="T2" fmla="*/ 857 w 924"/>
                <a:gd name="T3" fmla="*/ 136 h 136"/>
                <a:gd name="T4" fmla="*/ 66 w 924"/>
                <a:gd name="T5" fmla="*/ 134 h 136"/>
                <a:gd name="T6" fmla="*/ 0 w 924"/>
                <a:gd name="T7" fmla="*/ 67 h 136"/>
                <a:gd name="T8" fmla="*/ 67 w 924"/>
                <a:gd name="T9" fmla="*/ 0 h 136"/>
                <a:gd name="T10" fmla="*/ 67 w 924"/>
                <a:gd name="T11" fmla="*/ 0 h 136"/>
                <a:gd name="T12" fmla="*/ 857 w 924"/>
                <a:gd name="T13" fmla="*/ 3 h 136"/>
                <a:gd name="T14" fmla="*/ 924 w 924"/>
                <a:gd name="T15" fmla="*/ 70 h 136"/>
                <a:gd name="T16" fmla="*/ 857 w 924"/>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4" h="136">
                  <a:moveTo>
                    <a:pt x="857" y="136"/>
                  </a:moveTo>
                  <a:lnTo>
                    <a:pt x="857" y="136"/>
                  </a:lnTo>
                  <a:lnTo>
                    <a:pt x="66" y="134"/>
                  </a:lnTo>
                  <a:cubicBezTo>
                    <a:pt x="30" y="133"/>
                    <a:pt x="0" y="104"/>
                    <a:pt x="0" y="67"/>
                  </a:cubicBezTo>
                  <a:cubicBezTo>
                    <a:pt x="0" y="30"/>
                    <a:pt x="30" y="0"/>
                    <a:pt x="67" y="0"/>
                  </a:cubicBezTo>
                  <a:lnTo>
                    <a:pt x="67" y="0"/>
                  </a:lnTo>
                  <a:lnTo>
                    <a:pt x="857" y="3"/>
                  </a:lnTo>
                  <a:cubicBezTo>
                    <a:pt x="894" y="3"/>
                    <a:pt x="924" y="33"/>
                    <a:pt x="924" y="70"/>
                  </a:cubicBezTo>
                  <a:cubicBezTo>
                    <a:pt x="924" y="107"/>
                    <a:pt x="894" y="136"/>
                    <a:pt x="857" y="13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5" name="Freeform 215">
              <a:extLst>
                <a:ext uri="{FF2B5EF4-FFF2-40B4-BE49-F238E27FC236}">
                  <a16:creationId xmlns:a16="http://schemas.microsoft.com/office/drawing/2014/main" id="{D5327A93-85FB-4DB8-8F81-2DEF37AB2B06}"/>
                </a:ext>
              </a:extLst>
            </p:cNvPr>
            <p:cNvSpPr>
              <a:spLocks/>
            </p:cNvSpPr>
            <p:nvPr/>
          </p:nvSpPr>
          <p:spPr bwMode="auto">
            <a:xfrm>
              <a:off x="7188201" y="3575050"/>
              <a:ext cx="96838" cy="149225"/>
            </a:xfrm>
            <a:custGeom>
              <a:avLst/>
              <a:gdLst>
                <a:gd name="T0" fmla="*/ 74 w 847"/>
                <a:gd name="T1" fmla="*/ 1319 h 1319"/>
                <a:gd name="T2" fmla="*/ 59 w 847"/>
                <a:gd name="T3" fmla="*/ 1317 h 1319"/>
                <a:gd name="T4" fmla="*/ 9 w 847"/>
                <a:gd name="T5" fmla="*/ 1237 h 1319"/>
                <a:gd name="T6" fmla="*/ 280 w 847"/>
                <a:gd name="T7" fmla="*/ 52 h 1319"/>
                <a:gd name="T8" fmla="*/ 345 w 847"/>
                <a:gd name="T9" fmla="*/ 0 h 1319"/>
                <a:gd name="T10" fmla="*/ 473 w 847"/>
                <a:gd name="T11" fmla="*/ 0 h 1319"/>
                <a:gd name="T12" fmla="*/ 538 w 847"/>
                <a:gd name="T13" fmla="*/ 50 h 1319"/>
                <a:gd name="T14" fmla="*/ 838 w 847"/>
                <a:gd name="T15" fmla="*/ 1173 h 1319"/>
                <a:gd name="T16" fmla="*/ 791 w 847"/>
                <a:gd name="T17" fmla="*/ 1255 h 1319"/>
                <a:gd name="T18" fmla="*/ 709 w 847"/>
                <a:gd name="T19" fmla="*/ 1208 h 1319"/>
                <a:gd name="T20" fmla="*/ 422 w 847"/>
                <a:gd name="T21" fmla="*/ 133 h 1319"/>
                <a:gd name="T22" fmla="*/ 398 w 847"/>
                <a:gd name="T23" fmla="*/ 133 h 1319"/>
                <a:gd name="T24" fmla="*/ 138 w 847"/>
                <a:gd name="T25" fmla="*/ 1267 h 1319"/>
                <a:gd name="T26" fmla="*/ 74 w 847"/>
                <a:gd name="T27" fmla="*/ 1319 h 1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1319">
                  <a:moveTo>
                    <a:pt x="74" y="1319"/>
                  </a:moveTo>
                  <a:cubicBezTo>
                    <a:pt x="69" y="1319"/>
                    <a:pt x="64" y="1318"/>
                    <a:pt x="59" y="1317"/>
                  </a:cubicBezTo>
                  <a:cubicBezTo>
                    <a:pt x="23" y="1309"/>
                    <a:pt x="0" y="1273"/>
                    <a:pt x="9" y="1237"/>
                  </a:cubicBezTo>
                  <a:lnTo>
                    <a:pt x="280" y="52"/>
                  </a:lnTo>
                  <a:cubicBezTo>
                    <a:pt x="287" y="22"/>
                    <a:pt x="313" y="0"/>
                    <a:pt x="345" y="0"/>
                  </a:cubicBezTo>
                  <a:lnTo>
                    <a:pt x="473" y="0"/>
                  </a:lnTo>
                  <a:cubicBezTo>
                    <a:pt x="503" y="0"/>
                    <a:pt x="530" y="20"/>
                    <a:pt x="538" y="50"/>
                  </a:cubicBezTo>
                  <a:lnTo>
                    <a:pt x="838" y="1173"/>
                  </a:lnTo>
                  <a:cubicBezTo>
                    <a:pt x="847" y="1209"/>
                    <a:pt x="826" y="1245"/>
                    <a:pt x="791" y="1255"/>
                  </a:cubicBezTo>
                  <a:cubicBezTo>
                    <a:pt x="755" y="1265"/>
                    <a:pt x="718" y="1243"/>
                    <a:pt x="709" y="1208"/>
                  </a:cubicBezTo>
                  <a:lnTo>
                    <a:pt x="422" y="133"/>
                  </a:lnTo>
                  <a:lnTo>
                    <a:pt x="398" y="133"/>
                  </a:lnTo>
                  <a:lnTo>
                    <a:pt x="138" y="1267"/>
                  </a:lnTo>
                  <a:cubicBezTo>
                    <a:pt x="131" y="1298"/>
                    <a:pt x="104" y="1319"/>
                    <a:pt x="74" y="131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6" name="Freeform 216">
              <a:extLst>
                <a:ext uri="{FF2B5EF4-FFF2-40B4-BE49-F238E27FC236}">
                  <a16:creationId xmlns:a16="http://schemas.microsoft.com/office/drawing/2014/main" id="{321DDAE0-D71B-4085-9FB3-1E6DD3F38585}"/>
                </a:ext>
              </a:extLst>
            </p:cNvPr>
            <p:cNvSpPr>
              <a:spLocks/>
            </p:cNvSpPr>
            <p:nvPr/>
          </p:nvSpPr>
          <p:spPr bwMode="auto">
            <a:xfrm>
              <a:off x="7189788" y="3727450"/>
              <a:ext cx="14288" cy="55563"/>
            </a:xfrm>
            <a:custGeom>
              <a:avLst/>
              <a:gdLst>
                <a:gd name="T0" fmla="*/ 67 w 134"/>
                <a:gd name="T1" fmla="*/ 483 h 483"/>
                <a:gd name="T2" fmla="*/ 0 w 134"/>
                <a:gd name="T3" fmla="*/ 416 h 483"/>
                <a:gd name="T4" fmla="*/ 0 w 134"/>
                <a:gd name="T5" fmla="*/ 66 h 483"/>
                <a:gd name="T6" fmla="*/ 67 w 134"/>
                <a:gd name="T7" fmla="*/ 0 h 483"/>
                <a:gd name="T8" fmla="*/ 134 w 134"/>
                <a:gd name="T9" fmla="*/ 66 h 483"/>
                <a:gd name="T10" fmla="*/ 134 w 134"/>
                <a:gd name="T11" fmla="*/ 416 h 483"/>
                <a:gd name="T12" fmla="*/ 67 w 134"/>
                <a:gd name="T13" fmla="*/ 483 h 483"/>
              </a:gdLst>
              <a:ahLst/>
              <a:cxnLst>
                <a:cxn ang="0">
                  <a:pos x="T0" y="T1"/>
                </a:cxn>
                <a:cxn ang="0">
                  <a:pos x="T2" y="T3"/>
                </a:cxn>
                <a:cxn ang="0">
                  <a:pos x="T4" y="T5"/>
                </a:cxn>
                <a:cxn ang="0">
                  <a:pos x="T6" y="T7"/>
                </a:cxn>
                <a:cxn ang="0">
                  <a:pos x="T8" y="T9"/>
                </a:cxn>
                <a:cxn ang="0">
                  <a:pos x="T10" y="T11"/>
                </a:cxn>
                <a:cxn ang="0">
                  <a:pos x="T12" y="T13"/>
                </a:cxn>
              </a:cxnLst>
              <a:rect l="0" t="0" r="r" b="b"/>
              <a:pathLst>
                <a:path w="134" h="483">
                  <a:moveTo>
                    <a:pt x="67" y="483"/>
                  </a:moveTo>
                  <a:cubicBezTo>
                    <a:pt x="30" y="483"/>
                    <a:pt x="0" y="453"/>
                    <a:pt x="0" y="416"/>
                  </a:cubicBezTo>
                  <a:lnTo>
                    <a:pt x="0" y="66"/>
                  </a:lnTo>
                  <a:cubicBezTo>
                    <a:pt x="0" y="29"/>
                    <a:pt x="30" y="0"/>
                    <a:pt x="67" y="0"/>
                  </a:cubicBezTo>
                  <a:cubicBezTo>
                    <a:pt x="104" y="0"/>
                    <a:pt x="134" y="29"/>
                    <a:pt x="134" y="66"/>
                  </a:cubicBezTo>
                  <a:lnTo>
                    <a:pt x="134" y="416"/>
                  </a:lnTo>
                  <a:cubicBezTo>
                    <a:pt x="134" y="453"/>
                    <a:pt x="104" y="483"/>
                    <a:pt x="67" y="48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7" name="Freeform 217">
              <a:extLst>
                <a:ext uri="{FF2B5EF4-FFF2-40B4-BE49-F238E27FC236}">
                  <a16:creationId xmlns:a16="http://schemas.microsoft.com/office/drawing/2014/main" id="{58415997-2974-4AE7-838A-235EDC19257E}"/>
                </a:ext>
              </a:extLst>
            </p:cNvPr>
            <p:cNvSpPr>
              <a:spLocks/>
            </p:cNvSpPr>
            <p:nvPr/>
          </p:nvSpPr>
          <p:spPr bwMode="auto">
            <a:xfrm>
              <a:off x="7227888" y="3489325"/>
              <a:ext cx="15875" cy="55563"/>
            </a:xfrm>
            <a:custGeom>
              <a:avLst/>
              <a:gdLst>
                <a:gd name="T0" fmla="*/ 67 w 139"/>
                <a:gd name="T1" fmla="*/ 483 h 483"/>
                <a:gd name="T2" fmla="*/ 66 w 139"/>
                <a:gd name="T3" fmla="*/ 483 h 483"/>
                <a:gd name="T4" fmla="*/ 0 w 139"/>
                <a:gd name="T5" fmla="*/ 415 h 483"/>
                <a:gd name="T6" fmla="*/ 5 w 139"/>
                <a:gd name="T7" fmla="*/ 65 h 483"/>
                <a:gd name="T8" fmla="*/ 72 w 139"/>
                <a:gd name="T9" fmla="*/ 0 h 483"/>
                <a:gd name="T10" fmla="*/ 73 w 139"/>
                <a:gd name="T11" fmla="*/ 0 h 483"/>
                <a:gd name="T12" fmla="*/ 139 w 139"/>
                <a:gd name="T13" fmla="*/ 67 h 483"/>
                <a:gd name="T14" fmla="*/ 133 w 139"/>
                <a:gd name="T15" fmla="*/ 417 h 483"/>
                <a:gd name="T16" fmla="*/ 67 w 139"/>
                <a:gd name="T17" fmla="*/ 48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483">
                  <a:moveTo>
                    <a:pt x="67" y="483"/>
                  </a:moveTo>
                  <a:lnTo>
                    <a:pt x="66" y="483"/>
                  </a:lnTo>
                  <a:cubicBezTo>
                    <a:pt x="29" y="482"/>
                    <a:pt x="0" y="452"/>
                    <a:pt x="0" y="415"/>
                  </a:cubicBezTo>
                  <a:lnTo>
                    <a:pt x="5" y="65"/>
                  </a:lnTo>
                  <a:cubicBezTo>
                    <a:pt x="6" y="29"/>
                    <a:pt x="36" y="0"/>
                    <a:pt x="72" y="0"/>
                  </a:cubicBezTo>
                  <a:lnTo>
                    <a:pt x="73" y="0"/>
                  </a:lnTo>
                  <a:cubicBezTo>
                    <a:pt x="110" y="0"/>
                    <a:pt x="139" y="30"/>
                    <a:pt x="139" y="67"/>
                  </a:cubicBezTo>
                  <a:lnTo>
                    <a:pt x="133" y="417"/>
                  </a:lnTo>
                  <a:cubicBezTo>
                    <a:pt x="133" y="454"/>
                    <a:pt x="103" y="483"/>
                    <a:pt x="67" y="48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8" name="Freeform 218">
              <a:extLst>
                <a:ext uri="{FF2B5EF4-FFF2-40B4-BE49-F238E27FC236}">
                  <a16:creationId xmlns:a16="http://schemas.microsoft.com/office/drawing/2014/main" id="{2E4F4C44-6C80-4547-8FB8-ABED88755739}"/>
                </a:ext>
              </a:extLst>
            </p:cNvPr>
            <p:cNvSpPr>
              <a:spLocks/>
            </p:cNvSpPr>
            <p:nvPr/>
          </p:nvSpPr>
          <p:spPr bwMode="auto">
            <a:xfrm>
              <a:off x="7210426" y="3505200"/>
              <a:ext cx="50800" cy="15875"/>
            </a:xfrm>
            <a:custGeom>
              <a:avLst/>
              <a:gdLst>
                <a:gd name="T0" fmla="*/ 376 w 444"/>
                <a:gd name="T1" fmla="*/ 139 h 139"/>
                <a:gd name="T2" fmla="*/ 375 w 444"/>
                <a:gd name="T3" fmla="*/ 139 h 139"/>
                <a:gd name="T4" fmla="*/ 67 w 444"/>
                <a:gd name="T5" fmla="*/ 133 h 139"/>
                <a:gd name="T6" fmla="*/ 1 w 444"/>
                <a:gd name="T7" fmla="*/ 65 h 139"/>
                <a:gd name="T8" fmla="*/ 68 w 444"/>
                <a:gd name="T9" fmla="*/ 0 h 139"/>
                <a:gd name="T10" fmla="*/ 69 w 444"/>
                <a:gd name="T11" fmla="*/ 0 h 139"/>
                <a:gd name="T12" fmla="*/ 377 w 444"/>
                <a:gd name="T13" fmla="*/ 6 h 139"/>
                <a:gd name="T14" fmla="*/ 443 w 444"/>
                <a:gd name="T15" fmla="*/ 74 h 139"/>
                <a:gd name="T16" fmla="*/ 376 w 444"/>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139">
                  <a:moveTo>
                    <a:pt x="376" y="139"/>
                  </a:moveTo>
                  <a:lnTo>
                    <a:pt x="375" y="139"/>
                  </a:lnTo>
                  <a:lnTo>
                    <a:pt x="67" y="133"/>
                  </a:lnTo>
                  <a:cubicBezTo>
                    <a:pt x="30" y="133"/>
                    <a:pt x="0" y="102"/>
                    <a:pt x="1" y="65"/>
                  </a:cubicBezTo>
                  <a:cubicBezTo>
                    <a:pt x="2" y="29"/>
                    <a:pt x="32" y="0"/>
                    <a:pt x="68" y="0"/>
                  </a:cubicBezTo>
                  <a:lnTo>
                    <a:pt x="69" y="0"/>
                  </a:lnTo>
                  <a:lnTo>
                    <a:pt x="377" y="6"/>
                  </a:lnTo>
                  <a:cubicBezTo>
                    <a:pt x="414" y="7"/>
                    <a:pt x="444" y="37"/>
                    <a:pt x="443" y="74"/>
                  </a:cubicBezTo>
                  <a:cubicBezTo>
                    <a:pt x="442" y="111"/>
                    <a:pt x="412" y="139"/>
                    <a:pt x="376" y="13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59" name="Freeform 219">
              <a:extLst>
                <a:ext uri="{FF2B5EF4-FFF2-40B4-BE49-F238E27FC236}">
                  <a16:creationId xmlns:a16="http://schemas.microsoft.com/office/drawing/2014/main" id="{BAD70374-6B11-4ECB-92B2-C07E1D62CDBD}"/>
                </a:ext>
              </a:extLst>
            </p:cNvPr>
            <p:cNvSpPr>
              <a:spLocks/>
            </p:cNvSpPr>
            <p:nvPr/>
          </p:nvSpPr>
          <p:spPr bwMode="auto">
            <a:xfrm>
              <a:off x="7096126" y="3648075"/>
              <a:ext cx="15875" cy="50800"/>
            </a:xfrm>
            <a:custGeom>
              <a:avLst/>
              <a:gdLst>
                <a:gd name="T0" fmla="*/ 66 w 133"/>
                <a:gd name="T1" fmla="*/ 450 h 450"/>
                <a:gd name="T2" fmla="*/ 0 w 133"/>
                <a:gd name="T3" fmla="*/ 384 h 450"/>
                <a:gd name="T4" fmla="*/ 0 w 133"/>
                <a:gd name="T5" fmla="*/ 67 h 450"/>
                <a:gd name="T6" fmla="*/ 66 w 133"/>
                <a:gd name="T7" fmla="*/ 0 h 450"/>
                <a:gd name="T8" fmla="*/ 133 w 133"/>
                <a:gd name="T9" fmla="*/ 67 h 450"/>
                <a:gd name="T10" fmla="*/ 133 w 133"/>
                <a:gd name="T11" fmla="*/ 384 h 450"/>
                <a:gd name="T12" fmla="*/ 66 w 133"/>
                <a:gd name="T13" fmla="*/ 450 h 450"/>
              </a:gdLst>
              <a:ahLst/>
              <a:cxnLst>
                <a:cxn ang="0">
                  <a:pos x="T0" y="T1"/>
                </a:cxn>
                <a:cxn ang="0">
                  <a:pos x="T2" y="T3"/>
                </a:cxn>
                <a:cxn ang="0">
                  <a:pos x="T4" y="T5"/>
                </a:cxn>
                <a:cxn ang="0">
                  <a:pos x="T6" y="T7"/>
                </a:cxn>
                <a:cxn ang="0">
                  <a:pos x="T8" y="T9"/>
                </a:cxn>
                <a:cxn ang="0">
                  <a:pos x="T10" y="T11"/>
                </a:cxn>
                <a:cxn ang="0">
                  <a:pos x="T12" y="T13"/>
                </a:cxn>
              </a:cxnLst>
              <a:rect l="0" t="0" r="r" b="b"/>
              <a:pathLst>
                <a:path w="133" h="450">
                  <a:moveTo>
                    <a:pt x="66" y="450"/>
                  </a:moveTo>
                  <a:cubicBezTo>
                    <a:pt x="29" y="450"/>
                    <a:pt x="0" y="421"/>
                    <a:pt x="0" y="384"/>
                  </a:cubicBezTo>
                  <a:lnTo>
                    <a:pt x="0" y="67"/>
                  </a:lnTo>
                  <a:cubicBezTo>
                    <a:pt x="0" y="30"/>
                    <a:pt x="29" y="0"/>
                    <a:pt x="66" y="0"/>
                  </a:cubicBezTo>
                  <a:cubicBezTo>
                    <a:pt x="103" y="0"/>
                    <a:pt x="133" y="30"/>
                    <a:pt x="133" y="67"/>
                  </a:cubicBezTo>
                  <a:lnTo>
                    <a:pt x="133" y="384"/>
                  </a:lnTo>
                  <a:cubicBezTo>
                    <a:pt x="133" y="421"/>
                    <a:pt x="103" y="450"/>
                    <a:pt x="66" y="45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0" name="Freeform 220">
              <a:extLst>
                <a:ext uri="{FF2B5EF4-FFF2-40B4-BE49-F238E27FC236}">
                  <a16:creationId xmlns:a16="http://schemas.microsoft.com/office/drawing/2014/main" id="{1E9BE45C-C6FA-4CAA-B8E6-5CA608F5F6AD}"/>
                </a:ext>
              </a:extLst>
            </p:cNvPr>
            <p:cNvSpPr>
              <a:spLocks/>
            </p:cNvSpPr>
            <p:nvPr/>
          </p:nvSpPr>
          <p:spPr bwMode="auto">
            <a:xfrm>
              <a:off x="7081838" y="3668713"/>
              <a:ext cx="47625" cy="15875"/>
            </a:xfrm>
            <a:custGeom>
              <a:avLst/>
              <a:gdLst>
                <a:gd name="T0" fmla="*/ 350 w 417"/>
                <a:gd name="T1" fmla="*/ 133 h 133"/>
                <a:gd name="T2" fmla="*/ 67 w 417"/>
                <a:gd name="T3" fmla="*/ 133 h 133"/>
                <a:gd name="T4" fmla="*/ 0 w 417"/>
                <a:gd name="T5" fmla="*/ 67 h 133"/>
                <a:gd name="T6" fmla="*/ 67 w 417"/>
                <a:gd name="T7" fmla="*/ 0 h 133"/>
                <a:gd name="T8" fmla="*/ 350 w 417"/>
                <a:gd name="T9" fmla="*/ 0 h 133"/>
                <a:gd name="T10" fmla="*/ 417 w 417"/>
                <a:gd name="T11" fmla="*/ 67 h 133"/>
                <a:gd name="T12" fmla="*/ 350 w 417"/>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17" h="133">
                  <a:moveTo>
                    <a:pt x="350" y="133"/>
                  </a:moveTo>
                  <a:lnTo>
                    <a:pt x="67" y="133"/>
                  </a:lnTo>
                  <a:cubicBezTo>
                    <a:pt x="30" y="133"/>
                    <a:pt x="0" y="103"/>
                    <a:pt x="0" y="67"/>
                  </a:cubicBezTo>
                  <a:cubicBezTo>
                    <a:pt x="0" y="30"/>
                    <a:pt x="30" y="0"/>
                    <a:pt x="67" y="0"/>
                  </a:cubicBezTo>
                  <a:lnTo>
                    <a:pt x="350" y="0"/>
                  </a:lnTo>
                  <a:cubicBezTo>
                    <a:pt x="387" y="0"/>
                    <a:pt x="417" y="30"/>
                    <a:pt x="417" y="67"/>
                  </a:cubicBezTo>
                  <a:cubicBezTo>
                    <a:pt x="417" y="103"/>
                    <a:pt x="387" y="133"/>
                    <a:pt x="350" y="13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1" name="Freeform 221">
              <a:extLst>
                <a:ext uri="{FF2B5EF4-FFF2-40B4-BE49-F238E27FC236}">
                  <a16:creationId xmlns:a16="http://schemas.microsoft.com/office/drawing/2014/main" id="{D5EBD653-BE07-4D4F-AB8C-DA5588DD3A6D}"/>
                </a:ext>
              </a:extLst>
            </p:cNvPr>
            <p:cNvSpPr>
              <a:spLocks/>
            </p:cNvSpPr>
            <p:nvPr/>
          </p:nvSpPr>
          <p:spPr bwMode="auto">
            <a:xfrm>
              <a:off x="7400926" y="3681413"/>
              <a:ext cx="15875" cy="49213"/>
            </a:xfrm>
            <a:custGeom>
              <a:avLst/>
              <a:gdLst>
                <a:gd name="T0" fmla="*/ 67 w 134"/>
                <a:gd name="T1" fmla="*/ 434 h 434"/>
                <a:gd name="T2" fmla="*/ 0 w 134"/>
                <a:gd name="T3" fmla="*/ 367 h 434"/>
                <a:gd name="T4" fmla="*/ 0 w 134"/>
                <a:gd name="T5" fmla="*/ 66 h 434"/>
                <a:gd name="T6" fmla="*/ 67 w 134"/>
                <a:gd name="T7" fmla="*/ 0 h 434"/>
                <a:gd name="T8" fmla="*/ 134 w 134"/>
                <a:gd name="T9" fmla="*/ 66 h 434"/>
                <a:gd name="T10" fmla="*/ 134 w 134"/>
                <a:gd name="T11" fmla="*/ 367 h 434"/>
                <a:gd name="T12" fmla="*/ 67 w 134"/>
                <a:gd name="T13" fmla="*/ 434 h 434"/>
              </a:gdLst>
              <a:ahLst/>
              <a:cxnLst>
                <a:cxn ang="0">
                  <a:pos x="T0" y="T1"/>
                </a:cxn>
                <a:cxn ang="0">
                  <a:pos x="T2" y="T3"/>
                </a:cxn>
                <a:cxn ang="0">
                  <a:pos x="T4" y="T5"/>
                </a:cxn>
                <a:cxn ang="0">
                  <a:pos x="T6" y="T7"/>
                </a:cxn>
                <a:cxn ang="0">
                  <a:pos x="T8" y="T9"/>
                </a:cxn>
                <a:cxn ang="0">
                  <a:pos x="T10" y="T11"/>
                </a:cxn>
                <a:cxn ang="0">
                  <a:pos x="T12" y="T13"/>
                </a:cxn>
              </a:cxnLst>
              <a:rect l="0" t="0" r="r" b="b"/>
              <a:pathLst>
                <a:path w="134" h="434">
                  <a:moveTo>
                    <a:pt x="67" y="434"/>
                  </a:moveTo>
                  <a:cubicBezTo>
                    <a:pt x="30" y="434"/>
                    <a:pt x="0" y="403"/>
                    <a:pt x="0" y="367"/>
                  </a:cubicBezTo>
                  <a:lnTo>
                    <a:pt x="0" y="66"/>
                  </a:lnTo>
                  <a:cubicBezTo>
                    <a:pt x="0" y="30"/>
                    <a:pt x="30" y="0"/>
                    <a:pt x="67" y="0"/>
                  </a:cubicBezTo>
                  <a:cubicBezTo>
                    <a:pt x="104" y="0"/>
                    <a:pt x="134" y="30"/>
                    <a:pt x="134" y="66"/>
                  </a:cubicBezTo>
                  <a:lnTo>
                    <a:pt x="134" y="367"/>
                  </a:lnTo>
                  <a:cubicBezTo>
                    <a:pt x="134" y="403"/>
                    <a:pt x="104" y="434"/>
                    <a:pt x="67" y="4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2" name="Freeform 222">
              <a:extLst>
                <a:ext uri="{FF2B5EF4-FFF2-40B4-BE49-F238E27FC236}">
                  <a16:creationId xmlns:a16="http://schemas.microsoft.com/office/drawing/2014/main" id="{EA8E0BE3-0E58-4F37-BEDB-17FC511AFCF0}"/>
                </a:ext>
              </a:extLst>
            </p:cNvPr>
            <p:cNvSpPr>
              <a:spLocks/>
            </p:cNvSpPr>
            <p:nvPr/>
          </p:nvSpPr>
          <p:spPr bwMode="auto">
            <a:xfrm>
              <a:off x="7386638" y="3698875"/>
              <a:ext cx="46038" cy="15875"/>
            </a:xfrm>
            <a:custGeom>
              <a:avLst/>
              <a:gdLst>
                <a:gd name="T0" fmla="*/ 350 w 417"/>
                <a:gd name="T1" fmla="*/ 134 h 134"/>
                <a:gd name="T2" fmla="*/ 67 w 417"/>
                <a:gd name="T3" fmla="*/ 134 h 134"/>
                <a:gd name="T4" fmla="*/ 0 w 417"/>
                <a:gd name="T5" fmla="*/ 67 h 134"/>
                <a:gd name="T6" fmla="*/ 67 w 417"/>
                <a:gd name="T7" fmla="*/ 0 h 134"/>
                <a:gd name="T8" fmla="*/ 350 w 417"/>
                <a:gd name="T9" fmla="*/ 0 h 134"/>
                <a:gd name="T10" fmla="*/ 417 w 417"/>
                <a:gd name="T11" fmla="*/ 67 h 134"/>
                <a:gd name="T12" fmla="*/ 350 w 41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17" h="134">
                  <a:moveTo>
                    <a:pt x="350" y="134"/>
                  </a:moveTo>
                  <a:lnTo>
                    <a:pt x="67" y="134"/>
                  </a:lnTo>
                  <a:cubicBezTo>
                    <a:pt x="30" y="134"/>
                    <a:pt x="0" y="104"/>
                    <a:pt x="0" y="67"/>
                  </a:cubicBezTo>
                  <a:cubicBezTo>
                    <a:pt x="0" y="30"/>
                    <a:pt x="30" y="0"/>
                    <a:pt x="67" y="0"/>
                  </a:cubicBezTo>
                  <a:lnTo>
                    <a:pt x="350" y="0"/>
                  </a:lnTo>
                  <a:cubicBezTo>
                    <a:pt x="387" y="0"/>
                    <a:pt x="417" y="30"/>
                    <a:pt x="417" y="67"/>
                  </a:cubicBezTo>
                  <a:cubicBezTo>
                    <a:pt x="417" y="104"/>
                    <a:pt x="387" y="134"/>
                    <a:pt x="350"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3" name="Freeform 223">
              <a:extLst>
                <a:ext uri="{FF2B5EF4-FFF2-40B4-BE49-F238E27FC236}">
                  <a16:creationId xmlns:a16="http://schemas.microsoft.com/office/drawing/2014/main" id="{0D333B3E-7F89-45E1-B397-9DABC5EF1A40}"/>
                </a:ext>
              </a:extLst>
            </p:cNvPr>
            <p:cNvSpPr>
              <a:spLocks/>
            </p:cNvSpPr>
            <p:nvPr/>
          </p:nvSpPr>
          <p:spPr bwMode="auto">
            <a:xfrm>
              <a:off x="7275513" y="3638550"/>
              <a:ext cx="15875" cy="50800"/>
            </a:xfrm>
            <a:custGeom>
              <a:avLst/>
              <a:gdLst>
                <a:gd name="T0" fmla="*/ 67 w 133"/>
                <a:gd name="T1" fmla="*/ 450 h 450"/>
                <a:gd name="T2" fmla="*/ 0 w 133"/>
                <a:gd name="T3" fmla="*/ 384 h 450"/>
                <a:gd name="T4" fmla="*/ 0 w 133"/>
                <a:gd name="T5" fmla="*/ 67 h 450"/>
                <a:gd name="T6" fmla="*/ 67 w 133"/>
                <a:gd name="T7" fmla="*/ 0 h 450"/>
                <a:gd name="T8" fmla="*/ 133 w 133"/>
                <a:gd name="T9" fmla="*/ 67 h 450"/>
                <a:gd name="T10" fmla="*/ 133 w 133"/>
                <a:gd name="T11" fmla="*/ 384 h 450"/>
                <a:gd name="T12" fmla="*/ 67 w 133"/>
                <a:gd name="T13" fmla="*/ 450 h 450"/>
              </a:gdLst>
              <a:ahLst/>
              <a:cxnLst>
                <a:cxn ang="0">
                  <a:pos x="T0" y="T1"/>
                </a:cxn>
                <a:cxn ang="0">
                  <a:pos x="T2" y="T3"/>
                </a:cxn>
                <a:cxn ang="0">
                  <a:pos x="T4" y="T5"/>
                </a:cxn>
                <a:cxn ang="0">
                  <a:pos x="T6" y="T7"/>
                </a:cxn>
                <a:cxn ang="0">
                  <a:pos x="T8" y="T9"/>
                </a:cxn>
                <a:cxn ang="0">
                  <a:pos x="T10" y="T11"/>
                </a:cxn>
                <a:cxn ang="0">
                  <a:pos x="T12" y="T13"/>
                </a:cxn>
              </a:cxnLst>
              <a:rect l="0" t="0" r="r" b="b"/>
              <a:pathLst>
                <a:path w="133" h="450">
                  <a:moveTo>
                    <a:pt x="67" y="450"/>
                  </a:moveTo>
                  <a:cubicBezTo>
                    <a:pt x="30" y="450"/>
                    <a:pt x="0" y="420"/>
                    <a:pt x="0" y="384"/>
                  </a:cubicBezTo>
                  <a:lnTo>
                    <a:pt x="0" y="67"/>
                  </a:lnTo>
                  <a:cubicBezTo>
                    <a:pt x="0" y="30"/>
                    <a:pt x="30" y="0"/>
                    <a:pt x="67" y="0"/>
                  </a:cubicBezTo>
                  <a:cubicBezTo>
                    <a:pt x="104" y="0"/>
                    <a:pt x="133" y="30"/>
                    <a:pt x="133" y="67"/>
                  </a:cubicBezTo>
                  <a:lnTo>
                    <a:pt x="133" y="384"/>
                  </a:lnTo>
                  <a:cubicBezTo>
                    <a:pt x="133" y="420"/>
                    <a:pt x="104" y="450"/>
                    <a:pt x="67" y="45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4" name="Freeform 224">
              <a:extLst>
                <a:ext uri="{FF2B5EF4-FFF2-40B4-BE49-F238E27FC236}">
                  <a16:creationId xmlns:a16="http://schemas.microsoft.com/office/drawing/2014/main" id="{784BDA74-04E8-4E54-8A85-DD5BFDE8CB28}"/>
                </a:ext>
              </a:extLst>
            </p:cNvPr>
            <p:cNvSpPr>
              <a:spLocks/>
            </p:cNvSpPr>
            <p:nvPr/>
          </p:nvSpPr>
          <p:spPr bwMode="auto">
            <a:xfrm>
              <a:off x="7261226" y="3659188"/>
              <a:ext cx="47625" cy="15875"/>
            </a:xfrm>
            <a:custGeom>
              <a:avLst/>
              <a:gdLst>
                <a:gd name="T0" fmla="*/ 350 w 417"/>
                <a:gd name="T1" fmla="*/ 134 h 134"/>
                <a:gd name="T2" fmla="*/ 67 w 417"/>
                <a:gd name="T3" fmla="*/ 134 h 134"/>
                <a:gd name="T4" fmla="*/ 0 w 417"/>
                <a:gd name="T5" fmla="*/ 67 h 134"/>
                <a:gd name="T6" fmla="*/ 67 w 417"/>
                <a:gd name="T7" fmla="*/ 0 h 134"/>
                <a:gd name="T8" fmla="*/ 350 w 417"/>
                <a:gd name="T9" fmla="*/ 0 h 134"/>
                <a:gd name="T10" fmla="*/ 417 w 417"/>
                <a:gd name="T11" fmla="*/ 67 h 134"/>
                <a:gd name="T12" fmla="*/ 350 w 41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17" h="134">
                  <a:moveTo>
                    <a:pt x="350" y="134"/>
                  </a:moveTo>
                  <a:lnTo>
                    <a:pt x="67" y="134"/>
                  </a:lnTo>
                  <a:cubicBezTo>
                    <a:pt x="30" y="134"/>
                    <a:pt x="0" y="104"/>
                    <a:pt x="0" y="67"/>
                  </a:cubicBezTo>
                  <a:cubicBezTo>
                    <a:pt x="0" y="30"/>
                    <a:pt x="30" y="0"/>
                    <a:pt x="67" y="0"/>
                  </a:cubicBezTo>
                  <a:lnTo>
                    <a:pt x="350" y="0"/>
                  </a:lnTo>
                  <a:cubicBezTo>
                    <a:pt x="387" y="0"/>
                    <a:pt x="417" y="30"/>
                    <a:pt x="417" y="67"/>
                  </a:cubicBezTo>
                  <a:cubicBezTo>
                    <a:pt x="417" y="104"/>
                    <a:pt x="387" y="134"/>
                    <a:pt x="350"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5" name="Freeform 225">
              <a:extLst>
                <a:ext uri="{FF2B5EF4-FFF2-40B4-BE49-F238E27FC236}">
                  <a16:creationId xmlns:a16="http://schemas.microsoft.com/office/drawing/2014/main" id="{5FC81960-C97A-42BB-8769-DE4F36D72ABC}"/>
                </a:ext>
              </a:extLst>
            </p:cNvPr>
            <p:cNvSpPr>
              <a:spLocks/>
            </p:cNvSpPr>
            <p:nvPr/>
          </p:nvSpPr>
          <p:spPr bwMode="auto">
            <a:xfrm>
              <a:off x="7053263" y="3727450"/>
              <a:ext cx="82550" cy="95250"/>
            </a:xfrm>
            <a:custGeom>
              <a:avLst/>
              <a:gdLst>
                <a:gd name="T0" fmla="*/ 125 w 724"/>
                <a:gd name="T1" fmla="*/ 833 h 833"/>
                <a:gd name="T2" fmla="*/ 62 w 724"/>
                <a:gd name="T3" fmla="*/ 790 h 833"/>
                <a:gd name="T4" fmla="*/ 230 w 724"/>
                <a:gd name="T5" fmla="*/ 296 h 833"/>
                <a:gd name="T6" fmla="*/ 444 w 724"/>
                <a:gd name="T7" fmla="*/ 139 h 833"/>
                <a:gd name="T8" fmla="*/ 606 w 724"/>
                <a:gd name="T9" fmla="*/ 25 h 833"/>
                <a:gd name="T10" fmla="*/ 700 w 724"/>
                <a:gd name="T11" fmla="*/ 32 h 833"/>
                <a:gd name="T12" fmla="*/ 693 w 724"/>
                <a:gd name="T13" fmla="*/ 126 h 833"/>
                <a:gd name="T14" fmla="*/ 515 w 724"/>
                <a:gd name="T15" fmla="*/ 251 h 833"/>
                <a:gd name="T16" fmla="*/ 323 w 724"/>
                <a:gd name="T17" fmla="*/ 392 h 833"/>
                <a:gd name="T18" fmla="*/ 187 w 724"/>
                <a:gd name="T19" fmla="*/ 744 h 833"/>
                <a:gd name="T20" fmla="*/ 147 w 724"/>
                <a:gd name="T21" fmla="*/ 830 h 833"/>
                <a:gd name="T22" fmla="*/ 125 w 724"/>
                <a:gd name="T23" fmla="*/ 833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4" h="833">
                  <a:moveTo>
                    <a:pt x="125" y="833"/>
                  </a:moveTo>
                  <a:cubicBezTo>
                    <a:pt x="97" y="833"/>
                    <a:pt x="72" y="817"/>
                    <a:pt x="62" y="790"/>
                  </a:cubicBezTo>
                  <a:cubicBezTo>
                    <a:pt x="0" y="622"/>
                    <a:pt x="106" y="416"/>
                    <a:pt x="230" y="296"/>
                  </a:cubicBezTo>
                  <a:cubicBezTo>
                    <a:pt x="296" y="232"/>
                    <a:pt x="371" y="185"/>
                    <a:pt x="444" y="139"/>
                  </a:cubicBezTo>
                  <a:cubicBezTo>
                    <a:pt x="502" y="102"/>
                    <a:pt x="557" y="66"/>
                    <a:pt x="606" y="25"/>
                  </a:cubicBezTo>
                  <a:cubicBezTo>
                    <a:pt x="634" y="0"/>
                    <a:pt x="676" y="4"/>
                    <a:pt x="700" y="32"/>
                  </a:cubicBezTo>
                  <a:cubicBezTo>
                    <a:pt x="724" y="60"/>
                    <a:pt x="721" y="102"/>
                    <a:pt x="693" y="126"/>
                  </a:cubicBezTo>
                  <a:cubicBezTo>
                    <a:pt x="637" y="174"/>
                    <a:pt x="575" y="213"/>
                    <a:pt x="515" y="251"/>
                  </a:cubicBezTo>
                  <a:cubicBezTo>
                    <a:pt x="445" y="295"/>
                    <a:pt x="379" y="337"/>
                    <a:pt x="323" y="392"/>
                  </a:cubicBezTo>
                  <a:cubicBezTo>
                    <a:pt x="227" y="485"/>
                    <a:pt x="149" y="642"/>
                    <a:pt x="187" y="744"/>
                  </a:cubicBezTo>
                  <a:cubicBezTo>
                    <a:pt x="200" y="778"/>
                    <a:pt x="182" y="817"/>
                    <a:pt x="147" y="830"/>
                  </a:cubicBezTo>
                  <a:cubicBezTo>
                    <a:pt x="140" y="832"/>
                    <a:pt x="132" y="833"/>
                    <a:pt x="125" y="83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6" name="Freeform 226">
              <a:extLst>
                <a:ext uri="{FF2B5EF4-FFF2-40B4-BE49-F238E27FC236}">
                  <a16:creationId xmlns:a16="http://schemas.microsoft.com/office/drawing/2014/main" id="{16A621A7-0C45-4456-93F5-0BE41AC71B86}"/>
                </a:ext>
              </a:extLst>
            </p:cNvPr>
            <p:cNvSpPr>
              <a:spLocks/>
            </p:cNvSpPr>
            <p:nvPr/>
          </p:nvSpPr>
          <p:spPr bwMode="auto">
            <a:xfrm>
              <a:off x="7089776" y="3743325"/>
              <a:ext cx="68263" cy="77788"/>
            </a:xfrm>
            <a:custGeom>
              <a:avLst/>
              <a:gdLst>
                <a:gd name="T0" fmla="*/ 81 w 599"/>
                <a:gd name="T1" fmla="*/ 684 h 684"/>
                <a:gd name="T2" fmla="*/ 15 w 599"/>
                <a:gd name="T3" fmla="*/ 623 h 684"/>
                <a:gd name="T4" fmla="*/ 201 w 599"/>
                <a:gd name="T5" fmla="*/ 250 h 684"/>
                <a:gd name="T6" fmla="*/ 322 w 599"/>
                <a:gd name="T7" fmla="*/ 166 h 684"/>
                <a:gd name="T8" fmla="*/ 462 w 599"/>
                <a:gd name="T9" fmla="*/ 49 h 684"/>
                <a:gd name="T10" fmla="*/ 549 w 599"/>
                <a:gd name="T11" fmla="*/ 14 h 684"/>
                <a:gd name="T12" fmla="*/ 585 w 599"/>
                <a:gd name="T13" fmla="*/ 101 h 684"/>
                <a:gd name="T14" fmla="*/ 390 w 599"/>
                <a:gd name="T15" fmla="*/ 280 h 684"/>
                <a:gd name="T16" fmla="*/ 291 w 599"/>
                <a:gd name="T17" fmla="*/ 347 h 684"/>
                <a:gd name="T18" fmla="*/ 148 w 599"/>
                <a:gd name="T19" fmla="*/ 611 h 684"/>
                <a:gd name="T20" fmla="*/ 87 w 599"/>
                <a:gd name="T21" fmla="*/ 684 h 684"/>
                <a:gd name="T22" fmla="*/ 81 w 599"/>
                <a:gd name="T23"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9" h="684">
                  <a:moveTo>
                    <a:pt x="81" y="684"/>
                  </a:moveTo>
                  <a:cubicBezTo>
                    <a:pt x="47" y="684"/>
                    <a:pt x="18" y="658"/>
                    <a:pt x="15" y="623"/>
                  </a:cubicBezTo>
                  <a:cubicBezTo>
                    <a:pt x="0" y="450"/>
                    <a:pt x="153" y="293"/>
                    <a:pt x="201" y="250"/>
                  </a:cubicBezTo>
                  <a:cubicBezTo>
                    <a:pt x="235" y="217"/>
                    <a:pt x="279" y="191"/>
                    <a:pt x="322" y="166"/>
                  </a:cubicBezTo>
                  <a:cubicBezTo>
                    <a:pt x="382" y="130"/>
                    <a:pt x="444" y="93"/>
                    <a:pt x="462" y="49"/>
                  </a:cubicBezTo>
                  <a:cubicBezTo>
                    <a:pt x="476" y="16"/>
                    <a:pt x="515" y="0"/>
                    <a:pt x="549" y="14"/>
                  </a:cubicBezTo>
                  <a:cubicBezTo>
                    <a:pt x="583" y="28"/>
                    <a:pt x="599" y="68"/>
                    <a:pt x="585" y="101"/>
                  </a:cubicBezTo>
                  <a:cubicBezTo>
                    <a:pt x="549" y="185"/>
                    <a:pt x="465" y="235"/>
                    <a:pt x="390" y="280"/>
                  </a:cubicBezTo>
                  <a:cubicBezTo>
                    <a:pt x="352" y="303"/>
                    <a:pt x="316" y="325"/>
                    <a:pt x="291" y="347"/>
                  </a:cubicBezTo>
                  <a:cubicBezTo>
                    <a:pt x="220" y="413"/>
                    <a:pt x="140" y="522"/>
                    <a:pt x="148" y="611"/>
                  </a:cubicBezTo>
                  <a:cubicBezTo>
                    <a:pt x="151" y="648"/>
                    <a:pt x="124" y="680"/>
                    <a:pt x="87" y="684"/>
                  </a:cubicBezTo>
                  <a:cubicBezTo>
                    <a:pt x="85" y="684"/>
                    <a:pt x="83" y="684"/>
                    <a:pt x="81" y="684"/>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7" name="Freeform 227">
              <a:extLst>
                <a:ext uri="{FF2B5EF4-FFF2-40B4-BE49-F238E27FC236}">
                  <a16:creationId xmlns:a16="http://schemas.microsoft.com/office/drawing/2014/main" id="{3CA88ED0-EAE7-4C75-A1F3-451A448225BB}"/>
                </a:ext>
              </a:extLst>
            </p:cNvPr>
            <p:cNvSpPr>
              <a:spLocks/>
            </p:cNvSpPr>
            <p:nvPr/>
          </p:nvSpPr>
          <p:spPr bwMode="auto">
            <a:xfrm>
              <a:off x="7127876" y="3770313"/>
              <a:ext cx="49213" cy="49213"/>
            </a:xfrm>
            <a:custGeom>
              <a:avLst/>
              <a:gdLst>
                <a:gd name="T0" fmla="*/ 89 w 440"/>
                <a:gd name="T1" fmla="*/ 434 h 434"/>
                <a:gd name="T2" fmla="*/ 23 w 440"/>
                <a:gd name="T3" fmla="*/ 375 h 434"/>
                <a:gd name="T4" fmla="*/ 325 w 440"/>
                <a:gd name="T5" fmla="*/ 21 h 434"/>
                <a:gd name="T6" fmla="*/ 337 w 440"/>
                <a:gd name="T7" fmla="*/ 15 h 434"/>
                <a:gd name="T8" fmla="*/ 425 w 440"/>
                <a:gd name="T9" fmla="*/ 49 h 434"/>
                <a:gd name="T10" fmla="*/ 392 w 440"/>
                <a:gd name="T11" fmla="*/ 137 h 434"/>
                <a:gd name="T12" fmla="*/ 379 w 440"/>
                <a:gd name="T13" fmla="*/ 143 h 434"/>
                <a:gd name="T14" fmla="*/ 155 w 440"/>
                <a:gd name="T15" fmla="*/ 360 h 434"/>
                <a:gd name="T16" fmla="*/ 97 w 440"/>
                <a:gd name="T17" fmla="*/ 434 h 434"/>
                <a:gd name="T18" fmla="*/ 89 w 440"/>
                <a:gd name="T19" fmla="*/ 43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34">
                  <a:moveTo>
                    <a:pt x="89" y="434"/>
                  </a:moveTo>
                  <a:cubicBezTo>
                    <a:pt x="56" y="434"/>
                    <a:pt x="27" y="409"/>
                    <a:pt x="23" y="375"/>
                  </a:cubicBezTo>
                  <a:cubicBezTo>
                    <a:pt x="0" y="165"/>
                    <a:pt x="203" y="75"/>
                    <a:pt x="325" y="21"/>
                  </a:cubicBezTo>
                  <a:lnTo>
                    <a:pt x="337" y="15"/>
                  </a:lnTo>
                  <a:cubicBezTo>
                    <a:pt x="371" y="0"/>
                    <a:pt x="410" y="15"/>
                    <a:pt x="425" y="49"/>
                  </a:cubicBezTo>
                  <a:cubicBezTo>
                    <a:pt x="440" y="83"/>
                    <a:pt x="425" y="122"/>
                    <a:pt x="392" y="137"/>
                  </a:cubicBezTo>
                  <a:lnTo>
                    <a:pt x="379" y="143"/>
                  </a:lnTo>
                  <a:cubicBezTo>
                    <a:pt x="245" y="202"/>
                    <a:pt x="144" y="256"/>
                    <a:pt x="155" y="360"/>
                  </a:cubicBezTo>
                  <a:cubicBezTo>
                    <a:pt x="160" y="397"/>
                    <a:pt x="133" y="430"/>
                    <a:pt x="97" y="434"/>
                  </a:cubicBezTo>
                  <a:cubicBezTo>
                    <a:pt x="94" y="434"/>
                    <a:pt x="92" y="434"/>
                    <a:pt x="89" y="434"/>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8" name="Freeform 228">
              <a:extLst>
                <a:ext uri="{FF2B5EF4-FFF2-40B4-BE49-F238E27FC236}">
                  <a16:creationId xmlns:a16="http://schemas.microsoft.com/office/drawing/2014/main" id="{7EF88A2B-F78E-4165-A6F5-9F4B875ADECD}"/>
                </a:ext>
              </a:extLst>
            </p:cNvPr>
            <p:cNvSpPr>
              <a:spLocks/>
            </p:cNvSpPr>
            <p:nvPr/>
          </p:nvSpPr>
          <p:spPr bwMode="auto">
            <a:xfrm>
              <a:off x="7231063" y="3717925"/>
              <a:ext cx="77788" cy="88900"/>
            </a:xfrm>
            <a:custGeom>
              <a:avLst/>
              <a:gdLst>
                <a:gd name="T0" fmla="*/ 122 w 690"/>
                <a:gd name="T1" fmla="*/ 791 h 791"/>
                <a:gd name="T2" fmla="*/ 59 w 690"/>
                <a:gd name="T3" fmla="*/ 748 h 791"/>
                <a:gd name="T4" fmla="*/ 218 w 690"/>
                <a:gd name="T5" fmla="*/ 279 h 791"/>
                <a:gd name="T6" fmla="*/ 420 w 690"/>
                <a:gd name="T7" fmla="*/ 131 h 791"/>
                <a:gd name="T8" fmla="*/ 572 w 690"/>
                <a:gd name="T9" fmla="*/ 24 h 791"/>
                <a:gd name="T10" fmla="*/ 666 w 690"/>
                <a:gd name="T11" fmla="*/ 31 h 791"/>
                <a:gd name="T12" fmla="*/ 659 w 690"/>
                <a:gd name="T13" fmla="*/ 125 h 791"/>
                <a:gd name="T14" fmla="*/ 491 w 690"/>
                <a:gd name="T15" fmla="*/ 243 h 791"/>
                <a:gd name="T16" fmla="*/ 311 w 690"/>
                <a:gd name="T17" fmla="*/ 375 h 791"/>
                <a:gd name="T18" fmla="*/ 184 w 690"/>
                <a:gd name="T19" fmla="*/ 702 h 791"/>
                <a:gd name="T20" fmla="*/ 145 w 690"/>
                <a:gd name="T21" fmla="*/ 787 h 791"/>
                <a:gd name="T22" fmla="*/ 122 w 690"/>
                <a:gd name="T23"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791">
                  <a:moveTo>
                    <a:pt x="122" y="791"/>
                  </a:moveTo>
                  <a:cubicBezTo>
                    <a:pt x="94" y="791"/>
                    <a:pt x="69" y="775"/>
                    <a:pt x="59" y="748"/>
                  </a:cubicBezTo>
                  <a:cubicBezTo>
                    <a:pt x="0" y="588"/>
                    <a:pt x="100" y="393"/>
                    <a:pt x="218" y="279"/>
                  </a:cubicBezTo>
                  <a:cubicBezTo>
                    <a:pt x="281" y="219"/>
                    <a:pt x="351" y="174"/>
                    <a:pt x="420" y="131"/>
                  </a:cubicBezTo>
                  <a:cubicBezTo>
                    <a:pt x="474" y="96"/>
                    <a:pt x="526" y="63"/>
                    <a:pt x="572" y="24"/>
                  </a:cubicBezTo>
                  <a:cubicBezTo>
                    <a:pt x="600" y="0"/>
                    <a:pt x="642" y="3"/>
                    <a:pt x="666" y="31"/>
                  </a:cubicBezTo>
                  <a:cubicBezTo>
                    <a:pt x="690" y="59"/>
                    <a:pt x="686" y="101"/>
                    <a:pt x="659" y="125"/>
                  </a:cubicBezTo>
                  <a:cubicBezTo>
                    <a:pt x="605" y="171"/>
                    <a:pt x="547" y="208"/>
                    <a:pt x="491" y="243"/>
                  </a:cubicBezTo>
                  <a:cubicBezTo>
                    <a:pt x="425" y="285"/>
                    <a:pt x="364" y="324"/>
                    <a:pt x="311" y="375"/>
                  </a:cubicBezTo>
                  <a:cubicBezTo>
                    <a:pt x="221" y="461"/>
                    <a:pt x="149" y="607"/>
                    <a:pt x="184" y="702"/>
                  </a:cubicBezTo>
                  <a:cubicBezTo>
                    <a:pt x="197" y="736"/>
                    <a:pt x="179" y="774"/>
                    <a:pt x="145" y="787"/>
                  </a:cubicBezTo>
                  <a:cubicBezTo>
                    <a:pt x="137" y="790"/>
                    <a:pt x="129" y="791"/>
                    <a:pt x="122" y="79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69" name="Freeform 229">
              <a:extLst>
                <a:ext uri="{FF2B5EF4-FFF2-40B4-BE49-F238E27FC236}">
                  <a16:creationId xmlns:a16="http://schemas.microsoft.com/office/drawing/2014/main" id="{26255BD1-C8F8-46D6-A5C9-AFEF290CF092}"/>
                </a:ext>
              </a:extLst>
            </p:cNvPr>
            <p:cNvSpPr>
              <a:spLocks/>
            </p:cNvSpPr>
            <p:nvPr/>
          </p:nvSpPr>
          <p:spPr bwMode="auto">
            <a:xfrm>
              <a:off x="7265988" y="3732213"/>
              <a:ext cx="63500" cy="73025"/>
            </a:xfrm>
            <a:custGeom>
              <a:avLst/>
              <a:gdLst>
                <a:gd name="T0" fmla="*/ 81 w 572"/>
                <a:gd name="T1" fmla="*/ 651 h 651"/>
                <a:gd name="T2" fmla="*/ 15 w 572"/>
                <a:gd name="T3" fmla="*/ 591 h 651"/>
                <a:gd name="T4" fmla="*/ 191 w 572"/>
                <a:gd name="T5" fmla="*/ 236 h 651"/>
                <a:gd name="T6" fmla="*/ 305 w 572"/>
                <a:gd name="T7" fmla="*/ 157 h 651"/>
                <a:gd name="T8" fmla="*/ 435 w 572"/>
                <a:gd name="T9" fmla="*/ 50 h 651"/>
                <a:gd name="T10" fmla="*/ 522 w 572"/>
                <a:gd name="T11" fmla="*/ 14 h 651"/>
                <a:gd name="T12" fmla="*/ 558 w 572"/>
                <a:gd name="T13" fmla="*/ 102 h 651"/>
                <a:gd name="T14" fmla="*/ 373 w 572"/>
                <a:gd name="T15" fmla="*/ 271 h 651"/>
                <a:gd name="T16" fmla="*/ 281 w 572"/>
                <a:gd name="T17" fmla="*/ 334 h 651"/>
                <a:gd name="T18" fmla="*/ 148 w 572"/>
                <a:gd name="T19" fmla="*/ 579 h 651"/>
                <a:gd name="T20" fmla="*/ 87 w 572"/>
                <a:gd name="T21" fmla="*/ 651 h 651"/>
                <a:gd name="T22" fmla="*/ 81 w 572"/>
                <a:gd name="T23" fmla="*/ 65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2" h="651">
                  <a:moveTo>
                    <a:pt x="81" y="651"/>
                  </a:moveTo>
                  <a:cubicBezTo>
                    <a:pt x="47" y="651"/>
                    <a:pt x="18" y="625"/>
                    <a:pt x="15" y="591"/>
                  </a:cubicBezTo>
                  <a:cubicBezTo>
                    <a:pt x="0" y="426"/>
                    <a:pt x="145" y="278"/>
                    <a:pt x="191" y="236"/>
                  </a:cubicBezTo>
                  <a:cubicBezTo>
                    <a:pt x="223" y="206"/>
                    <a:pt x="265" y="181"/>
                    <a:pt x="305" y="157"/>
                  </a:cubicBezTo>
                  <a:cubicBezTo>
                    <a:pt x="361" y="123"/>
                    <a:pt x="418" y="89"/>
                    <a:pt x="435" y="50"/>
                  </a:cubicBezTo>
                  <a:cubicBezTo>
                    <a:pt x="450" y="16"/>
                    <a:pt x="489" y="0"/>
                    <a:pt x="522" y="14"/>
                  </a:cubicBezTo>
                  <a:cubicBezTo>
                    <a:pt x="556" y="28"/>
                    <a:pt x="572" y="68"/>
                    <a:pt x="558" y="102"/>
                  </a:cubicBezTo>
                  <a:cubicBezTo>
                    <a:pt x="524" y="181"/>
                    <a:pt x="444" y="229"/>
                    <a:pt x="373" y="271"/>
                  </a:cubicBezTo>
                  <a:cubicBezTo>
                    <a:pt x="338" y="293"/>
                    <a:pt x="304" y="313"/>
                    <a:pt x="281" y="334"/>
                  </a:cubicBezTo>
                  <a:cubicBezTo>
                    <a:pt x="215" y="395"/>
                    <a:pt x="140" y="496"/>
                    <a:pt x="148" y="579"/>
                  </a:cubicBezTo>
                  <a:cubicBezTo>
                    <a:pt x="151" y="616"/>
                    <a:pt x="124" y="648"/>
                    <a:pt x="87" y="651"/>
                  </a:cubicBezTo>
                  <a:lnTo>
                    <a:pt x="81" y="651"/>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0" name="Freeform 230">
              <a:extLst>
                <a:ext uri="{FF2B5EF4-FFF2-40B4-BE49-F238E27FC236}">
                  <a16:creationId xmlns:a16="http://schemas.microsoft.com/office/drawing/2014/main" id="{550DD5A5-2835-46E2-86EC-2DB8123E69E2}"/>
                </a:ext>
              </a:extLst>
            </p:cNvPr>
            <p:cNvSpPr>
              <a:spLocks/>
            </p:cNvSpPr>
            <p:nvPr/>
          </p:nvSpPr>
          <p:spPr bwMode="auto">
            <a:xfrm>
              <a:off x="7300913" y="3757613"/>
              <a:ext cx="47625" cy="47625"/>
            </a:xfrm>
            <a:custGeom>
              <a:avLst/>
              <a:gdLst>
                <a:gd name="T0" fmla="*/ 88 w 423"/>
                <a:gd name="T1" fmla="*/ 417 h 417"/>
                <a:gd name="T2" fmla="*/ 22 w 423"/>
                <a:gd name="T3" fmla="*/ 357 h 417"/>
                <a:gd name="T4" fmla="*/ 308 w 423"/>
                <a:gd name="T5" fmla="*/ 20 h 417"/>
                <a:gd name="T6" fmla="*/ 319 w 423"/>
                <a:gd name="T7" fmla="*/ 15 h 417"/>
                <a:gd name="T8" fmla="*/ 408 w 423"/>
                <a:gd name="T9" fmla="*/ 49 h 417"/>
                <a:gd name="T10" fmla="*/ 374 w 423"/>
                <a:gd name="T11" fmla="*/ 137 h 417"/>
                <a:gd name="T12" fmla="*/ 362 w 423"/>
                <a:gd name="T13" fmla="*/ 142 h 417"/>
                <a:gd name="T14" fmla="*/ 155 w 423"/>
                <a:gd name="T15" fmla="*/ 343 h 417"/>
                <a:gd name="T16" fmla="*/ 95 w 423"/>
                <a:gd name="T17" fmla="*/ 416 h 417"/>
                <a:gd name="T18" fmla="*/ 88 w 423"/>
                <a:gd name="T1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17">
                  <a:moveTo>
                    <a:pt x="88" y="417"/>
                  </a:moveTo>
                  <a:cubicBezTo>
                    <a:pt x="54" y="417"/>
                    <a:pt x="26" y="391"/>
                    <a:pt x="22" y="357"/>
                  </a:cubicBezTo>
                  <a:cubicBezTo>
                    <a:pt x="0" y="157"/>
                    <a:pt x="193" y="72"/>
                    <a:pt x="308" y="20"/>
                  </a:cubicBezTo>
                  <a:lnTo>
                    <a:pt x="319" y="15"/>
                  </a:lnTo>
                  <a:cubicBezTo>
                    <a:pt x="353" y="0"/>
                    <a:pt x="393" y="15"/>
                    <a:pt x="408" y="49"/>
                  </a:cubicBezTo>
                  <a:cubicBezTo>
                    <a:pt x="423" y="82"/>
                    <a:pt x="408" y="122"/>
                    <a:pt x="374" y="137"/>
                  </a:cubicBezTo>
                  <a:lnTo>
                    <a:pt x="362" y="142"/>
                  </a:lnTo>
                  <a:cubicBezTo>
                    <a:pt x="238" y="197"/>
                    <a:pt x="144" y="247"/>
                    <a:pt x="155" y="343"/>
                  </a:cubicBezTo>
                  <a:cubicBezTo>
                    <a:pt x="159" y="379"/>
                    <a:pt x="132" y="412"/>
                    <a:pt x="95" y="416"/>
                  </a:cubicBezTo>
                  <a:cubicBezTo>
                    <a:pt x="93" y="416"/>
                    <a:pt x="91" y="417"/>
                    <a:pt x="88" y="417"/>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1" name="Freeform 231">
              <a:extLst>
                <a:ext uri="{FF2B5EF4-FFF2-40B4-BE49-F238E27FC236}">
                  <a16:creationId xmlns:a16="http://schemas.microsoft.com/office/drawing/2014/main" id="{030BEF10-593E-4A9A-9CD8-EA5860E7B80B}"/>
                </a:ext>
              </a:extLst>
            </p:cNvPr>
            <p:cNvSpPr>
              <a:spLocks/>
            </p:cNvSpPr>
            <p:nvPr/>
          </p:nvSpPr>
          <p:spPr bwMode="auto">
            <a:xfrm>
              <a:off x="7356476" y="3760788"/>
              <a:ext cx="77788" cy="90488"/>
            </a:xfrm>
            <a:custGeom>
              <a:avLst/>
              <a:gdLst>
                <a:gd name="T0" fmla="*/ 121 w 689"/>
                <a:gd name="T1" fmla="*/ 792 h 792"/>
                <a:gd name="T2" fmla="*/ 59 w 689"/>
                <a:gd name="T3" fmla="*/ 748 h 792"/>
                <a:gd name="T4" fmla="*/ 218 w 689"/>
                <a:gd name="T5" fmla="*/ 279 h 792"/>
                <a:gd name="T6" fmla="*/ 419 w 689"/>
                <a:gd name="T7" fmla="*/ 131 h 792"/>
                <a:gd name="T8" fmla="*/ 571 w 689"/>
                <a:gd name="T9" fmla="*/ 24 h 792"/>
                <a:gd name="T10" fmla="*/ 665 w 689"/>
                <a:gd name="T11" fmla="*/ 31 h 792"/>
                <a:gd name="T12" fmla="*/ 658 w 689"/>
                <a:gd name="T13" fmla="*/ 125 h 792"/>
                <a:gd name="T14" fmla="*/ 490 w 689"/>
                <a:gd name="T15" fmla="*/ 244 h 792"/>
                <a:gd name="T16" fmla="*/ 311 w 689"/>
                <a:gd name="T17" fmla="*/ 375 h 792"/>
                <a:gd name="T18" fmla="*/ 184 w 689"/>
                <a:gd name="T19" fmla="*/ 702 h 792"/>
                <a:gd name="T20" fmla="*/ 144 w 689"/>
                <a:gd name="T21" fmla="*/ 787 h 792"/>
                <a:gd name="T22" fmla="*/ 121 w 689"/>
                <a:gd name="T23" fmla="*/ 79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9" h="792">
                  <a:moveTo>
                    <a:pt x="121" y="792"/>
                  </a:moveTo>
                  <a:cubicBezTo>
                    <a:pt x="94" y="792"/>
                    <a:pt x="68" y="775"/>
                    <a:pt x="59" y="748"/>
                  </a:cubicBezTo>
                  <a:cubicBezTo>
                    <a:pt x="0" y="588"/>
                    <a:pt x="100" y="393"/>
                    <a:pt x="218" y="279"/>
                  </a:cubicBezTo>
                  <a:cubicBezTo>
                    <a:pt x="280" y="219"/>
                    <a:pt x="351" y="174"/>
                    <a:pt x="419" y="131"/>
                  </a:cubicBezTo>
                  <a:cubicBezTo>
                    <a:pt x="474" y="96"/>
                    <a:pt x="525" y="63"/>
                    <a:pt x="571" y="24"/>
                  </a:cubicBezTo>
                  <a:cubicBezTo>
                    <a:pt x="599" y="0"/>
                    <a:pt x="641" y="4"/>
                    <a:pt x="665" y="31"/>
                  </a:cubicBezTo>
                  <a:cubicBezTo>
                    <a:pt x="689" y="59"/>
                    <a:pt x="686" y="101"/>
                    <a:pt x="658" y="125"/>
                  </a:cubicBezTo>
                  <a:cubicBezTo>
                    <a:pt x="605" y="171"/>
                    <a:pt x="547" y="208"/>
                    <a:pt x="490" y="244"/>
                  </a:cubicBezTo>
                  <a:cubicBezTo>
                    <a:pt x="425" y="285"/>
                    <a:pt x="363" y="324"/>
                    <a:pt x="311" y="375"/>
                  </a:cubicBezTo>
                  <a:cubicBezTo>
                    <a:pt x="221" y="462"/>
                    <a:pt x="149" y="607"/>
                    <a:pt x="184" y="702"/>
                  </a:cubicBezTo>
                  <a:cubicBezTo>
                    <a:pt x="196" y="736"/>
                    <a:pt x="179" y="775"/>
                    <a:pt x="144" y="787"/>
                  </a:cubicBezTo>
                  <a:cubicBezTo>
                    <a:pt x="137" y="790"/>
                    <a:pt x="129" y="792"/>
                    <a:pt x="121" y="79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2" name="Freeform 232">
              <a:extLst>
                <a:ext uri="{FF2B5EF4-FFF2-40B4-BE49-F238E27FC236}">
                  <a16:creationId xmlns:a16="http://schemas.microsoft.com/office/drawing/2014/main" id="{85456003-7A33-44EA-AFD6-89C9FAB23BFB}"/>
                </a:ext>
              </a:extLst>
            </p:cNvPr>
            <p:cNvSpPr>
              <a:spLocks/>
            </p:cNvSpPr>
            <p:nvPr/>
          </p:nvSpPr>
          <p:spPr bwMode="auto">
            <a:xfrm>
              <a:off x="7389813" y="3775075"/>
              <a:ext cx="65088" cy="74613"/>
            </a:xfrm>
            <a:custGeom>
              <a:avLst/>
              <a:gdLst>
                <a:gd name="T0" fmla="*/ 82 w 572"/>
                <a:gd name="T1" fmla="*/ 652 h 652"/>
                <a:gd name="T2" fmla="*/ 15 w 572"/>
                <a:gd name="T3" fmla="*/ 591 h 652"/>
                <a:gd name="T4" fmla="*/ 191 w 572"/>
                <a:gd name="T5" fmla="*/ 237 h 652"/>
                <a:gd name="T6" fmla="*/ 305 w 572"/>
                <a:gd name="T7" fmla="*/ 157 h 652"/>
                <a:gd name="T8" fmla="*/ 435 w 572"/>
                <a:gd name="T9" fmla="*/ 50 h 652"/>
                <a:gd name="T10" fmla="*/ 523 w 572"/>
                <a:gd name="T11" fmla="*/ 15 h 652"/>
                <a:gd name="T12" fmla="*/ 558 w 572"/>
                <a:gd name="T13" fmla="*/ 102 h 652"/>
                <a:gd name="T14" fmla="*/ 374 w 572"/>
                <a:gd name="T15" fmla="*/ 272 h 652"/>
                <a:gd name="T16" fmla="*/ 281 w 572"/>
                <a:gd name="T17" fmla="*/ 335 h 652"/>
                <a:gd name="T18" fmla="*/ 148 w 572"/>
                <a:gd name="T19" fmla="*/ 579 h 652"/>
                <a:gd name="T20" fmla="*/ 87 w 572"/>
                <a:gd name="T21" fmla="*/ 652 h 652"/>
                <a:gd name="T22" fmla="*/ 82 w 572"/>
                <a:gd name="T2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2" h="652">
                  <a:moveTo>
                    <a:pt x="82" y="652"/>
                  </a:moveTo>
                  <a:cubicBezTo>
                    <a:pt x="47" y="652"/>
                    <a:pt x="18" y="626"/>
                    <a:pt x="15" y="591"/>
                  </a:cubicBezTo>
                  <a:cubicBezTo>
                    <a:pt x="0" y="426"/>
                    <a:pt x="146" y="278"/>
                    <a:pt x="191" y="237"/>
                  </a:cubicBezTo>
                  <a:cubicBezTo>
                    <a:pt x="224" y="206"/>
                    <a:pt x="265" y="182"/>
                    <a:pt x="305" y="157"/>
                  </a:cubicBezTo>
                  <a:cubicBezTo>
                    <a:pt x="361" y="124"/>
                    <a:pt x="419" y="90"/>
                    <a:pt x="435" y="50"/>
                  </a:cubicBezTo>
                  <a:cubicBezTo>
                    <a:pt x="450" y="16"/>
                    <a:pt x="489" y="0"/>
                    <a:pt x="523" y="15"/>
                  </a:cubicBezTo>
                  <a:cubicBezTo>
                    <a:pt x="556" y="29"/>
                    <a:pt x="572" y="68"/>
                    <a:pt x="558" y="102"/>
                  </a:cubicBezTo>
                  <a:cubicBezTo>
                    <a:pt x="524" y="182"/>
                    <a:pt x="444" y="230"/>
                    <a:pt x="374" y="272"/>
                  </a:cubicBezTo>
                  <a:cubicBezTo>
                    <a:pt x="338" y="293"/>
                    <a:pt x="304" y="314"/>
                    <a:pt x="281" y="335"/>
                  </a:cubicBezTo>
                  <a:cubicBezTo>
                    <a:pt x="215" y="396"/>
                    <a:pt x="141" y="497"/>
                    <a:pt x="148" y="579"/>
                  </a:cubicBezTo>
                  <a:cubicBezTo>
                    <a:pt x="151" y="616"/>
                    <a:pt x="124" y="649"/>
                    <a:pt x="87" y="652"/>
                  </a:cubicBezTo>
                  <a:cubicBezTo>
                    <a:pt x="85" y="652"/>
                    <a:pt x="83" y="652"/>
                    <a:pt x="82" y="652"/>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3" name="Freeform 233">
              <a:extLst>
                <a:ext uri="{FF2B5EF4-FFF2-40B4-BE49-F238E27FC236}">
                  <a16:creationId xmlns:a16="http://schemas.microsoft.com/office/drawing/2014/main" id="{17F173BB-FC5B-48C0-906C-8170747694CD}"/>
                </a:ext>
              </a:extLst>
            </p:cNvPr>
            <p:cNvSpPr>
              <a:spLocks/>
            </p:cNvSpPr>
            <p:nvPr/>
          </p:nvSpPr>
          <p:spPr bwMode="auto">
            <a:xfrm>
              <a:off x="7426326" y="3800475"/>
              <a:ext cx="47625" cy="47625"/>
            </a:xfrm>
            <a:custGeom>
              <a:avLst/>
              <a:gdLst>
                <a:gd name="T0" fmla="*/ 89 w 423"/>
                <a:gd name="T1" fmla="*/ 417 h 417"/>
                <a:gd name="T2" fmla="*/ 22 w 423"/>
                <a:gd name="T3" fmla="*/ 358 h 417"/>
                <a:gd name="T4" fmla="*/ 309 w 423"/>
                <a:gd name="T5" fmla="*/ 21 h 417"/>
                <a:gd name="T6" fmla="*/ 320 w 423"/>
                <a:gd name="T7" fmla="*/ 15 h 417"/>
                <a:gd name="T8" fmla="*/ 408 w 423"/>
                <a:gd name="T9" fmla="*/ 49 h 417"/>
                <a:gd name="T10" fmla="*/ 374 w 423"/>
                <a:gd name="T11" fmla="*/ 137 h 417"/>
                <a:gd name="T12" fmla="*/ 363 w 423"/>
                <a:gd name="T13" fmla="*/ 142 h 417"/>
                <a:gd name="T14" fmla="*/ 155 w 423"/>
                <a:gd name="T15" fmla="*/ 343 h 417"/>
                <a:gd name="T16" fmla="*/ 96 w 423"/>
                <a:gd name="T17" fmla="*/ 417 h 417"/>
                <a:gd name="T18" fmla="*/ 89 w 423"/>
                <a:gd name="T1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17">
                  <a:moveTo>
                    <a:pt x="89" y="417"/>
                  </a:moveTo>
                  <a:cubicBezTo>
                    <a:pt x="55" y="417"/>
                    <a:pt x="26" y="392"/>
                    <a:pt x="22" y="358"/>
                  </a:cubicBezTo>
                  <a:cubicBezTo>
                    <a:pt x="0" y="158"/>
                    <a:pt x="193" y="72"/>
                    <a:pt x="309" y="21"/>
                  </a:cubicBezTo>
                  <a:lnTo>
                    <a:pt x="320" y="15"/>
                  </a:lnTo>
                  <a:cubicBezTo>
                    <a:pt x="354" y="0"/>
                    <a:pt x="393" y="15"/>
                    <a:pt x="408" y="49"/>
                  </a:cubicBezTo>
                  <a:cubicBezTo>
                    <a:pt x="423" y="83"/>
                    <a:pt x="408" y="122"/>
                    <a:pt x="374" y="137"/>
                  </a:cubicBezTo>
                  <a:lnTo>
                    <a:pt x="363" y="142"/>
                  </a:lnTo>
                  <a:cubicBezTo>
                    <a:pt x="238" y="197"/>
                    <a:pt x="145" y="247"/>
                    <a:pt x="155" y="343"/>
                  </a:cubicBezTo>
                  <a:cubicBezTo>
                    <a:pt x="159" y="379"/>
                    <a:pt x="133" y="413"/>
                    <a:pt x="96" y="417"/>
                  </a:cubicBezTo>
                  <a:cubicBezTo>
                    <a:pt x="94" y="417"/>
                    <a:pt x="91" y="417"/>
                    <a:pt x="89" y="41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4" name="Freeform 234">
              <a:extLst>
                <a:ext uri="{FF2B5EF4-FFF2-40B4-BE49-F238E27FC236}">
                  <a16:creationId xmlns:a16="http://schemas.microsoft.com/office/drawing/2014/main" id="{AD0FB1CD-A1EA-48D6-B072-54742FCAA2C3}"/>
                </a:ext>
              </a:extLst>
            </p:cNvPr>
            <p:cNvSpPr>
              <a:spLocks/>
            </p:cNvSpPr>
            <p:nvPr/>
          </p:nvSpPr>
          <p:spPr bwMode="auto">
            <a:xfrm>
              <a:off x="7118351" y="3854450"/>
              <a:ext cx="17463" cy="15875"/>
            </a:xfrm>
            <a:custGeom>
              <a:avLst/>
              <a:gdLst>
                <a:gd name="T0" fmla="*/ 100 w 166"/>
                <a:gd name="T1" fmla="*/ 134 h 134"/>
                <a:gd name="T2" fmla="*/ 66 w 166"/>
                <a:gd name="T3" fmla="*/ 134 h 134"/>
                <a:gd name="T4" fmla="*/ 0 w 166"/>
                <a:gd name="T5" fmla="*/ 67 h 134"/>
                <a:gd name="T6" fmla="*/ 66 w 166"/>
                <a:gd name="T7" fmla="*/ 0 h 134"/>
                <a:gd name="T8" fmla="*/ 100 w 166"/>
                <a:gd name="T9" fmla="*/ 0 h 134"/>
                <a:gd name="T10" fmla="*/ 166 w 166"/>
                <a:gd name="T11" fmla="*/ 67 h 134"/>
                <a:gd name="T12" fmla="*/ 100 w 166"/>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66" h="134">
                  <a:moveTo>
                    <a:pt x="100" y="134"/>
                  </a:moveTo>
                  <a:lnTo>
                    <a:pt x="66" y="134"/>
                  </a:lnTo>
                  <a:cubicBezTo>
                    <a:pt x="30" y="134"/>
                    <a:pt x="0" y="104"/>
                    <a:pt x="0" y="67"/>
                  </a:cubicBezTo>
                  <a:cubicBezTo>
                    <a:pt x="0" y="31"/>
                    <a:pt x="30" y="0"/>
                    <a:pt x="66" y="0"/>
                  </a:cubicBezTo>
                  <a:lnTo>
                    <a:pt x="100" y="0"/>
                  </a:lnTo>
                  <a:cubicBezTo>
                    <a:pt x="137" y="0"/>
                    <a:pt x="166" y="31"/>
                    <a:pt x="166" y="67"/>
                  </a:cubicBezTo>
                  <a:cubicBezTo>
                    <a:pt x="166" y="104"/>
                    <a:pt x="137" y="134"/>
                    <a:pt x="100"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5" name="Freeform 235">
              <a:extLst>
                <a:ext uri="{FF2B5EF4-FFF2-40B4-BE49-F238E27FC236}">
                  <a16:creationId xmlns:a16="http://schemas.microsoft.com/office/drawing/2014/main" id="{6C28666C-8C25-4E99-B6A0-43DE19149E63}"/>
                </a:ext>
              </a:extLst>
            </p:cNvPr>
            <p:cNvSpPr>
              <a:spLocks/>
            </p:cNvSpPr>
            <p:nvPr/>
          </p:nvSpPr>
          <p:spPr bwMode="auto">
            <a:xfrm>
              <a:off x="7054851" y="3854450"/>
              <a:ext cx="60325" cy="15875"/>
            </a:xfrm>
            <a:custGeom>
              <a:avLst/>
              <a:gdLst>
                <a:gd name="T0" fmla="*/ 466 w 533"/>
                <a:gd name="T1" fmla="*/ 134 h 134"/>
                <a:gd name="T2" fmla="*/ 66 w 533"/>
                <a:gd name="T3" fmla="*/ 134 h 134"/>
                <a:gd name="T4" fmla="*/ 0 w 533"/>
                <a:gd name="T5" fmla="*/ 67 h 134"/>
                <a:gd name="T6" fmla="*/ 66 w 533"/>
                <a:gd name="T7" fmla="*/ 0 h 134"/>
                <a:gd name="T8" fmla="*/ 466 w 533"/>
                <a:gd name="T9" fmla="*/ 0 h 134"/>
                <a:gd name="T10" fmla="*/ 533 w 533"/>
                <a:gd name="T11" fmla="*/ 67 h 134"/>
                <a:gd name="T12" fmla="*/ 466 w 53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533" h="134">
                  <a:moveTo>
                    <a:pt x="466" y="134"/>
                  </a:moveTo>
                  <a:lnTo>
                    <a:pt x="66" y="134"/>
                  </a:lnTo>
                  <a:cubicBezTo>
                    <a:pt x="30" y="134"/>
                    <a:pt x="0" y="104"/>
                    <a:pt x="0" y="67"/>
                  </a:cubicBezTo>
                  <a:cubicBezTo>
                    <a:pt x="0" y="31"/>
                    <a:pt x="30" y="0"/>
                    <a:pt x="66" y="0"/>
                  </a:cubicBezTo>
                  <a:lnTo>
                    <a:pt x="466" y="0"/>
                  </a:lnTo>
                  <a:cubicBezTo>
                    <a:pt x="503" y="0"/>
                    <a:pt x="533" y="31"/>
                    <a:pt x="533" y="67"/>
                  </a:cubicBezTo>
                  <a:cubicBezTo>
                    <a:pt x="533" y="104"/>
                    <a:pt x="503" y="134"/>
                    <a:pt x="466"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6" name="Freeform 236">
              <a:extLst>
                <a:ext uri="{FF2B5EF4-FFF2-40B4-BE49-F238E27FC236}">
                  <a16:creationId xmlns:a16="http://schemas.microsoft.com/office/drawing/2014/main" id="{DC9F03EA-1D22-403F-84FF-F0E65207F7C0}"/>
                </a:ext>
              </a:extLst>
            </p:cNvPr>
            <p:cNvSpPr>
              <a:spLocks/>
            </p:cNvSpPr>
            <p:nvPr/>
          </p:nvSpPr>
          <p:spPr bwMode="auto">
            <a:xfrm>
              <a:off x="7426326" y="3873500"/>
              <a:ext cx="15875" cy="15875"/>
            </a:xfrm>
            <a:custGeom>
              <a:avLst/>
              <a:gdLst>
                <a:gd name="T0" fmla="*/ 83 w 150"/>
                <a:gd name="T1" fmla="*/ 134 h 134"/>
                <a:gd name="T2" fmla="*/ 67 w 150"/>
                <a:gd name="T3" fmla="*/ 134 h 134"/>
                <a:gd name="T4" fmla="*/ 0 w 150"/>
                <a:gd name="T5" fmla="*/ 67 h 134"/>
                <a:gd name="T6" fmla="*/ 67 w 150"/>
                <a:gd name="T7" fmla="*/ 0 h 134"/>
                <a:gd name="T8" fmla="*/ 83 w 150"/>
                <a:gd name="T9" fmla="*/ 0 h 134"/>
                <a:gd name="T10" fmla="*/ 150 w 150"/>
                <a:gd name="T11" fmla="*/ 67 h 134"/>
                <a:gd name="T12" fmla="*/ 83 w 150"/>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50" h="134">
                  <a:moveTo>
                    <a:pt x="83" y="134"/>
                  </a:moveTo>
                  <a:lnTo>
                    <a:pt x="67" y="134"/>
                  </a:lnTo>
                  <a:cubicBezTo>
                    <a:pt x="30" y="134"/>
                    <a:pt x="0" y="104"/>
                    <a:pt x="0" y="67"/>
                  </a:cubicBezTo>
                  <a:cubicBezTo>
                    <a:pt x="0" y="30"/>
                    <a:pt x="30" y="0"/>
                    <a:pt x="67" y="0"/>
                  </a:cubicBezTo>
                  <a:lnTo>
                    <a:pt x="83" y="0"/>
                  </a:lnTo>
                  <a:cubicBezTo>
                    <a:pt x="120" y="0"/>
                    <a:pt x="150" y="30"/>
                    <a:pt x="150" y="67"/>
                  </a:cubicBezTo>
                  <a:cubicBezTo>
                    <a:pt x="150" y="104"/>
                    <a:pt x="120" y="134"/>
                    <a:pt x="83"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7" name="Freeform 237">
              <a:extLst>
                <a:ext uri="{FF2B5EF4-FFF2-40B4-BE49-F238E27FC236}">
                  <a16:creationId xmlns:a16="http://schemas.microsoft.com/office/drawing/2014/main" id="{ECEDA154-52F1-4B74-8A7D-FD17F1F47BC5}"/>
                </a:ext>
              </a:extLst>
            </p:cNvPr>
            <p:cNvSpPr>
              <a:spLocks/>
            </p:cNvSpPr>
            <p:nvPr/>
          </p:nvSpPr>
          <p:spPr bwMode="auto">
            <a:xfrm>
              <a:off x="7362826" y="3873500"/>
              <a:ext cx="60325" cy="15875"/>
            </a:xfrm>
            <a:custGeom>
              <a:avLst/>
              <a:gdLst>
                <a:gd name="T0" fmla="*/ 467 w 534"/>
                <a:gd name="T1" fmla="*/ 134 h 134"/>
                <a:gd name="T2" fmla="*/ 67 w 534"/>
                <a:gd name="T3" fmla="*/ 134 h 134"/>
                <a:gd name="T4" fmla="*/ 0 w 534"/>
                <a:gd name="T5" fmla="*/ 67 h 134"/>
                <a:gd name="T6" fmla="*/ 67 w 534"/>
                <a:gd name="T7" fmla="*/ 0 h 134"/>
                <a:gd name="T8" fmla="*/ 467 w 534"/>
                <a:gd name="T9" fmla="*/ 0 h 134"/>
                <a:gd name="T10" fmla="*/ 534 w 534"/>
                <a:gd name="T11" fmla="*/ 67 h 134"/>
                <a:gd name="T12" fmla="*/ 467 w 534"/>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534" h="134">
                  <a:moveTo>
                    <a:pt x="467" y="134"/>
                  </a:moveTo>
                  <a:lnTo>
                    <a:pt x="67" y="134"/>
                  </a:lnTo>
                  <a:cubicBezTo>
                    <a:pt x="30" y="134"/>
                    <a:pt x="0" y="104"/>
                    <a:pt x="0" y="67"/>
                  </a:cubicBezTo>
                  <a:cubicBezTo>
                    <a:pt x="0" y="30"/>
                    <a:pt x="30" y="0"/>
                    <a:pt x="67" y="0"/>
                  </a:cubicBezTo>
                  <a:lnTo>
                    <a:pt x="467" y="0"/>
                  </a:lnTo>
                  <a:cubicBezTo>
                    <a:pt x="504" y="0"/>
                    <a:pt x="534" y="30"/>
                    <a:pt x="534" y="67"/>
                  </a:cubicBezTo>
                  <a:cubicBezTo>
                    <a:pt x="534" y="104"/>
                    <a:pt x="504" y="134"/>
                    <a:pt x="467" y="1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8" name="Freeform 238">
              <a:extLst>
                <a:ext uri="{FF2B5EF4-FFF2-40B4-BE49-F238E27FC236}">
                  <a16:creationId xmlns:a16="http://schemas.microsoft.com/office/drawing/2014/main" id="{2AA1149E-B3A1-425F-AB7C-2DB71AA0BBAA}"/>
                </a:ext>
              </a:extLst>
            </p:cNvPr>
            <p:cNvSpPr>
              <a:spLocks/>
            </p:cNvSpPr>
            <p:nvPr/>
          </p:nvSpPr>
          <p:spPr bwMode="auto">
            <a:xfrm>
              <a:off x="7296151" y="3836988"/>
              <a:ext cx="17463" cy="15875"/>
            </a:xfrm>
            <a:custGeom>
              <a:avLst/>
              <a:gdLst>
                <a:gd name="T0" fmla="*/ 67 w 158"/>
                <a:gd name="T1" fmla="*/ 133 h 134"/>
                <a:gd name="T2" fmla="*/ 0 w 158"/>
                <a:gd name="T3" fmla="*/ 67 h 134"/>
                <a:gd name="T4" fmla="*/ 66 w 158"/>
                <a:gd name="T5" fmla="*/ 0 h 134"/>
                <a:gd name="T6" fmla="*/ 75 w 158"/>
                <a:gd name="T7" fmla="*/ 0 h 134"/>
                <a:gd name="T8" fmla="*/ 78 w 158"/>
                <a:gd name="T9" fmla="*/ 0 h 134"/>
                <a:gd name="T10" fmla="*/ 82 w 158"/>
                <a:gd name="T11" fmla="*/ 0 h 134"/>
                <a:gd name="T12" fmla="*/ 90 w 158"/>
                <a:gd name="T13" fmla="*/ 0 h 134"/>
                <a:gd name="T14" fmla="*/ 90 w 158"/>
                <a:gd name="T15" fmla="*/ 1 h 134"/>
                <a:gd name="T16" fmla="*/ 158 w 158"/>
                <a:gd name="T17" fmla="*/ 67 h 134"/>
                <a:gd name="T18" fmla="*/ 90 w 158"/>
                <a:gd name="T19" fmla="*/ 132 h 134"/>
                <a:gd name="T20" fmla="*/ 90 w 158"/>
                <a:gd name="T21" fmla="*/ 133 h 134"/>
                <a:gd name="T22" fmla="*/ 78 w 158"/>
                <a:gd name="T23" fmla="*/ 133 h 134"/>
                <a:gd name="T24" fmla="*/ 76 w 158"/>
                <a:gd name="T25" fmla="*/ 133 h 134"/>
                <a:gd name="T26" fmla="*/ 67 w 158"/>
                <a:gd name="T27" fmla="*/ 1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134">
                  <a:moveTo>
                    <a:pt x="67" y="133"/>
                  </a:moveTo>
                  <a:cubicBezTo>
                    <a:pt x="30" y="133"/>
                    <a:pt x="0" y="104"/>
                    <a:pt x="0" y="67"/>
                  </a:cubicBezTo>
                  <a:cubicBezTo>
                    <a:pt x="0" y="30"/>
                    <a:pt x="30" y="0"/>
                    <a:pt x="66" y="0"/>
                  </a:cubicBezTo>
                  <a:lnTo>
                    <a:pt x="75" y="0"/>
                  </a:lnTo>
                  <a:cubicBezTo>
                    <a:pt x="76" y="0"/>
                    <a:pt x="77" y="0"/>
                    <a:pt x="78" y="0"/>
                  </a:cubicBezTo>
                  <a:lnTo>
                    <a:pt x="82" y="0"/>
                  </a:lnTo>
                  <a:lnTo>
                    <a:pt x="90" y="0"/>
                  </a:lnTo>
                  <a:lnTo>
                    <a:pt x="90" y="1"/>
                  </a:lnTo>
                  <a:cubicBezTo>
                    <a:pt x="152" y="6"/>
                    <a:pt x="158" y="52"/>
                    <a:pt x="158" y="67"/>
                  </a:cubicBezTo>
                  <a:cubicBezTo>
                    <a:pt x="158" y="117"/>
                    <a:pt x="119" y="130"/>
                    <a:pt x="90" y="132"/>
                  </a:cubicBezTo>
                  <a:lnTo>
                    <a:pt x="90" y="133"/>
                  </a:lnTo>
                  <a:lnTo>
                    <a:pt x="78" y="133"/>
                  </a:lnTo>
                  <a:lnTo>
                    <a:pt x="76" y="133"/>
                  </a:lnTo>
                  <a:cubicBezTo>
                    <a:pt x="72" y="133"/>
                    <a:pt x="70" y="134"/>
                    <a:pt x="67" y="13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79" name="Freeform 239">
              <a:extLst>
                <a:ext uri="{FF2B5EF4-FFF2-40B4-BE49-F238E27FC236}">
                  <a16:creationId xmlns:a16="http://schemas.microsoft.com/office/drawing/2014/main" id="{EFF045DE-D46A-4564-8F86-1A8439E332F0}"/>
                </a:ext>
              </a:extLst>
            </p:cNvPr>
            <p:cNvSpPr>
              <a:spLocks/>
            </p:cNvSpPr>
            <p:nvPr/>
          </p:nvSpPr>
          <p:spPr bwMode="auto">
            <a:xfrm>
              <a:off x="7248526" y="3836988"/>
              <a:ext cx="44450" cy="15875"/>
            </a:xfrm>
            <a:custGeom>
              <a:avLst/>
              <a:gdLst>
                <a:gd name="T0" fmla="*/ 0 w 393"/>
                <a:gd name="T1" fmla="*/ 134 h 134"/>
                <a:gd name="T2" fmla="*/ 0 w 393"/>
                <a:gd name="T3" fmla="*/ 1 h 134"/>
                <a:gd name="T4" fmla="*/ 327 w 393"/>
                <a:gd name="T5" fmla="*/ 0 h 134"/>
                <a:gd name="T6" fmla="*/ 327 w 393"/>
                <a:gd name="T7" fmla="*/ 0 h 134"/>
                <a:gd name="T8" fmla="*/ 393 w 393"/>
                <a:gd name="T9" fmla="*/ 67 h 134"/>
                <a:gd name="T10" fmla="*/ 327 w 393"/>
                <a:gd name="T11" fmla="*/ 134 h 134"/>
                <a:gd name="T12" fmla="*/ 0 w 39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393" h="134">
                  <a:moveTo>
                    <a:pt x="0" y="134"/>
                  </a:moveTo>
                  <a:lnTo>
                    <a:pt x="0" y="1"/>
                  </a:lnTo>
                  <a:lnTo>
                    <a:pt x="327" y="0"/>
                  </a:lnTo>
                  <a:lnTo>
                    <a:pt x="327" y="0"/>
                  </a:lnTo>
                  <a:cubicBezTo>
                    <a:pt x="363" y="0"/>
                    <a:pt x="393" y="30"/>
                    <a:pt x="393" y="67"/>
                  </a:cubicBezTo>
                  <a:cubicBezTo>
                    <a:pt x="393" y="104"/>
                    <a:pt x="363" y="134"/>
                    <a:pt x="327" y="134"/>
                  </a:cubicBezTo>
                  <a:lnTo>
                    <a:pt x="0" y="134"/>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0" name="Freeform 240">
              <a:extLst>
                <a:ext uri="{FF2B5EF4-FFF2-40B4-BE49-F238E27FC236}">
                  <a16:creationId xmlns:a16="http://schemas.microsoft.com/office/drawing/2014/main" id="{FEDB3E56-3456-4273-9EB1-64F8B3B2F371}"/>
                </a:ext>
              </a:extLst>
            </p:cNvPr>
            <p:cNvSpPr>
              <a:spLocks/>
            </p:cNvSpPr>
            <p:nvPr/>
          </p:nvSpPr>
          <p:spPr bwMode="auto">
            <a:xfrm>
              <a:off x="7189788" y="3786188"/>
              <a:ext cx="15875" cy="15875"/>
            </a:xfrm>
            <a:custGeom>
              <a:avLst/>
              <a:gdLst>
                <a:gd name="T0" fmla="*/ 68 w 142"/>
                <a:gd name="T1" fmla="*/ 148 h 148"/>
                <a:gd name="T2" fmla="*/ 66 w 142"/>
                <a:gd name="T3" fmla="*/ 148 h 148"/>
                <a:gd name="T4" fmla="*/ 1 w 142"/>
                <a:gd name="T5" fmla="*/ 80 h 148"/>
                <a:gd name="T6" fmla="*/ 55 w 142"/>
                <a:gd name="T7" fmla="*/ 7 h 148"/>
                <a:gd name="T8" fmla="*/ 131 w 142"/>
                <a:gd name="T9" fmla="*/ 42 h 148"/>
                <a:gd name="T10" fmla="*/ 129 w 142"/>
                <a:gd name="T11" fmla="*/ 108 h 148"/>
                <a:gd name="T12" fmla="*/ 68 w 14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42" h="148">
                  <a:moveTo>
                    <a:pt x="68" y="148"/>
                  </a:moveTo>
                  <a:lnTo>
                    <a:pt x="66" y="148"/>
                  </a:lnTo>
                  <a:cubicBezTo>
                    <a:pt x="29" y="147"/>
                    <a:pt x="0" y="117"/>
                    <a:pt x="1" y="80"/>
                  </a:cubicBezTo>
                  <a:cubicBezTo>
                    <a:pt x="3" y="24"/>
                    <a:pt x="42" y="10"/>
                    <a:pt x="55" y="7"/>
                  </a:cubicBezTo>
                  <a:cubicBezTo>
                    <a:pt x="84" y="0"/>
                    <a:pt x="116" y="14"/>
                    <a:pt x="131" y="42"/>
                  </a:cubicBezTo>
                  <a:cubicBezTo>
                    <a:pt x="142" y="64"/>
                    <a:pt x="141" y="89"/>
                    <a:pt x="129" y="108"/>
                  </a:cubicBezTo>
                  <a:cubicBezTo>
                    <a:pt x="119" y="132"/>
                    <a:pt x="95" y="148"/>
                    <a:pt x="68" y="14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1" name="Freeform 241">
              <a:extLst>
                <a:ext uri="{FF2B5EF4-FFF2-40B4-BE49-F238E27FC236}">
                  <a16:creationId xmlns:a16="http://schemas.microsoft.com/office/drawing/2014/main" id="{E8241088-12C8-4C70-B054-885CA3084B8C}"/>
                </a:ext>
              </a:extLst>
            </p:cNvPr>
            <p:cNvSpPr>
              <a:spLocks/>
            </p:cNvSpPr>
            <p:nvPr/>
          </p:nvSpPr>
          <p:spPr bwMode="auto">
            <a:xfrm>
              <a:off x="7086601" y="3986213"/>
              <a:ext cx="15875" cy="41275"/>
            </a:xfrm>
            <a:custGeom>
              <a:avLst/>
              <a:gdLst>
                <a:gd name="T0" fmla="*/ 67 w 134"/>
                <a:gd name="T1" fmla="*/ 367 h 367"/>
                <a:gd name="T2" fmla="*/ 0 w 134"/>
                <a:gd name="T3" fmla="*/ 300 h 367"/>
                <a:gd name="T4" fmla="*/ 0 w 134"/>
                <a:gd name="T5" fmla="*/ 67 h 367"/>
                <a:gd name="T6" fmla="*/ 67 w 134"/>
                <a:gd name="T7" fmla="*/ 0 h 367"/>
                <a:gd name="T8" fmla="*/ 134 w 134"/>
                <a:gd name="T9" fmla="*/ 67 h 367"/>
                <a:gd name="T10" fmla="*/ 134 w 134"/>
                <a:gd name="T11" fmla="*/ 300 h 367"/>
                <a:gd name="T12" fmla="*/ 67 w 134"/>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4" h="367">
                  <a:moveTo>
                    <a:pt x="67" y="367"/>
                  </a:moveTo>
                  <a:cubicBezTo>
                    <a:pt x="30" y="367"/>
                    <a:pt x="0" y="337"/>
                    <a:pt x="0" y="300"/>
                  </a:cubicBezTo>
                  <a:lnTo>
                    <a:pt x="0" y="67"/>
                  </a:lnTo>
                  <a:cubicBezTo>
                    <a:pt x="0" y="30"/>
                    <a:pt x="30" y="0"/>
                    <a:pt x="67" y="0"/>
                  </a:cubicBezTo>
                  <a:cubicBezTo>
                    <a:pt x="103" y="0"/>
                    <a:pt x="134" y="30"/>
                    <a:pt x="134" y="67"/>
                  </a:cubicBezTo>
                  <a:lnTo>
                    <a:pt x="134" y="300"/>
                  </a:lnTo>
                  <a:cubicBezTo>
                    <a:pt x="134" y="337"/>
                    <a:pt x="103" y="367"/>
                    <a:pt x="67" y="36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2" name="Freeform 242">
              <a:extLst>
                <a:ext uri="{FF2B5EF4-FFF2-40B4-BE49-F238E27FC236}">
                  <a16:creationId xmlns:a16="http://schemas.microsoft.com/office/drawing/2014/main" id="{D92E2B78-D439-4EFF-B05D-8B55980BE16A}"/>
                </a:ext>
              </a:extLst>
            </p:cNvPr>
            <p:cNvSpPr>
              <a:spLocks/>
            </p:cNvSpPr>
            <p:nvPr/>
          </p:nvSpPr>
          <p:spPr bwMode="auto">
            <a:xfrm>
              <a:off x="7129463" y="3986213"/>
              <a:ext cx="14288" cy="41275"/>
            </a:xfrm>
            <a:custGeom>
              <a:avLst/>
              <a:gdLst>
                <a:gd name="T0" fmla="*/ 67 w 133"/>
                <a:gd name="T1" fmla="*/ 367 h 367"/>
                <a:gd name="T2" fmla="*/ 0 w 133"/>
                <a:gd name="T3" fmla="*/ 300 h 367"/>
                <a:gd name="T4" fmla="*/ 0 w 133"/>
                <a:gd name="T5" fmla="*/ 66 h 367"/>
                <a:gd name="T6" fmla="*/ 67 w 133"/>
                <a:gd name="T7" fmla="*/ 0 h 367"/>
                <a:gd name="T8" fmla="*/ 133 w 133"/>
                <a:gd name="T9" fmla="*/ 66 h 367"/>
                <a:gd name="T10" fmla="*/ 133 w 133"/>
                <a:gd name="T11" fmla="*/ 300 h 367"/>
                <a:gd name="T12" fmla="*/ 67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7" y="367"/>
                  </a:moveTo>
                  <a:cubicBezTo>
                    <a:pt x="30" y="367"/>
                    <a:pt x="0" y="337"/>
                    <a:pt x="0" y="300"/>
                  </a:cubicBezTo>
                  <a:lnTo>
                    <a:pt x="0" y="66"/>
                  </a:lnTo>
                  <a:cubicBezTo>
                    <a:pt x="0" y="30"/>
                    <a:pt x="30" y="0"/>
                    <a:pt x="67" y="0"/>
                  </a:cubicBezTo>
                  <a:cubicBezTo>
                    <a:pt x="103" y="0"/>
                    <a:pt x="133" y="30"/>
                    <a:pt x="133" y="66"/>
                  </a:cubicBezTo>
                  <a:lnTo>
                    <a:pt x="133" y="300"/>
                  </a:lnTo>
                  <a:cubicBezTo>
                    <a:pt x="133" y="337"/>
                    <a:pt x="103" y="367"/>
                    <a:pt x="67" y="36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3" name="Freeform 243">
              <a:extLst>
                <a:ext uri="{FF2B5EF4-FFF2-40B4-BE49-F238E27FC236}">
                  <a16:creationId xmlns:a16="http://schemas.microsoft.com/office/drawing/2014/main" id="{1EBA2D0D-3E4F-410A-9200-AB10C2F69B5D}"/>
                </a:ext>
              </a:extLst>
            </p:cNvPr>
            <p:cNvSpPr>
              <a:spLocks/>
            </p:cNvSpPr>
            <p:nvPr/>
          </p:nvSpPr>
          <p:spPr bwMode="auto">
            <a:xfrm>
              <a:off x="7346951" y="3983038"/>
              <a:ext cx="14288" cy="42863"/>
            </a:xfrm>
            <a:custGeom>
              <a:avLst/>
              <a:gdLst>
                <a:gd name="T0" fmla="*/ 67 w 133"/>
                <a:gd name="T1" fmla="*/ 367 h 367"/>
                <a:gd name="T2" fmla="*/ 0 w 133"/>
                <a:gd name="T3" fmla="*/ 300 h 367"/>
                <a:gd name="T4" fmla="*/ 0 w 133"/>
                <a:gd name="T5" fmla="*/ 67 h 367"/>
                <a:gd name="T6" fmla="*/ 67 w 133"/>
                <a:gd name="T7" fmla="*/ 0 h 367"/>
                <a:gd name="T8" fmla="*/ 133 w 133"/>
                <a:gd name="T9" fmla="*/ 67 h 367"/>
                <a:gd name="T10" fmla="*/ 133 w 133"/>
                <a:gd name="T11" fmla="*/ 300 h 367"/>
                <a:gd name="T12" fmla="*/ 67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7" y="367"/>
                  </a:moveTo>
                  <a:cubicBezTo>
                    <a:pt x="30" y="367"/>
                    <a:pt x="0" y="337"/>
                    <a:pt x="0" y="300"/>
                  </a:cubicBezTo>
                  <a:lnTo>
                    <a:pt x="0" y="67"/>
                  </a:lnTo>
                  <a:cubicBezTo>
                    <a:pt x="0" y="30"/>
                    <a:pt x="30" y="0"/>
                    <a:pt x="67" y="0"/>
                  </a:cubicBezTo>
                  <a:cubicBezTo>
                    <a:pt x="104" y="0"/>
                    <a:pt x="133" y="30"/>
                    <a:pt x="133" y="67"/>
                  </a:cubicBezTo>
                  <a:lnTo>
                    <a:pt x="133" y="300"/>
                  </a:lnTo>
                  <a:cubicBezTo>
                    <a:pt x="133" y="337"/>
                    <a:pt x="104" y="367"/>
                    <a:pt x="67" y="36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4" name="Freeform 244">
              <a:extLst>
                <a:ext uri="{FF2B5EF4-FFF2-40B4-BE49-F238E27FC236}">
                  <a16:creationId xmlns:a16="http://schemas.microsoft.com/office/drawing/2014/main" id="{B23F21DD-8DBD-40A7-B89E-A80BC3AA4700}"/>
                </a:ext>
              </a:extLst>
            </p:cNvPr>
            <p:cNvSpPr>
              <a:spLocks/>
            </p:cNvSpPr>
            <p:nvPr/>
          </p:nvSpPr>
          <p:spPr bwMode="auto">
            <a:xfrm>
              <a:off x="7388226" y="3983038"/>
              <a:ext cx="14288" cy="42863"/>
            </a:xfrm>
            <a:custGeom>
              <a:avLst/>
              <a:gdLst>
                <a:gd name="T0" fmla="*/ 66 w 133"/>
                <a:gd name="T1" fmla="*/ 367 h 367"/>
                <a:gd name="T2" fmla="*/ 0 w 133"/>
                <a:gd name="T3" fmla="*/ 300 h 367"/>
                <a:gd name="T4" fmla="*/ 0 w 133"/>
                <a:gd name="T5" fmla="*/ 67 h 367"/>
                <a:gd name="T6" fmla="*/ 66 w 133"/>
                <a:gd name="T7" fmla="*/ 0 h 367"/>
                <a:gd name="T8" fmla="*/ 133 w 133"/>
                <a:gd name="T9" fmla="*/ 67 h 367"/>
                <a:gd name="T10" fmla="*/ 133 w 133"/>
                <a:gd name="T11" fmla="*/ 300 h 367"/>
                <a:gd name="T12" fmla="*/ 66 w 133"/>
                <a:gd name="T13" fmla="*/ 367 h 367"/>
              </a:gdLst>
              <a:ahLst/>
              <a:cxnLst>
                <a:cxn ang="0">
                  <a:pos x="T0" y="T1"/>
                </a:cxn>
                <a:cxn ang="0">
                  <a:pos x="T2" y="T3"/>
                </a:cxn>
                <a:cxn ang="0">
                  <a:pos x="T4" y="T5"/>
                </a:cxn>
                <a:cxn ang="0">
                  <a:pos x="T6" y="T7"/>
                </a:cxn>
                <a:cxn ang="0">
                  <a:pos x="T8" y="T9"/>
                </a:cxn>
                <a:cxn ang="0">
                  <a:pos x="T10" y="T11"/>
                </a:cxn>
                <a:cxn ang="0">
                  <a:pos x="T12" y="T13"/>
                </a:cxn>
              </a:cxnLst>
              <a:rect l="0" t="0" r="r" b="b"/>
              <a:pathLst>
                <a:path w="133" h="367">
                  <a:moveTo>
                    <a:pt x="66" y="367"/>
                  </a:moveTo>
                  <a:cubicBezTo>
                    <a:pt x="30" y="367"/>
                    <a:pt x="0" y="337"/>
                    <a:pt x="0" y="300"/>
                  </a:cubicBezTo>
                  <a:lnTo>
                    <a:pt x="0" y="67"/>
                  </a:lnTo>
                  <a:cubicBezTo>
                    <a:pt x="0" y="30"/>
                    <a:pt x="30" y="0"/>
                    <a:pt x="66" y="0"/>
                  </a:cubicBezTo>
                  <a:cubicBezTo>
                    <a:pt x="103" y="0"/>
                    <a:pt x="133" y="30"/>
                    <a:pt x="133" y="67"/>
                  </a:cubicBezTo>
                  <a:lnTo>
                    <a:pt x="133" y="300"/>
                  </a:lnTo>
                  <a:cubicBezTo>
                    <a:pt x="133" y="337"/>
                    <a:pt x="103" y="367"/>
                    <a:pt x="66" y="36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sp>
          <p:nvSpPr>
            <p:cNvPr id="185" name="Freeform 245">
              <a:extLst>
                <a:ext uri="{FF2B5EF4-FFF2-40B4-BE49-F238E27FC236}">
                  <a16:creationId xmlns:a16="http://schemas.microsoft.com/office/drawing/2014/main" id="{E54EC756-0D8C-4905-80CA-A94890F340B4}"/>
                </a:ext>
              </a:extLst>
            </p:cNvPr>
            <p:cNvSpPr>
              <a:spLocks/>
            </p:cNvSpPr>
            <p:nvPr/>
          </p:nvSpPr>
          <p:spPr bwMode="auto">
            <a:xfrm>
              <a:off x="7204076" y="3981450"/>
              <a:ext cx="82550" cy="82550"/>
            </a:xfrm>
            <a:custGeom>
              <a:avLst/>
              <a:gdLst>
                <a:gd name="T0" fmla="*/ 657 w 724"/>
                <a:gd name="T1" fmla="*/ 718 h 718"/>
                <a:gd name="T2" fmla="*/ 591 w 724"/>
                <a:gd name="T3" fmla="*/ 651 h 718"/>
                <a:gd name="T4" fmla="*/ 362 w 724"/>
                <a:gd name="T5" fmla="*/ 134 h 718"/>
                <a:gd name="T6" fmla="*/ 134 w 724"/>
                <a:gd name="T7" fmla="*/ 651 h 718"/>
                <a:gd name="T8" fmla="*/ 67 w 724"/>
                <a:gd name="T9" fmla="*/ 718 h 718"/>
                <a:gd name="T10" fmla="*/ 0 w 724"/>
                <a:gd name="T11" fmla="*/ 651 h 718"/>
                <a:gd name="T12" fmla="*/ 362 w 724"/>
                <a:gd name="T13" fmla="*/ 0 h 718"/>
                <a:gd name="T14" fmla="*/ 724 w 724"/>
                <a:gd name="T15" fmla="*/ 651 h 718"/>
                <a:gd name="T16" fmla="*/ 657 w 724"/>
                <a:gd name="T17"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4" h="718">
                  <a:moveTo>
                    <a:pt x="657" y="718"/>
                  </a:moveTo>
                  <a:cubicBezTo>
                    <a:pt x="620" y="718"/>
                    <a:pt x="591" y="688"/>
                    <a:pt x="591" y="651"/>
                  </a:cubicBezTo>
                  <a:cubicBezTo>
                    <a:pt x="591" y="134"/>
                    <a:pt x="464" y="134"/>
                    <a:pt x="362" y="134"/>
                  </a:cubicBezTo>
                  <a:cubicBezTo>
                    <a:pt x="211" y="134"/>
                    <a:pt x="134" y="308"/>
                    <a:pt x="134" y="651"/>
                  </a:cubicBezTo>
                  <a:cubicBezTo>
                    <a:pt x="134" y="688"/>
                    <a:pt x="104" y="718"/>
                    <a:pt x="67" y="718"/>
                  </a:cubicBezTo>
                  <a:cubicBezTo>
                    <a:pt x="30" y="718"/>
                    <a:pt x="0" y="688"/>
                    <a:pt x="0" y="651"/>
                  </a:cubicBezTo>
                  <a:cubicBezTo>
                    <a:pt x="0" y="219"/>
                    <a:pt x="122" y="0"/>
                    <a:pt x="362" y="0"/>
                  </a:cubicBezTo>
                  <a:cubicBezTo>
                    <a:pt x="622" y="0"/>
                    <a:pt x="724" y="183"/>
                    <a:pt x="724" y="651"/>
                  </a:cubicBezTo>
                  <a:cubicBezTo>
                    <a:pt x="724" y="688"/>
                    <a:pt x="694" y="718"/>
                    <a:pt x="657" y="71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en-US" sz="1350" kern="1200" dirty="0">
                <a:solidFill>
                  <a:prstClr val="black"/>
                </a:solidFill>
                <a:latin typeface="Calibri" panose="020F0502020204030204"/>
                <a:ea typeface="+mn-ea"/>
                <a:cs typeface="+mn-cs"/>
              </a:endParaRPr>
            </a:p>
          </p:txBody>
        </p:sp>
      </p:grpSp>
      <p:grpSp>
        <p:nvGrpSpPr>
          <p:cNvPr id="3" name="Group 2"/>
          <p:cNvGrpSpPr>
            <a:grpSpLocks noChangeAspect="1"/>
          </p:cNvGrpSpPr>
          <p:nvPr>
            <p:custDataLst>
              <p:tags r:id="rId1"/>
            </p:custDataLst>
          </p:nvPr>
        </p:nvGrpSpPr>
        <p:grpSpPr>
          <a:xfrm>
            <a:off x="3143250" y="1433089"/>
            <a:ext cx="2857500" cy="2857500"/>
            <a:chOff x="4191000" y="1524000"/>
            <a:chExt cx="3810000" cy="3810000"/>
          </a:xfrm>
        </p:grpSpPr>
        <p:sp>
          <p:nvSpPr>
            <p:cNvPr id="4" name="Block Arc 3"/>
            <p:cNvSpPr/>
            <p:nvPr>
              <p:custDataLst>
                <p:tags r:id="rId2"/>
              </p:custDataLst>
            </p:nvPr>
          </p:nvSpPr>
          <p:spPr>
            <a:xfrm>
              <a:off x="4191000" y="1524000"/>
              <a:ext cx="3810000" cy="3810000"/>
            </a:xfrm>
            <a:prstGeom prst="blockArc">
              <a:avLst>
                <a:gd name="adj1" fmla="val 0"/>
                <a:gd name="adj2" fmla="val 7200000"/>
                <a:gd name="adj3" fmla="val 16500"/>
              </a:avLst>
            </a:prstGeom>
            <a:solidFill>
              <a:schemeClr val="accent3"/>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endParaRPr lang="en-US" sz="900" dirty="0">
                <a:solidFill>
                  <a:srgbClr val="FFFFFF"/>
                </a:solidFill>
                <a:effectLst>
                  <a:glow>
                    <a:scrgbClr r="0" g="0" b="0"/>
                  </a:glow>
                </a:effectLst>
              </a:endParaRPr>
            </a:p>
          </p:txBody>
        </p:sp>
        <p:sp>
          <p:nvSpPr>
            <p:cNvPr id="5" name="Block Arc 4"/>
            <p:cNvSpPr/>
            <p:nvPr>
              <p:custDataLst>
                <p:tags r:id="rId3"/>
              </p:custDataLst>
            </p:nvPr>
          </p:nvSpPr>
          <p:spPr>
            <a:xfrm>
              <a:off x="4191000" y="1524000"/>
              <a:ext cx="3810000" cy="3810000"/>
            </a:xfrm>
            <a:prstGeom prst="blockArc">
              <a:avLst>
                <a:gd name="adj1" fmla="val 7200000"/>
                <a:gd name="adj2" fmla="val 14400000"/>
                <a:gd name="adj3" fmla="val 16500"/>
              </a:avLst>
            </a:prstGeom>
            <a:solidFill>
              <a:schemeClr val="accent1"/>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endParaRPr lang="en-US" sz="900" dirty="0">
                <a:solidFill>
                  <a:srgbClr val="FFFFFF"/>
                </a:solidFill>
                <a:effectLst>
                  <a:glow>
                    <a:scrgbClr r="0" g="0" b="0"/>
                  </a:glow>
                </a:effectLst>
              </a:endParaRPr>
            </a:p>
          </p:txBody>
        </p:sp>
        <p:sp>
          <p:nvSpPr>
            <p:cNvPr id="6" name="Block Arc 5"/>
            <p:cNvSpPr/>
            <p:nvPr>
              <p:custDataLst>
                <p:tags r:id="rId4"/>
              </p:custDataLst>
            </p:nvPr>
          </p:nvSpPr>
          <p:spPr>
            <a:xfrm>
              <a:off x="4191000" y="1524000"/>
              <a:ext cx="3810000" cy="3810000"/>
            </a:xfrm>
            <a:prstGeom prst="blockArc">
              <a:avLst>
                <a:gd name="adj1" fmla="val 14400000"/>
                <a:gd name="adj2" fmla="val 0"/>
                <a:gd name="adj3" fmla="val 16500"/>
              </a:avLst>
            </a:prstGeom>
            <a:solidFill>
              <a:schemeClr val="accent2"/>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endParaRPr lang="en-US" sz="900" dirty="0">
                <a:solidFill>
                  <a:srgbClr val="FFFFFF"/>
                </a:solidFill>
                <a:effectLst>
                  <a:glow>
                    <a:scrgbClr r="0" g="0" b="0"/>
                  </a:glow>
                </a:effectLst>
              </a:endParaRPr>
            </a:p>
          </p:txBody>
        </p:sp>
        <p:sp>
          <p:nvSpPr>
            <p:cNvPr id="7" name="Block Arc 6" hidden="1"/>
            <p:cNvSpPr/>
            <p:nvPr>
              <p:custDataLst>
                <p:tags r:id="rId5"/>
              </p:custDataLst>
            </p:nvPr>
          </p:nvSpPr>
          <p:spPr>
            <a:xfrm>
              <a:off x="4191000" y="1524000"/>
              <a:ext cx="3810000" cy="3810000"/>
            </a:xfrm>
            <a:prstGeom prst="blockArc">
              <a:avLst>
                <a:gd name="adj1" fmla="val 16200000"/>
                <a:gd name="adj2" fmla="val 0"/>
                <a:gd name="adj3" fmla="val 16500"/>
              </a:avLst>
            </a:prstGeom>
            <a:solidFill>
              <a:schemeClr val="accent2">
                <a:lumMod val="60000"/>
                <a:lumOff val="40000"/>
              </a:schemeClr>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endParaRPr lang="en-US" sz="900" dirty="0">
                <a:solidFill>
                  <a:srgbClr val="FFFFFF"/>
                </a:solidFill>
                <a:effectLst>
                  <a:glow>
                    <a:scrgbClr r="0" g="0" b="0"/>
                  </a:glow>
                </a:effectLst>
              </a:endParaRPr>
            </a:p>
          </p:txBody>
        </p:sp>
        <p:sp>
          <p:nvSpPr>
            <p:cNvPr id="8" name="Block Arc 7" hidden="1"/>
            <p:cNvSpPr/>
            <p:nvPr>
              <p:custDataLst>
                <p:tags r:id="rId6"/>
              </p:custDataLst>
            </p:nvPr>
          </p:nvSpPr>
          <p:spPr>
            <a:xfrm>
              <a:off x="4191000" y="1524000"/>
              <a:ext cx="3810000" cy="3810000"/>
            </a:xfrm>
            <a:prstGeom prst="blockArc">
              <a:avLst>
                <a:gd name="adj1" fmla="val 17280000"/>
                <a:gd name="adj2" fmla="val 0"/>
                <a:gd name="adj3" fmla="val 16500"/>
              </a:avLst>
            </a:prstGeom>
            <a:solidFill>
              <a:srgbClr val="EB641B"/>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9" name="Block Arc 8" hidden="1"/>
            <p:cNvSpPr/>
            <p:nvPr>
              <p:custDataLst>
                <p:tags r:id="rId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0" name="Block Arc 9" hidden="1"/>
            <p:cNvSpPr/>
            <p:nvPr>
              <p:custDataLst>
                <p:tags r:id="rId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1" name="Block Arc 10" hidden="1"/>
            <p:cNvSpPr/>
            <p:nvPr>
              <p:custDataLst>
                <p:tags r:id="rId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2" name="Block Arc 11" hidden="1"/>
            <p:cNvSpPr/>
            <p:nvPr>
              <p:custDataLst>
                <p:tags r:id="rId1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3" name="Block Arc 12" hidden="1"/>
            <p:cNvSpPr/>
            <p:nvPr>
              <p:custDataLst>
                <p:tags r:id="rId1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4" name="Block Arc 13" hidden="1"/>
            <p:cNvSpPr/>
            <p:nvPr>
              <p:custDataLst>
                <p:tags r:id="rId1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5" name="Block Arc 14" hidden="1"/>
            <p:cNvSpPr/>
            <p:nvPr>
              <p:custDataLst>
                <p:tags r:id="rId1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6" name="Block Arc 15" hidden="1"/>
            <p:cNvSpPr/>
            <p:nvPr>
              <p:custDataLst>
                <p:tags r:id="rId1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7" name="Block Arc 16" hidden="1"/>
            <p:cNvSpPr/>
            <p:nvPr>
              <p:custDataLst>
                <p:tags r:id="rId1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8" name="Block Arc 17" hidden="1"/>
            <p:cNvSpPr/>
            <p:nvPr>
              <p:custDataLst>
                <p:tags r:id="rId1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19" name="Block Arc 18" hidden="1"/>
            <p:cNvSpPr/>
            <p:nvPr>
              <p:custDataLst>
                <p:tags r:id="rId1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0" name="Block Arc 19" hidden="1"/>
            <p:cNvSpPr/>
            <p:nvPr>
              <p:custDataLst>
                <p:tags r:id="rId1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1" name="Block Arc 20" hidden="1"/>
            <p:cNvSpPr/>
            <p:nvPr>
              <p:custDataLst>
                <p:tags r:id="rId1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2" name="Block Arc 21" hidden="1"/>
            <p:cNvSpPr/>
            <p:nvPr>
              <p:custDataLst>
                <p:tags r:id="rId2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3" name="Block Arc 22" hidden="1"/>
            <p:cNvSpPr/>
            <p:nvPr>
              <p:custDataLst>
                <p:tags r:id="rId2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4" name="Block Arc 23" hidden="1"/>
            <p:cNvSpPr/>
            <p:nvPr>
              <p:custDataLst>
                <p:tags r:id="rId2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5" name="Block Arc 24" hidden="1"/>
            <p:cNvSpPr/>
            <p:nvPr>
              <p:custDataLst>
                <p:tags r:id="rId2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6" name="Block Arc 25" hidden="1"/>
            <p:cNvSpPr/>
            <p:nvPr>
              <p:custDataLst>
                <p:tags r:id="rId2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7" name="Block Arc 26" hidden="1"/>
            <p:cNvSpPr/>
            <p:nvPr>
              <p:custDataLst>
                <p:tags r:id="rId2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8" name="Block Arc 27" hidden="1"/>
            <p:cNvSpPr/>
            <p:nvPr>
              <p:custDataLst>
                <p:tags r:id="rId2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29" name="Block Arc 28" hidden="1"/>
            <p:cNvSpPr/>
            <p:nvPr>
              <p:custDataLst>
                <p:tags r:id="rId2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0" name="Block Arc 29" hidden="1"/>
            <p:cNvSpPr/>
            <p:nvPr>
              <p:custDataLst>
                <p:tags r:id="rId2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1" name="Block Arc 30" hidden="1"/>
            <p:cNvSpPr/>
            <p:nvPr>
              <p:custDataLst>
                <p:tags r:id="rId2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2" name="Block Arc 31" hidden="1"/>
            <p:cNvSpPr/>
            <p:nvPr>
              <p:custDataLst>
                <p:tags r:id="rId3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3" name="Block Arc 32" hidden="1"/>
            <p:cNvSpPr/>
            <p:nvPr>
              <p:custDataLst>
                <p:tags r:id="rId3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4" name="Block Arc 33" hidden="1"/>
            <p:cNvSpPr/>
            <p:nvPr>
              <p:custDataLst>
                <p:tags r:id="rId3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5" name="Block Arc 34" hidden="1"/>
            <p:cNvSpPr/>
            <p:nvPr>
              <p:custDataLst>
                <p:tags r:id="rId33"/>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6" name="Block Arc 35" hidden="1"/>
            <p:cNvSpPr/>
            <p:nvPr>
              <p:custDataLst>
                <p:tags r:id="rId34"/>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7" name="Block Arc 36" hidden="1"/>
            <p:cNvSpPr/>
            <p:nvPr>
              <p:custDataLst>
                <p:tags r:id="rId3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8" name="Block Arc 37" hidden="1"/>
            <p:cNvSpPr/>
            <p:nvPr>
              <p:custDataLst>
                <p:tags r:id="rId3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39" name="Block Arc 38" hidden="1"/>
            <p:cNvSpPr/>
            <p:nvPr>
              <p:custDataLst>
                <p:tags r:id="rId37"/>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0" name="Block Arc 39" hidden="1"/>
            <p:cNvSpPr/>
            <p:nvPr>
              <p:custDataLst>
                <p:tags r:id="rId38"/>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1" name="Block Arc 40" hidden="1"/>
            <p:cNvSpPr/>
            <p:nvPr>
              <p:custDataLst>
                <p:tags r:id="rId3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2" name="Block Arc 41" hidden="1"/>
            <p:cNvSpPr/>
            <p:nvPr>
              <p:custDataLst>
                <p:tags r:id="rId4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3" name="Block Arc 42" hidden="1"/>
            <p:cNvSpPr/>
            <p:nvPr>
              <p:custDataLst>
                <p:tags r:id="rId41"/>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4" name="Block Arc 43" hidden="1"/>
            <p:cNvSpPr/>
            <p:nvPr>
              <p:custDataLst>
                <p:tags r:id="rId42"/>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5" name="Block Arc 44" hidden="1"/>
            <p:cNvSpPr/>
            <p:nvPr>
              <p:custDataLst>
                <p:tags r:id="rId4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6" name="Block Arc 45" hidden="1"/>
            <p:cNvSpPr/>
            <p:nvPr>
              <p:custDataLst>
                <p:tags r:id="rId4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7" name="Block Arc 46" hidden="1"/>
            <p:cNvSpPr/>
            <p:nvPr>
              <p:custDataLst>
                <p:tags r:id="rId45"/>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8" name="Block Arc 47" hidden="1"/>
            <p:cNvSpPr/>
            <p:nvPr>
              <p:custDataLst>
                <p:tags r:id="rId46"/>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49" name="Block Arc 48" hidden="1"/>
            <p:cNvSpPr/>
            <p:nvPr>
              <p:custDataLst>
                <p:tags r:id="rId4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50" name="Block Arc 49" hidden="1"/>
            <p:cNvSpPr/>
            <p:nvPr>
              <p:custDataLst>
                <p:tags r:id="rId4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51" name="Block Arc 50" hidden="1"/>
            <p:cNvSpPr/>
            <p:nvPr>
              <p:custDataLst>
                <p:tags r:id="rId49"/>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52" name="Block Arc 51" hidden="1"/>
            <p:cNvSpPr/>
            <p:nvPr>
              <p:custDataLst>
                <p:tags r:id="rId50"/>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sp>
          <p:nvSpPr>
            <p:cNvPr id="53" name="Block Arc 52" hidden="1"/>
            <p:cNvSpPr/>
            <p:nvPr>
              <p:custDataLst>
                <p:tags r:id="rId5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sp3d/>
            </a:bodyPr>
            <a:lstStyle/>
            <a:p>
              <a:pPr algn="ctr"/>
              <a:r>
                <a:rPr lang="en-US" sz="900" dirty="0">
                  <a:effectLst>
                    <a:glow>
                      <a:scrgbClr r="0" g="0" b="0"/>
                    </a:glow>
                  </a:effectLst>
                </a:rPr>
                <a:t>Text</a:t>
              </a:r>
            </a:p>
          </p:txBody>
        </p:sp>
      </p:grpSp>
      <p:sp>
        <p:nvSpPr>
          <p:cNvPr id="187" name="Rectangle 45">
            <a:extLst>
              <a:ext uri="{FF2B5EF4-FFF2-40B4-BE49-F238E27FC236}">
                <a16:creationId xmlns:a16="http://schemas.microsoft.com/office/drawing/2014/main" id="{84263FA8-2F37-442C-958C-29F2DCF6D4A2}"/>
              </a:ext>
            </a:extLst>
          </p:cNvPr>
          <p:cNvSpPr>
            <a:spLocks noChangeArrowheads="1"/>
          </p:cNvSpPr>
          <p:nvPr/>
        </p:nvSpPr>
        <p:spPr bwMode="gray">
          <a:xfrm>
            <a:off x="0" y="18732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188" name="Google Shape;412;p18">
            <a:extLst>
              <a:ext uri="{FF2B5EF4-FFF2-40B4-BE49-F238E27FC236}">
                <a16:creationId xmlns:a16="http://schemas.microsoft.com/office/drawing/2014/main" id="{98DF67F6-0952-4549-9F4A-5F15821C012C}"/>
              </a:ext>
            </a:extLst>
          </p:cNvPr>
          <p:cNvSpPr txBox="1">
            <a:spLocks/>
          </p:cNvSpPr>
          <p:nvPr/>
        </p:nvSpPr>
        <p:spPr>
          <a:xfrm>
            <a:off x="457200" y="31623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TẤN CÔNG BRUTE-FORCE</a:t>
            </a:r>
          </a:p>
        </p:txBody>
      </p:sp>
    </p:spTree>
    <p:extLst>
      <p:ext uri="{BB962C8B-B14F-4D97-AF65-F5344CB8AC3E}">
        <p14:creationId xmlns:p14="http://schemas.microsoft.com/office/powerpoint/2010/main" val="2121573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7"/>
                                        </p:tgtEl>
                                        <p:attrNameLst>
                                          <p:attrName>style.visibility</p:attrName>
                                        </p:attrNameLst>
                                      </p:cBhvr>
                                      <p:to>
                                        <p:strVal val="visible"/>
                                      </p:to>
                                    </p:set>
                                    <p:animEffect transition="in" filter="wipe(left)">
                                      <p:cBhvr>
                                        <p:cTn id="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F6B3871A-6A7B-72DE-7B05-B02DDD5E8782}"/>
              </a:ext>
            </a:extLst>
          </p:cNvPr>
          <p:cNvGrpSpPr/>
          <p:nvPr/>
        </p:nvGrpSpPr>
        <p:grpSpPr>
          <a:xfrm>
            <a:off x="2145404" y="1294303"/>
            <a:ext cx="2956100" cy="2956100"/>
            <a:chOff x="1287759" y="1160891"/>
            <a:chExt cx="3967700" cy="3967700"/>
          </a:xfrm>
        </p:grpSpPr>
        <p:sp>
          <p:nvSpPr>
            <p:cNvPr id="4" name="Donut 2">
              <a:extLst>
                <a:ext uri="{FF2B5EF4-FFF2-40B4-BE49-F238E27FC236}">
                  <a16:creationId xmlns:a16="http://schemas.microsoft.com/office/drawing/2014/main" id="{9295176E-7571-A603-1D85-3BF58A9DEDD4}"/>
                </a:ext>
              </a:extLst>
            </p:cNvPr>
            <p:cNvSpPr/>
            <p:nvPr/>
          </p:nvSpPr>
          <p:spPr>
            <a:xfrm>
              <a:off x="1287759" y="1160891"/>
              <a:ext cx="3967700" cy="3967700"/>
            </a:xfrm>
            <a:prstGeom prst="donut">
              <a:avLst>
                <a:gd name="adj" fmla="val 9488"/>
              </a:avLst>
            </a:prstGeom>
            <a:solidFill>
              <a:schemeClr val="bg2">
                <a:lumMod val="90000"/>
              </a:schemeClr>
            </a:solidFill>
            <a:ln>
              <a:noFill/>
            </a:ln>
            <a:effectLst/>
            <a:scene3d>
              <a:camera prst="perspectiveContrastingRightFacing">
                <a:rot lat="0" lon="18600000" rev="213211"/>
              </a:camera>
              <a:lightRig rig="threePt" dir="t"/>
            </a:scene3d>
            <a:sp3d extrusionH="762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5" name="Donut 12">
              <a:extLst>
                <a:ext uri="{FF2B5EF4-FFF2-40B4-BE49-F238E27FC236}">
                  <a16:creationId xmlns:a16="http://schemas.microsoft.com/office/drawing/2014/main" id="{BB276F50-17BD-9F7E-91CE-7FA14EF09EE8}"/>
                </a:ext>
              </a:extLst>
            </p:cNvPr>
            <p:cNvSpPr/>
            <p:nvPr/>
          </p:nvSpPr>
          <p:spPr>
            <a:xfrm>
              <a:off x="2026235" y="1899367"/>
              <a:ext cx="2490748" cy="2490748"/>
            </a:xfrm>
            <a:prstGeom prst="donut">
              <a:avLst>
                <a:gd name="adj" fmla="val 14681"/>
              </a:avLst>
            </a:prstGeom>
            <a:solidFill>
              <a:schemeClr val="bg2">
                <a:lumMod val="50000"/>
              </a:schemeClr>
            </a:solidFill>
            <a:ln>
              <a:noFill/>
            </a:ln>
            <a:scene3d>
              <a:camera prst="perspectiveContrastingRightFacing">
                <a:rot lat="0" lon="18600000" rev="213211"/>
              </a:camera>
              <a:lightRig rig="threePt" dir="t"/>
            </a:scene3d>
            <a:sp3d extrusionH="762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sp>
          <p:nvSpPr>
            <p:cNvPr id="6" name="Oval 3">
              <a:extLst>
                <a:ext uri="{FF2B5EF4-FFF2-40B4-BE49-F238E27FC236}">
                  <a16:creationId xmlns:a16="http://schemas.microsoft.com/office/drawing/2014/main" id="{28161997-C3A2-0170-6087-48CCAF6583E2}"/>
                </a:ext>
              </a:extLst>
            </p:cNvPr>
            <p:cNvSpPr/>
            <p:nvPr/>
          </p:nvSpPr>
          <p:spPr>
            <a:xfrm>
              <a:off x="2849692" y="2722824"/>
              <a:ext cx="843833" cy="843833"/>
            </a:xfrm>
            <a:prstGeom prst="ellipse">
              <a:avLst/>
            </a:prstGeom>
            <a:solidFill>
              <a:schemeClr val="tx1">
                <a:lumMod val="75000"/>
                <a:lumOff val="25000"/>
              </a:schemeClr>
            </a:solidFill>
            <a:ln>
              <a:noFill/>
            </a:ln>
            <a:scene3d>
              <a:camera prst="perspectiveContrastingRightFacing">
                <a:rot lat="0" lon="18600000" rev="213211"/>
              </a:camera>
              <a:lightRig rig="threePt" dir="t"/>
            </a:scene3d>
            <a:sp3d extrusionH="762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endParaRPr>
            </a:p>
          </p:txBody>
        </p:sp>
      </p:grpSp>
      <p:grpSp>
        <p:nvGrpSpPr>
          <p:cNvPr id="7" name="Group 31">
            <a:extLst>
              <a:ext uri="{FF2B5EF4-FFF2-40B4-BE49-F238E27FC236}">
                <a16:creationId xmlns:a16="http://schemas.microsoft.com/office/drawing/2014/main" id="{96615349-FC6E-43E5-1155-3FDC404F9150}"/>
              </a:ext>
            </a:extLst>
          </p:cNvPr>
          <p:cNvGrpSpPr/>
          <p:nvPr/>
        </p:nvGrpSpPr>
        <p:grpSpPr>
          <a:xfrm rot="2722540">
            <a:off x="4127084" y="949636"/>
            <a:ext cx="486926" cy="2083658"/>
            <a:chOff x="6139793" y="927098"/>
            <a:chExt cx="649234" cy="2778210"/>
          </a:xfrm>
        </p:grpSpPr>
        <p:cxnSp>
          <p:nvCxnSpPr>
            <p:cNvPr id="8" name="Straight Connector 7">
              <a:extLst>
                <a:ext uri="{FF2B5EF4-FFF2-40B4-BE49-F238E27FC236}">
                  <a16:creationId xmlns:a16="http://schemas.microsoft.com/office/drawing/2014/main" id="{02E46C6D-9C7E-F3C3-298E-DCB34B67F5AD}"/>
                </a:ext>
              </a:extLst>
            </p:cNvPr>
            <p:cNvCxnSpPr/>
            <p:nvPr/>
          </p:nvCxnSpPr>
          <p:spPr>
            <a:xfrm>
              <a:off x="6464410" y="1590261"/>
              <a:ext cx="0" cy="2115047"/>
            </a:xfrm>
            <a:prstGeom prst="line">
              <a:avLst/>
            </a:prstGeom>
            <a:ln w="666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9" name="Group 19">
              <a:extLst>
                <a:ext uri="{FF2B5EF4-FFF2-40B4-BE49-F238E27FC236}">
                  <a16:creationId xmlns:a16="http://schemas.microsoft.com/office/drawing/2014/main" id="{1AB1AEBF-6B0E-B39C-7E96-4D9D275E1D6E}"/>
                </a:ext>
              </a:extLst>
            </p:cNvPr>
            <p:cNvGrpSpPr/>
            <p:nvPr/>
          </p:nvGrpSpPr>
          <p:grpSpPr>
            <a:xfrm rot="10800000">
              <a:off x="6139793" y="927098"/>
              <a:ext cx="649234" cy="753357"/>
              <a:chOff x="8087056" y="897061"/>
              <a:chExt cx="1514476" cy="1386399"/>
            </a:xfrm>
          </p:grpSpPr>
          <p:sp>
            <p:nvSpPr>
              <p:cNvPr id="10" name="Freeform 30">
                <a:extLst>
                  <a:ext uri="{FF2B5EF4-FFF2-40B4-BE49-F238E27FC236}">
                    <a16:creationId xmlns:a16="http://schemas.microsoft.com/office/drawing/2014/main" id="{A0BEB242-161E-B340-EFA1-17C4B81A73E0}"/>
                  </a:ext>
                </a:extLst>
              </p:cNvPr>
              <p:cNvSpPr/>
              <p:nvPr/>
            </p:nvSpPr>
            <p:spPr>
              <a:xfrm>
                <a:off x="8087056" y="897061"/>
                <a:ext cx="757238" cy="1386399"/>
              </a:xfrm>
              <a:custGeom>
                <a:avLst/>
                <a:gdLst>
                  <a:gd name="connsiteX0" fmla="*/ 757238 w 757238"/>
                  <a:gd name="connsiteY0" fmla="*/ 0 h 1386399"/>
                  <a:gd name="connsiteX1" fmla="*/ 757238 w 757238"/>
                  <a:gd name="connsiteY1" fmla="*/ 1122466 h 1386399"/>
                  <a:gd name="connsiteX2" fmla="*/ 1 w 757238"/>
                  <a:gd name="connsiteY2" fmla="*/ 1386399 h 1386399"/>
                  <a:gd name="connsiteX3" fmla="*/ 1 w 757238"/>
                  <a:gd name="connsiteY3" fmla="*/ 537228 h 1386399"/>
                  <a:gd name="connsiteX4" fmla="*/ 0 w 757238"/>
                  <a:gd name="connsiteY4" fmla="*/ 537228 h 1386399"/>
                  <a:gd name="connsiteX5" fmla="*/ 757238 w 757238"/>
                  <a:gd name="connsiteY5"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238" h="1386399">
                    <a:moveTo>
                      <a:pt x="757238" y="0"/>
                    </a:moveTo>
                    <a:lnTo>
                      <a:pt x="757238" y="1122466"/>
                    </a:lnTo>
                    <a:lnTo>
                      <a:pt x="1" y="1386399"/>
                    </a:lnTo>
                    <a:lnTo>
                      <a:pt x="1" y="537228"/>
                    </a:lnTo>
                    <a:lnTo>
                      <a:pt x="0" y="537228"/>
                    </a:lnTo>
                    <a:lnTo>
                      <a:pt x="757238"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1" name="Freeform 28">
                <a:extLst>
                  <a:ext uri="{FF2B5EF4-FFF2-40B4-BE49-F238E27FC236}">
                    <a16:creationId xmlns:a16="http://schemas.microsoft.com/office/drawing/2014/main" id="{9FADC78A-B38C-36B4-D358-DCB7E1C2EDD9}"/>
                  </a:ext>
                </a:extLst>
              </p:cNvPr>
              <p:cNvSpPr/>
              <p:nvPr/>
            </p:nvSpPr>
            <p:spPr>
              <a:xfrm>
                <a:off x="8844294" y="897061"/>
                <a:ext cx="757238" cy="1386399"/>
              </a:xfrm>
              <a:custGeom>
                <a:avLst/>
                <a:gdLst>
                  <a:gd name="connsiteX0" fmla="*/ 0 w 757238"/>
                  <a:gd name="connsiteY0" fmla="*/ 0 h 1386399"/>
                  <a:gd name="connsiteX1" fmla="*/ 757237 w 757238"/>
                  <a:gd name="connsiteY1" fmla="*/ 537228 h 1386399"/>
                  <a:gd name="connsiteX2" fmla="*/ 757238 w 757238"/>
                  <a:gd name="connsiteY2" fmla="*/ 537228 h 1386399"/>
                  <a:gd name="connsiteX3" fmla="*/ 757238 w 757238"/>
                  <a:gd name="connsiteY3" fmla="*/ 1386399 h 1386399"/>
                  <a:gd name="connsiteX4" fmla="*/ 757237 w 757238"/>
                  <a:gd name="connsiteY4" fmla="*/ 1386399 h 1386399"/>
                  <a:gd name="connsiteX5" fmla="*/ 0 w 757238"/>
                  <a:gd name="connsiteY5" fmla="*/ 1122466 h 1386399"/>
                  <a:gd name="connsiteX6" fmla="*/ 0 w 757238"/>
                  <a:gd name="connsiteY6"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7238" h="1386399">
                    <a:moveTo>
                      <a:pt x="0" y="0"/>
                    </a:moveTo>
                    <a:lnTo>
                      <a:pt x="757237" y="537228"/>
                    </a:lnTo>
                    <a:lnTo>
                      <a:pt x="757238" y="537228"/>
                    </a:lnTo>
                    <a:lnTo>
                      <a:pt x="757238" y="1386399"/>
                    </a:lnTo>
                    <a:lnTo>
                      <a:pt x="757237" y="1386399"/>
                    </a:lnTo>
                    <a:lnTo>
                      <a:pt x="0" y="112246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grpSp>
        <p:nvGrpSpPr>
          <p:cNvPr id="12" name="Group 42">
            <a:extLst>
              <a:ext uri="{FF2B5EF4-FFF2-40B4-BE49-F238E27FC236}">
                <a16:creationId xmlns:a16="http://schemas.microsoft.com/office/drawing/2014/main" id="{CA88F62E-486F-D1C3-8C72-1BD5CE3DD80F}"/>
              </a:ext>
            </a:extLst>
          </p:cNvPr>
          <p:cNvGrpSpPr/>
          <p:nvPr/>
        </p:nvGrpSpPr>
        <p:grpSpPr>
          <a:xfrm rot="14846348" flipV="1">
            <a:off x="4346755" y="1328187"/>
            <a:ext cx="486926" cy="2083658"/>
            <a:chOff x="6139793" y="927098"/>
            <a:chExt cx="649234" cy="2778210"/>
          </a:xfrm>
        </p:grpSpPr>
        <p:cxnSp>
          <p:nvCxnSpPr>
            <p:cNvPr id="13" name="Straight Connector 43">
              <a:extLst>
                <a:ext uri="{FF2B5EF4-FFF2-40B4-BE49-F238E27FC236}">
                  <a16:creationId xmlns:a16="http://schemas.microsoft.com/office/drawing/2014/main" id="{5CF7AE79-BC4C-76B5-EE9D-39ED3FA31AFF}"/>
                </a:ext>
              </a:extLst>
            </p:cNvPr>
            <p:cNvCxnSpPr/>
            <p:nvPr/>
          </p:nvCxnSpPr>
          <p:spPr>
            <a:xfrm>
              <a:off x="6464410" y="1590261"/>
              <a:ext cx="0" cy="2115047"/>
            </a:xfrm>
            <a:prstGeom prst="line">
              <a:avLst/>
            </a:prstGeom>
            <a:ln w="666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14" name="Group 44">
              <a:extLst>
                <a:ext uri="{FF2B5EF4-FFF2-40B4-BE49-F238E27FC236}">
                  <a16:creationId xmlns:a16="http://schemas.microsoft.com/office/drawing/2014/main" id="{2CD86DFB-3EC2-8170-3104-254590CBFAA3}"/>
                </a:ext>
              </a:extLst>
            </p:cNvPr>
            <p:cNvGrpSpPr/>
            <p:nvPr/>
          </p:nvGrpSpPr>
          <p:grpSpPr>
            <a:xfrm rot="10800000">
              <a:off x="6139793" y="927098"/>
              <a:ext cx="649234" cy="753357"/>
              <a:chOff x="8087056" y="897061"/>
              <a:chExt cx="1514476" cy="1386399"/>
            </a:xfrm>
          </p:grpSpPr>
          <p:sp>
            <p:nvSpPr>
              <p:cNvPr id="15" name="Freeform 45">
                <a:extLst>
                  <a:ext uri="{FF2B5EF4-FFF2-40B4-BE49-F238E27FC236}">
                    <a16:creationId xmlns:a16="http://schemas.microsoft.com/office/drawing/2014/main" id="{4F35DC1E-786D-1767-2D93-CD89525809F9}"/>
                  </a:ext>
                </a:extLst>
              </p:cNvPr>
              <p:cNvSpPr/>
              <p:nvPr/>
            </p:nvSpPr>
            <p:spPr>
              <a:xfrm>
                <a:off x="8087056" y="897061"/>
                <a:ext cx="757238" cy="1386399"/>
              </a:xfrm>
              <a:custGeom>
                <a:avLst/>
                <a:gdLst>
                  <a:gd name="connsiteX0" fmla="*/ 757238 w 757238"/>
                  <a:gd name="connsiteY0" fmla="*/ 0 h 1386399"/>
                  <a:gd name="connsiteX1" fmla="*/ 757238 w 757238"/>
                  <a:gd name="connsiteY1" fmla="*/ 1122466 h 1386399"/>
                  <a:gd name="connsiteX2" fmla="*/ 1 w 757238"/>
                  <a:gd name="connsiteY2" fmla="*/ 1386399 h 1386399"/>
                  <a:gd name="connsiteX3" fmla="*/ 1 w 757238"/>
                  <a:gd name="connsiteY3" fmla="*/ 537228 h 1386399"/>
                  <a:gd name="connsiteX4" fmla="*/ 0 w 757238"/>
                  <a:gd name="connsiteY4" fmla="*/ 537228 h 1386399"/>
                  <a:gd name="connsiteX5" fmla="*/ 757238 w 757238"/>
                  <a:gd name="connsiteY5"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238" h="1386399">
                    <a:moveTo>
                      <a:pt x="757238" y="0"/>
                    </a:moveTo>
                    <a:lnTo>
                      <a:pt x="757238" y="1122466"/>
                    </a:lnTo>
                    <a:lnTo>
                      <a:pt x="1" y="1386399"/>
                    </a:lnTo>
                    <a:lnTo>
                      <a:pt x="1" y="537228"/>
                    </a:lnTo>
                    <a:lnTo>
                      <a:pt x="0" y="537228"/>
                    </a:lnTo>
                    <a:lnTo>
                      <a:pt x="757238"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6" name="Freeform 46">
                <a:extLst>
                  <a:ext uri="{FF2B5EF4-FFF2-40B4-BE49-F238E27FC236}">
                    <a16:creationId xmlns:a16="http://schemas.microsoft.com/office/drawing/2014/main" id="{0BF47977-2E73-F144-7571-B1CF0CB88F8B}"/>
                  </a:ext>
                </a:extLst>
              </p:cNvPr>
              <p:cNvSpPr/>
              <p:nvPr/>
            </p:nvSpPr>
            <p:spPr>
              <a:xfrm>
                <a:off x="8844294" y="897061"/>
                <a:ext cx="757238" cy="1386399"/>
              </a:xfrm>
              <a:custGeom>
                <a:avLst/>
                <a:gdLst>
                  <a:gd name="connsiteX0" fmla="*/ 0 w 757238"/>
                  <a:gd name="connsiteY0" fmla="*/ 0 h 1386399"/>
                  <a:gd name="connsiteX1" fmla="*/ 757237 w 757238"/>
                  <a:gd name="connsiteY1" fmla="*/ 537228 h 1386399"/>
                  <a:gd name="connsiteX2" fmla="*/ 757238 w 757238"/>
                  <a:gd name="connsiteY2" fmla="*/ 537228 h 1386399"/>
                  <a:gd name="connsiteX3" fmla="*/ 757238 w 757238"/>
                  <a:gd name="connsiteY3" fmla="*/ 1386399 h 1386399"/>
                  <a:gd name="connsiteX4" fmla="*/ 757237 w 757238"/>
                  <a:gd name="connsiteY4" fmla="*/ 1386399 h 1386399"/>
                  <a:gd name="connsiteX5" fmla="*/ 0 w 757238"/>
                  <a:gd name="connsiteY5" fmla="*/ 1122466 h 1386399"/>
                  <a:gd name="connsiteX6" fmla="*/ 0 w 757238"/>
                  <a:gd name="connsiteY6"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7238" h="1386399">
                    <a:moveTo>
                      <a:pt x="0" y="0"/>
                    </a:moveTo>
                    <a:lnTo>
                      <a:pt x="757237" y="537228"/>
                    </a:lnTo>
                    <a:lnTo>
                      <a:pt x="757238" y="537228"/>
                    </a:lnTo>
                    <a:lnTo>
                      <a:pt x="757238" y="1386399"/>
                    </a:lnTo>
                    <a:lnTo>
                      <a:pt x="757237" y="1386399"/>
                    </a:lnTo>
                    <a:lnTo>
                      <a:pt x="0" y="1122466"/>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grpSp>
        <p:nvGrpSpPr>
          <p:cNvPr id="17" name="Group 16">
            <a:extLst>
              <a:ext uri="{FF2B5EF4-FFF2-40B4-BE49-F238E27FC236}">
                <a16:creationId xmlns:a16="http://schemas.microsoft.com/office/drawing/2014/main" id="{4DBCCD30-A742-88F8-5956-856143D817FC}"/>
              </a:ext>
            </a:extLst>
          </p:cNvPr>
          <p:cNvGrpSpPr/>
          <p:nvPr/>
        </p:nvGrpSpPr>
        <p:grpSpPr>
          <a:xfrm rot="16200000" flipV="1">
            <a:off x="4437515" y="1740564"/>
            <a:ext cx="486926" cy="2083658"/>
            <a:chOff x="6139793" y="927098"/>
            <a:chExt cx="649234" cy="2778210"/>
          </a:xfrm>
        </p:grpSpPr>
        <p:cxnSp>
          <p:nvCxnSpPr>
            <p:cNvPr id="18" name="Straight Connector 17">
              <a:extLst>
                <a:ext uri="{FF2B5EF4-FFF2-40B4-BE49-F238E27FC236}">
                  <a16:creationId xmlns:a16="http://schemas.microsoft.com/office/drawing/2014/main" id="{31E487E1-C70A-C8AA-C2B8-65C3A994F5E9}"/>
                </a:ext>
              </a:extLst>
            </p:cNvPr>
            <p:cNvCxnSpPr/>
            <p:nvPr/>
          </p:nvCxnSpPr>
          <p:spPr>
            <a:xfrm>
              <a:off x="6464410" y="1590261"/>
              <a:ext cx="0" cy="2115047"/>
            </a:xfrm>
            <a:prstGeom prst="line">
              <a:avLst/>
            </a:prstGeom>
            <a:ln w="666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D572F68-0C54-1433-D139-AA0703A94BEE}"/>
                </a:ext>
              </a:extLst>
            </p:cNvPr>
            <p:cNvGrpSpPr/>
            <p:nvPr/>
          </p:nvGrpSpPr>
          <p:grpSpPr>
            <a:xfrm rot="10800000">
              <a:off x="6139793" y="927098"/>
              <a:ext cx="649234" cy="753357"/>
              <a:chOff x="8087056" y="897061"/>
              <a:chExt cx="1514476" cy="1386399"/>
            </a:xfrm>
          </p:grpSpPr>
          <p:sp>
            <p:nvSpPr>
              <p:cNvPr id="20" name="Freeform 40">
                <a:extLst>
                  <a:ext uri="{FF2B5EF4-FFF2-40B4-BE49-F238E27FC236}">
                    <a16:creationId xmlns:a16="http://schemas.microsoft.com/office/drawing/2014/main" id="{DFFD9469-EAED-7FC0-896E-D6EBD9BD7E27}"/>
                  </a:ext>
                </a:extLst>
              </p:cNvPr>
              <p:cNvSpPr/>
              <p:nvPr/>
            </p:nvSpPr>
            <p:spPr>
              <a:xfrm>
                <a:off x="8087056" y="897061"/>
                <a:ext cx="757238" cy="1386399"/>
              </a:xfrm>
              <a:custGeom>
                <a:avLst/>
                <a:gdLst>
                  <a:gd name="connsiteX0" fmla="*/ 757238 w 757238"/>
                  <a:gd name="connsiteY0" fmla="*/ 0 h 1386399"/>
                  <a:gd name="connsiteX1" fmla="*/ 757238 w 757238"/>
                  <a:gd name="connsiteY1" fmla="*/ 1122466 h 1386399"/>
                  <a:gd name="connsiteX2" fmla="*/ 1 w 757238"/>
                  <a:gd name="connsiteY2" fmla="*/ 1386399 h 1386399"/>
                  <a:gd name="connsiteX3" fmla="*/ 1 w 757238"/>
                  <a:gd name="connsiteY3" fmla="*/ 537228 h 1386399"/>
                  <a:gd name="connsiteX4" fmla="*/ 0 w 757238"/>
                  <a:gd name="connsiteY4" fmla="*/ 537228 h 1386399"/>
                  <a:gd name="connsiteX5" fmla="*/ 757238 w 757238"/>
                  <a:gd name="connsiteY5"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238" h="1386399">
                    <a:moveTo>
                      <a:pt x="757238" y="0"/>
                    </a:moveTo>
                    <a:lnTo>
                      <a:pt x="757238" y="1122466"/>
                    </a:lnTo>
                    <a:lnTo>
                      <a:pt x="1" y="1386399"/>
                    </a:lnTo>
                    <a:lnTo>
                      <a:pt x="1" y="537228"/>
                    </a:lnTo>
                    <a:lnTo>
                      <a:pt x="0" y="537228"/>
                    </a:lnTo>
                    <a:lnTo>
                      <a:pt x="757238"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1" name="Freeform 41">
                <a:extLst>
                  <a:ext uri="{FF2B5EF4-FFF2-40B4-BE49-F238E27FC236}">
                    <a16:creationId xmlns:a16="http://schemas.microsoft.com/office/drawing/2014/main" id="{5D444680-C3BF-2BF2-C2D7-57664891F6EA}"/>
                  </a:ext>
                </a:extLst>
              </p:cNvPr>
              <p:cNvSpPr/>
              <p:nvPr/>
            </p:nvSpPr>
            <p:spPr>
              <a:xfrm>
                <a:off x="8844294" y="897061"/>
                <a:ext cx="757238" cy="1386399"/>
              </a:xfrm>
              <a:custGeom>
                <a:avLst/>
                <a:gdLst>
                  <a:gd name="connsiteX0" fmla="*/ 0 w 757238"/>
                  <a:gd name="connsiteY0" fmla="*/ 0 h 1386399"/>
                  <a:gd name="connsiteX1" fmla="*/ 757237 w 757238"/>
                  <a:gd name="connsiteY1" fmla="*/ 537228 h 1386399"/>
                  <a:gd name="connsiteX2" fmla="*/ 757238 w 757238"/>
                  <a:gd name="connsiteY2" fmla="*/ 537228 h 1386399"/>
                  <a:gd name="connsiteX3" fmla="*/ 757238 w 757238"/>
                  <a:gd name="connsiteY3" fmla="*/ 1386399 h 1386399"/>
                  <a:gd name="connsiteX4" fmla="*/ 757237 w 757238"/>
                  <a:gd name="connsiteY4" fmla="*/ 1386399 h 1386399"/>
                  <a:gd name="connsiteX5" fmla="*/ 0 w 757238"/>
                  <a:gd name="connsiteY5" fmla="*/ 1122466 h 1386399"/>
                  <a:gd name="connsiteX6" fmla="*/ 0 w 757238"/>
                  <a:gd name="connsiteY6"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7238" h="1386399">
                    <a:moveTo>
                      <a:pt x="0" y="0"/>
                    </a:moveTo>
                    <a:lnTo>
                      <a:pt x="757237" y="537228"/>
                    </a:lnTo>
                    <a:lnTo>
                      <a:pt x="757238" y="537228"/>
                    </a:lnTo>
                    <a:lnTo>
                      <a:pt x="757238" y="1386399"/>
                    </a:lnTo>
                    <a:lnTo>
                      <a:pt x="757237" y="1386399"/>
                    </a:lnTo>
                    <a:lnTo>
                      <a:pt x="0" y="1122466"/>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grpSp>
        <p:nvGrpSpPr>
          <p:cNvPr id="22" name="Group 47">
            <a:extLst>
              <a:ext uri="{FF2B5EF4-FFF2-40B4-BE49-F238E27FC236}">
                <a16:creationId xmlns:a16="http://schemas.microsoft.com/office/drawing/2014/main" id="{A9211F50-1923-E964-BF2D-AC019F70AA02}"/>
              </a:ext>
            </a:extLst>
          </p:cNvPr>
          <p:cNvGrpSpPr/>
          <p:nvPr/>
        </p:nvGrpSpPr>
        <p:grpSpPr>
          <a:xfrm rot="17520086" flipV="1">
            <a:off x="4375270" y="2152940"/>
            <a:ext cx="486926" cy="2083658"/>
            <a:chOff x="6139793" y="927098"/>
            <a:chExt cx="649234" cy="2778210"/>
          </a:xfrm>
        </p:grpSpPr>
        <p:cxnSp>
          <p:nvCxnSpPr>
            <p:cNvPr id="23" name="Straight Connector 48">
              <a:extLst>
                <a:ext uri="{FF2B5EF4-FFF2-40B4-BE49-F238E27FC236}">
                  <a16:creationId xmlns:a16="http://schemas.microsoft.com/office/drawing/2014/main" id="{C0B98918-93AE-CD14-1741-826372DB2CFF}"/>
                </a:ext>
              </a:extLst>
            </p:cNvPr>
            <p:cNvCxnSpPr/>
            <p:nvPr/>
          </p:nvCxnSpPr>
          <p:spPr>
            <a:xfrm>
              <a:off x="6464410" y="1590261"/>
              <a:ext cx="0" cy="2115047"/>
            </a:xfrm>
            <a:prstGeom prst="line">
              <a:avLst/>
            </a:prstGeom>
            <a:ln w="666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24" name="Group 49">
              <a:extLst>
                <a:ext uri="{FF2B5EF4-FFF2-40B4-BE49-F238E27FC236}">
                  <a16:creationId xmlns:a16="http://schemas.microsoft.com/office/drawing/2014/main" id="{0B8A4B25-DACF-46D2-A48A-E2908127516E}"/>
                </a:ext>
              </a:extLst>
            </p:cNvPr>
            <p:cNvGrpSpPr/>
            <p:nvPr/>
          </p:nvGrpSpPr>
          <p:grpSpPr>
            <a:xfrm rot="10800000">
              <a:off x="6139793" y="927098"/>
              <a:ext cx="649234" cy="753357"/>
              <a:chOff x="8087056" y="897061"/>
              <a:chExt cx="1514476" cy="1386399"/>
            </a:xfrm>
          </p:grpSpPr>
          <p:sp>
            <p:nvSpPr>
              <p:cNvPr id="25" name="Freeform 50">
                <a:extLst>
                  <a:ext uri="{FF2B5EF4-FFF2-40B4-BE49-F238E27FC236}">
                    <a16:creationId xmlns:a16="http://schemas.microsoft.com/office/drawing/2014/main" id="{95FA1693-0553-30AF-1526-EF3144329E0F}"/>
                  </a:ext>
                </a:extLst>
              </p:cNvPr>
              <p:cNvSpPr/>
              <p:nvPr/>
            </p:nvSpPr>
            <p:spPr>
              <a:xfrm>
                <a:off x="8087056" y="897061"/>
                <a:ext cx="757238" cy="1386399"/>
              </a:xfrm>
              <a:custGeom>
                <a:avLst/>
                <a:gdLst>
                  <a:gd name="connsiteX0" fmla="*/ 757238 w 757238"/>
                  <a:gd name="connsiteY0" fmla="*/ 0 h 1386399"/>
                  <a:gd name="connsiteX1" fmla="*/ 757238 w 757238"/>
                  <a:gd name="connsiteY1" fmla="*/ 1122466 h 1386399"/>
                  <a:gd name="connsiteX2" fmla="*/ 1 w 757238"/>
                  <a:gd name="connsiteY2" fmla="*/ 1386399 h 1386399"/>
                  <a:gd name="connsiteX3" fmla="*/ 1 w 757238"/>
                  <a:gd name="connsiteY3" fmla="*/ 537228 h 1386399"/>
                  <a:gd name="connsiteX4" fmla="*/ 0 w 757238"/>
                  <a:gd name="connsiteY4" fmla="*/ 537228 h 1386399"/>
                  <a:gd name="connsiteX5" fmla="*/ 757238 w 757238"/>
                  <a:gd name="connsiteY5"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238" h="1386399">
                    <a:moveTo>
                      <a:pt x="757238" y="0"/>
                    </a:moveTo>
                    <a:lnTo>
                      <a:pt x="757238" y="1122466"/>
                    </a:lnTo>
                    <a:lnTo>
                      <a:pt x="1" y="1386399"/>
                    </a:lnTo>
                    <a:lnTo>
                      <a:pt x="1" y="537228"/>
                    </a:lnTo>
                    <a:lnTo>
                      <a:pt x="0" y="537228"/>
                    </a:lnTo>
                    <a:lnTo>
                      <a:pt x="757238"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6" name="Freeform 51">
                <a:extLst>
                  <a:ext uri="{FF2B5EF4-FFF2-40B4-BE49-F238E27FC236}">
                    <a16:creationId xmlns:a16="http://schemas.microsoft.com/office/drawing/2014/main" id="{ACB1DCE1-31B5-508B-15AB-65662DD56977}"/>
                  </a:ext>
                </a:extLst>
              </p:cNvPr>
              <p:cNvSpPr/>
              <p:nvPr/>
            </p:nvSpPr>
            <p:spPr>
              <a:xfrm>
                <a:off x="8844294" y="897061"/>
                <a:ext cx="757238" cy="1386399"/>
              </a:xfrm>
              <a:custGeom>
                <a:avLst/>
                <a:gdLst>
                  <a:gd name="connsiteX0" fmla="*/ 0 w 757238"/>
                  <a:gd name="connsiteY0" fmla="*/ 0 h 1386399"/>
                  <a:gd name="connsiteX1" fmla="*/ 757237 w 757238"/>
                  <a:gd name="connsiteY1" fmla="*/ 537228 h 1386399"/>
                  <a:gd name="connsiteX2" fmla="*/ 757238 w 757238"/>
                  <a:gd name="connsiteY2" fmla="*/ 537228 h 1386399"/>
                  <a:gd name="connsiteX3" fmla="*/ 757238 w 757238"/>
                  <a:gd name="connsiteY3" fmla="*/ 1386399 h 1386399"/>
                  <a:gd name="connsiteX4" fmla="*/ 757237 w 757238"/>
                  <a:gd name="connsiteY4" fmla="*/ 1386399 h 1386399"/>
                  <a:gd name="connsiteX5" fmla="*/ 0 w 757238"/>
                  <a:gd name="connsiteY5" fmla="*/ 1122466 h 1386399"/>
                  <a:gd name="connsiteX6" fmla="*/ 0 w 757238"/>
                  <a:gd name="connsiteY6"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7238" h="1386399">
                    <a:moveTo>
                      <a:pt x="0" y="0"/>
                    </a:moveTo>
                    <a:lnTo>
                      <a:pt x="757237" y="537228"/>
                    </a:lnTo>
                    <a:lnTo>
                      <a:pt x="757238" y="537228"/>
                    </a:lnTo>
                    <a:lnTo>
                      <a:pt x="757238" y="1386399"/>
                    </a:lnTo>
                    <a:lnTo>
                      <a:pt x="757237" y="1386399"/>
                    </a:lnTo>
                    <a:lnTo>
                      <a:pt x="0" y="1122466"/>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grpSp>
        <p:nvGrpSpPr>
          <p:cNvPr id="27" name="Group 32">
            <a:extLst>
              <a:ext uri="{FF2B5EF4-FFF2-40B4-BE49-F238E27FC236}">
                <a16:creationId xmlns:a16="http://schemas.microsoft.com/office/drawing/2014/main" id="{9D66FC31-7D89-2E37-669A-6CEE72B0316B}"/>
              </a:ext>
            </a:extLst>
          </p:cNvPr>
          <p:cNvGrpSpPr/>
          <p:nvPr/>
        </p:nvGrpSpPr>
        <p:grpSpPr>
          <a:xfrm rot="18877460" flipV="1">
            <a:off x="4124646" y="2529095"/>
            <a:ext cx="486926" cy="2083658"/>
            <a:chOff x="6139793" y="927098"/>
            <a:chExt cx="649234" cy="2778210"/>
          </a:xfrm>
        </p:grpSpPr>
        <p:cxnSp>
          <p:nvCxnSpPr>
            <p:cNvPr id="28" name="Straight Connector 33">
              <a:extLst>
                <a:ext uri="{FF2B5EF4-FFF2-40B4-BE49-F238E27FC236}">
                  <a16:creationId xmlns:a16="http://schemas.microsoft.com/office/drawing/2014/main" id="{1458748A-2978-2920-DEE3-41A5FE0A7412}"/>
                </a:ext>
              </a:extLst>
            </p:cNvPr>
            <p:cNvCxnSpPr/>
            <p:nvPr/>
          </p:nvCxnSpPr>
          <p:spPr>
            <a:xfrm>
              <a:off x="6464410" y="1590261"/>
              <a:ext cx="0" cy="2115047"/>
            </a:xfrm>
            <a:prstGeom prst="line">
              <a:avLst/>
            </a:prstGeom>
            <a:ln w="666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29" name="Group 34">
              <a:extLst>
                <a:ext uri="{FF2B5EF4-FFF2-40B4-BE49-F238E27FC236}">
                  <a16:creationId xmlns:a16="http://schemas.microsoft.com/office/drawing/2014/main" id="{DB16C66F-43CF-3111-A1F0-220525CEBBA1}"/>
                </a:ext>
              </a:extLst>
            </p:cNvPr>
            <p:cNvGrpSpPr/>
            <p:nvPr/>
          </p:nvGrpSpPr>
          <p:grpSpPr>
            <a:xfrm rot="10800000">
              <a:off x="6139793" y="927098"/>
              <a:ext cx="649234" cy="753357"/>
              <a:chOff x="8087056" y="897061"/>
              <a:chExt cx="1514476" cy="1386399"/>
            </a:xfrm>
          </p:grpSpPr>
          <p:sp>
            <p:nvSpPr>
              <p:cNvPr id="30" name="Freeform 35">
                <a:extLst>
                  <a:ext uri="{FF2B5EF4-FFF2-40B4-BE49-F238E27FC236}">
                    <a16:creationId xmlns:a16="http://schemas.microsoft.com/office/drawing/2014/main" id="{805AE571-90D7-46F2-9010-F2ECC69F6719}"/>
                  </a:ext>
                </a:extLst>
              </p:cNvPr>
              <p:cNvSpPr/>
              <p:nvPr/>
            </p:nvSpPr>
            <p:spPr>
              <a:xfrm>
                <a:off x="8087056" y="897061"/>
                <a:ext cx="757238" cy="1386399"/>
              </a:xfrm>
              <a:custGeom>
                <a:avLst/>
                <a:gdLst>
                  <a:gd name="connsiteX0" fmla="*/ 757238 w 757238"/>
                  <a:gd name="connsiteY0" fmla="*/ 0 h 1386399"/>
                  <a:gd name="connsiteX1" fmla="*/ 757238 w 757238"/>
                  <a:gd name="connsiteY1" fmla="*/ 1122466 h 1386399"/>
                  <a:gd name="connsiteX2" fmla="*/ 1 w 757238"/>
                  <a:gd name="connsiteY2" fmla="*/ 1386399 h 1386399"/>
                  <a:gd name="connsiteX3" fmla="*/ 1 w 757238"/>
                  <a:gd name="connsiteY3" fmla="*/ 537228 h 1386399"/>
                  <a:gd name="connsiteX4" fmla="*/ 0 w 757238"/>
                  <a:gd name="connsiteY4" fmla="*/ 537228 h 1386399"/>
                  <a:gd name="connsiteX5" fmla="*/ 757238 w 757238"/>
                  <a:gd name="connsiteY5"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238" h="1386399">
                    <a:moveTo>
                      <a:pt x="757238" y="0"/>
                    </a:moveTo>
                    <a:lnTo>
                      <a:pt x="757238" y="1122466"/>
                    </a:lnTo>
                    <a:lnTo>
                      <a:pt x="1" y="1386399"/>
                    </a:lnTo>
                    <a:lnTo>
                      <a:pt x="1" y="537228"/>
                    </a:lnTo>
                    <a:lnTo>
                      <a:pt x="0" y="537228"/>
                    </a:lnTo>
                    <a:lnTo>
                      <a:pt x="757238"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31" name="Freeform 36">
                <a:extLst>
                  <a:ext uri="{FF2B5EF4-FFF2-40B4-BE49-F238E27FC236}">
                    <a16:creationId xmlns:a16="http://schemas.microsoft.com/office/drawing/2014/main" id="{5BF0DAB9-D23E-EA0C-5445-0964DEE651C3}"/>
                  </a:ext>
                </a:extLst>
              </p:cNvPr>
              <p:cNvSpPr/>
              <p:nvPr/>
            </p:nvSpPr>
            <p:spPr>
              <a:xfrm>
                <a:off x="8844294" y="897061"/>
                <a:ext cx="757238" cy="1386399"/>
              </a:xfrm>
              <a:custGeom>
                <a:avLst/>
                <a:gdLst>
                  <a:gd name="connsiteX0" fmla="*/ 0 w 757238"/>
                  <a:gd name="connsiteY0" fmla="*/ 0 h 1386399"/>
                  <a:gd name="connsiteX1" fmla="*/ 757237 w 757238"/>
                  <a:gd name="connsiteY1" fmla="*/ 537228 h 1386399"/>
                  <a:gd name="connsiteX2" fmla="*/ 757238 w 757238"/>
                  <a:gd name="connsiteY2" fmla="*/ 537228 h 1386399"/>
                  <a:gd name="connsiteX3" fmla="*/ 757238 w 757238"/>
                  <a:gd name="connsiteY3" fmla="*/ 1386399 h 1386399"/>
                  <a:gd name="connsiteX4" fmla="*/ 757237 w 757238"/>
                  <a:gd name="connsiteY4" fmla="*/ 1386399 h 1386399"/>
                  <a:gd name="connsiteX5" fmla="*/ 0 w 757238"/>
                  <a:gd name="connsiteY5" fmla="*/ 1122466 h 1386399"/>
                  <a:gd name="connsiteX6" fmla="*/ 0 w 757238"/>
                  <a:gd name="connsiteY6" fmla="*/ 0 h 13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7238" h="1386399">
                    <a:moveTo>
                      <a:pt x="0" y="0"/>
                    </a:moveTo>
                    <a:lnTo>
                      <a:pt x="757237" y="537228"/>
                    </a:lnTo>
                    <a:lnTo>
                      <a:pt x="757238" y="537228"/>
                    </a:lnTo>
                    <a:lnTo>
                      <a:pt x="757238" y="1386399"/>
                    </a:lnTo>
                    <a:lnTo>
                      <a:pt x="757237" y="1386399"/>
                    </a:lnTo>
                    <a:lnTo>
                      <a:pt x="0" y="1122466"/>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sp>
        <p:nvSpPr>
          <p:cNvPr id="32" name="TextBox 82">
            <a:extLst>
              <a:ext uri="{FF2B5EF4-FFF2-40B4-BE49-F238E27FC236}">
                <a16:creationId xmlns:a16="http://schemas.microsoft.com/office/drawing/2014/main" id="{9383D8DD-2907-E7BC-9BA3-D189A3B032F7}"/>
              </a:ext>
            </a:extLst>
          </p:cNvPr>
          <p:cNvSpPr txBox="1"/>
          <p:nvPr/>
        </p:nvSpPr>
        <p:spPr>
          <a:xfrm>
            <a:off x="5552318" y="792373"/>
            <a:ext cx="3319717" cy="646331"/>
          </a:xfrm>
          <a:prstGeom prst="rect">
            <a:avLst/>
          </a:prstGeom>
          <a:noFill/>
        </p:spPr>
        <p:txBody>
          <a:bodyPr wrap="square" lIns="0" rIns="0" rtlCol="0" anchor="ctr">
            <a:spAutoFit/>
          </a:bodyPr>
          <a:lstStyle/>
          <a:p>
            <a:pPr algn="just" defTabSz="685800">
              <a:buClrTx/>
              <a:defRPr/>
            </a:pPr>
            <a:r>
              <a:rPr lang="en-US" sz="1200" b="1" kern="1200">
                <a:solidFill>
                  <a:schemeClr val="accent1"/>
                </a:solidFill>
                <a:latin typeface="Tahoma" panose="020B0604030504040204" pitchFamily="34" charset="0"/>
                <a:ea typeface="Tahoma" panose="020B0604030504040204" pitchFamily="34" charset="0"/>
                <a:cs typeface="Tahoma" panose="020B0604030504040204" pitchFamily="34" charset="0"/>
              </a:rPr>
              <a:t>Mật khẩu yếu</a:t>
            </a:r>
          </a:p>
          <a:p>
            <a:pPr defTabSz="685800">
              <a:buClrTx/>
              <a:defRPr/>
            </a:pPr>
            <a:r>
              <a:rPr lang="vi-VN" sz="1200" kern="1200">
                <a:solidFill>
                  <a:prstClr val="black"/>
                </a:solidFill>
                <a:latin typeface="Tahoma" panose="020B0604030504040204" pitchFamily="34" charset="0"/>
                <a:ea typeface="Tahoma" panose="020B0604030504040204" pitchFamily="34" charset="0"/>
                <a:cs typeface="Tahoma" panose="020B0604030504040204" pitchFamily="34" charset="0"/>
              </a:rPr>
              <a:t>Mật khẩu ngắn (thường dưới 6 ký tự).Các chuỗi dễ đoán như "123456", "password", "qwerty".</a:t>
            </a:r>
            <a:endParaRPr lang="en-US" sz="1200" kern="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3" name="TextBox 82">
            <a:extLst>
              <a:ext uri="{FF2B5EF4-FFF2-40B4-BE49-F238E27FC236}">
                <a16:creationId xmlns:a16="http://schemas.microsoft.com/office/drawing/2014/main" id="{72F14210-CC86-F379-BAC0-B84726D0ED6B}"/>
              </a:ext>
            </a:extLst>
          </p:cNvPr>
          <p:cNvSpPr txBox="1"/>
          <p:nvPr/>
        </p:nvSpPr>
        <p:spPr>
          <a:xfrm>
            <a:off x="5918214" y="1600616"/>
            <a:ext cx="3034296" cy="646331"/>
          </a:xfrm>
          <a:prstGeom prst="rect">
            <a:avLst/>
          </a:prstGeom>
          <a:noFill/>
        </p:spPr>
        <p:txBody>
          <a:bodyPr wrap="square" lIns="0" rIns="0" rtlCol="0" anchor="ctr">
            <a:spAutoFit/>
          </a:bodyPr>
          <a:lstStyle/>
          <a:p>
            <a:pPr defTabSz="685800">
              <a:buClrTx/>
              <a:defRPr/>
            </a:pPr>
            <a:r>
              <a:rPr lang="en-US" sz="1200" b="1" kern="1200">
                <a:solidFill>
                  <a:schemeClr val="accent2"/>
                </a:solidFill>
                <a:latin typeface="Tahoma" panose="020B0604030504040204" pitchFamily="34" charset="0"/>
                <a:ea typeface="Tahoma" panose="020B0604030504040204" pitchFamily="34" charset="0"/>
                <a:cs typeface="Tahoma" panose="020B0604030504040204" pitchFamily="34" charset="0"/>
              </a:rPr>
              <a:t>Mật khẩu phổ biến</a:t>
            </a:r>
          </a:p>
          <a:p>
            <a:pPr algn="just" defTabSz="685800">
              <a:buClrTx/>
              <a:defRPr/>
            </a:pPr>
            <a:r>
              <a:rPr lang="vi-VN" sz="1200" kern="1200">
                <a:solidFill>
                  <a:prstClr val="black"/>
                </a:solidFill>
                <a:latin typeface="Tahoma" panose="020B0604030504040204" pitchFamily="34" charset="0"/>
                <a:ea typeface="Tahoma" panose="020B0604030504040204" pitchFamily="34" charset="0"/>
                <a:cs typeface="Tahoma" panose="020B0604030504040204" pitchFamily="34" charset="0"/>
              </a:rPr>
              <a:t>Mật khẩu được sử dụng rộng rãi</a:t>
            </a:r>
            <a:r>
              <a:rPr lang="en-US" sz="1200" kern="1200">
                <a:solidFill>
                  <a:prstClr val="black"/>
                </a:solidFill>
                <a:latin typeface="Tahoma" panose="020B0604030504040204" pitchFamily="34" charset="0"/>
                <a:ea typeface="Tahoma" panose="020B0604030504040204" pitchFamily="34" charset="0"/>
                <a:cs typeface="Tahoma" panose="020B0604030504040204" pitchFamily="34" charset="0"/>
              </a:rPr>
              <a:t>, dễ đoán như ngày tháng năm sinh, số đt, địa chỉ. </a:t>
            </a:r>
            <a:endParaRPr lang="en-US" sz="1200" kern="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4" name="TextBox 82">
            <a:extLst>
              <a:ext uri="{FF2B5EF4-FFF2-40B4-BE49-F238E27FC236}">
                <a16:creationId xmlns:a16="http://schemas.microsoft.com/office/drawing/2014/main" id="{02624F87-A481-691B-829C-1160860078E3}"/>
              </a:ext>
            </a:extLst>
          </p:cNvPr>
          <p:cNvSpPr txBox="1"/>
          <p:nvPr/>
        </p:nvSpPr>
        <p:spPr>
          <a:xfrm>
            <a:off x="6050430" y="2330671"/>
            <a:ext cx="3034296" cy="830997"/>
          </a:xfrm>
          <a:prstGeom prst="rect">
            <a:avLst/>
          </a:prstGeom>
          <a:noFill/>
        </p:spPr>
        <p:txBody>
          <a:bodyPr wrap="square" lIns="0" rIns="0" rtlCol="0" anchor="ctr">
            <a:spAutoFit/>
          </a:bodyPr>
          <a:lstStyle/>
          <a:p>
            <a:pPr defTabSz="685800">
              <a:buClrTx/>
              <a:defRPr/>
            </a:pPr>
            <a:r>
              <a:rPr lang="en-US" sz="1200" b="1" kern="1200">
                <a:solidFill>
                  <a:schemeClr val="accent3"/>
                </a:solidFill>
                <a:latin typeface="Tahoma" panose="020B0604030504040204" pitchFamily="34" charset="0"/>
                <a:ea typeface="Tahoma" panose="020B0604030504040204" pitchFamily="34" charset="0"/>
                <a:cs typeface="Tahoma" panose="020B0604030504040204" pitchFamily="34" charset="0"/>
              </a:rPr>
              <a:t>Mật khẩu không có độ phức tạp</a:t>
            </a:r>
          </a:p>
          <a:p>
            <a:pPr algn="just" defTabSz="685800">
              <a:buClrTx/>
              <a:defRPr/>
            </a:pPr>
            <a:r>
              <a:rPr lang="en-US" sz="1200">
                <a:latin typeface="Tahoma" panose="020B0604030504040204" pitchFamily="34" charset="0"/>
                <a:ea typeface="Tahoma" panose="020B0604030504040204" pitchFamily="34" charset="0"/>
                <a:cs typeface="Tahoma" panose="020B0604030504040204" pitchFamily="34" charset="0"/>
              </a:rPr>
              <a:t>Mật khẩu chỉ chứa một loại ký tự,</a:t>
            </a:r>
            <a:r>
              <a:rPr lang="en-US" sz="1200" b="1" kern="1200">
                <a:solidFill>
                  <a:schemeClr val="accent3"/>
                </a:solidFill>
                <a:latin typeface="Tahoma" panose="020B0604030504040204" pitchFamily="34" charset="0"/>
                <a:ea typeface="Tahoma" panose="020B0604030504040204" pitchFamily="34" charset="0"/>
                <a:cs typeface="Tahoma" panose="020B0604030504040204" pitchFamily="34" charset="0"/>
              </a:rPr>
              <a:t> </a:t>
            </a:r>
            <a:r>
              <a:rPr lang="vi-VN" sz="1200">
                <a:latin typeface="Tahoma" panose="020B0604030504040204" pitchFamily="34" charset="0"/>
                <a:ea typeface="Tahoma" panose="020B0604030504040204" pitchFamily="34" charset="0"/>
                <a:cs typeface="Tahoma" panose="020B0604030504040204" pitchFamily="34" charset="0"/>
              </a:rPr>
              <a:t>Thiếu sự đa dạng trong việc sử dụng chữ hoa, chữ thường, số và ký tự đặc biệt.</a:t>
            </a:r>
            <a:endParaRPr lang="en-US" sz="1200" kern="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5" name="TextBox 82">
            <a:extLst>
              <a:ext uri="{FF2B5EF4-FFF2-40B4-BE49-F238E27FC236}">
                <a16:creationId xmlns:a16="http://schemas.microsoft.com/office/drawing/2014/main" id="{8688A71C-440E-64A9-71C0-D6750D3A7E9A}"/>
              </a:ext>
            </a:extLst>
          </p:cNvPr>
          <p:cNvSpPr txBox="1"/>
          <p:nvPr/>
        </p:nvSpPr>
        <p:spPr>
          <a:xfrm>
            <a:off x="5836472" y="3339183"/>
            <a:ext cx="2953821" cy="646331"/>
          </a:xfrm>
          <a:prstGeom prst="rect">
            <a:avLst/>
          </a:prstGeom>
          <a:noFill/>
        </p:spPr>
        <p:txBody>
          <a:bodyPr wrap="square" lIns="0" rIns="0" rtlCol="0" anchor="ctr">
            <a:spAutoFit/>
          </a:bodyPr>
          <a:lstStyle/>
          <a:p>
            <a:pPr defTabSz="685800">
              <a:buClrTx/>
              <a:defRPr/>
            </a:pPr>
            <a:r>
              <a:rPr lang="en-US" sz="1200" b="1" kern="1200">
                <a:solidFill>
                  <a:schemeClr val="accent4"/>
                </a:solidFill>
                <a:latin typeface="Tahoma" panose="020B0604030504040204" pitchFamily="34" charset="0"/>
                <a:ea typeface="Tahoma" panose="020B0604030504040204" pitchFamily="34" charset="0"/>
                <a:cs typeface="Tahoma" panose="020B0604030504040204" pitchFamily="34" charset="0"/>
              </a:rPr>
              <a:t>Mật khẩu dựa trên từ điển</a:t>
            </a:r>
          </a:p>
          <a:p>
            <a:pPr algn="just" defTabSz="685800">
              <a:buClrTx/>
              <a:defRPr/>
            </a:pPr>
            <a:r>
              <a:rPr lang="en-US" sz="1200" kern="1200">
                <a:solidFill>
                  <a:prstClr val="black"/>
                </a:solidFill>
                <a:latin typeface="Tahoma" panose="020B0604030504040204" pitchFamily="34" charset="0"/>
                <a:ea typeface="Tahoma" panose="020B0604030504040204" pitchFamily="34" charset="0"/>
                <a:cs typeface="Tahoma" panose="020B0604030504040204" pitchFamily="34" charset="0"/>
              </a:rPr>
              <a:t> Mật khẩu là các câu nói phổ biến hoặc câu trích dẫn</a:t>
            </a:r>
            <a:endParaRPr lang="en-US" sz="1200" kern="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6" name="TextBox 82">
            <a:extLst>
              <a:ext uri="{FF2B5EF4-FFF2-40B4-BE49-F238E27FC236}">
                <a16:creationId xmlns:a16="http://schemas.microsoft.com/office/drawing/2014/main" id="{E1D9A34E-E2CD-603D-CFFC-7A32FF47D9AC}"/>
              </a:ext>
            </a:extLst>
          </p:cNvPr>
          <p:cNvSpPr txBox="1"/>
          <p:nvPr/>
        </p:nvSpPr>
        <p:spPr>
          <a:xfrm>
            <a:off x="5317226" y="4160226"/>
            <a:ext cx="3276352" cy="646331"/>
          </a:xfrm>
          <a:prstGeom prst="rect">
            <a:avLst/>
          </a:prstGeom>
          <a:noFill/>
        </p:spPr>
        <p:txBody>
          <a:bodyPr wrap="square" lIns="0" rIns="0" rtlCol="0" anchor="ctr">
            <a:spAutoFit/>
          </a:bodyPr>
          <a:lstStyle/>
          <a:p>
            <a:pPr defTabSz="685800">
              <a:buClrTx/>
              <a:defRPr/>
            </a:pPr>
            <a:r>
              <a:rPr lang="vi-VN" sz="1200" b="1" kern="1200">
                <a:solidFill>
                  <a:schemeClr val="accent5"/>
                </a:solidFill>
                <a:latin typeface="Tahoma" panose="020B0604030504040204" pitchFamily="34" charset="0"/>
                <a:ea typeface="Tahoma" panose="020B0604030504040204" pitchFamily="34" charset="0"/>
                <a:cs typeface="Tahoma" panose="020B0604030504040204" pitchFamily="34" charset="0"/>
              </a:rPr>
              <a:t>Mật khẩu theo khuynh hướng tạm thời</a:t>
            </a:r>
            <a:endParaRPr lang="en-US" sz="1200" b="1" kern="1200">
              <a:solidFill>
                <a:schemeClr val="accent5"/>
              </a:solidFill>
              <a:latin typeface="Tahoma" panose="020B0604030504040204" pitchFamily="34" charset="0"/>
              <a:ea typeface="Tahoma" panose="020B0604030504040204" pitchFamily="34" charset="0"/>
              <a:cs typeface="Tahoma" panose="020B0604030504040204" pitchFamily="34" charset="0"/>
            </a:endParaRPr>
          </a:p>
          <a:p>
            <a:pPr algn="just" defTabSz="685800">
              <a:buClrTx/>
              <a:defRPr/>
            </a:pPr>
            <a:r>
              <a:rPr lang="vi-VN" sz="1200" kern="1200">
                <a:solidFill>
                  <a:prstClr val="black"/>
                </a:solidFill>
                <a:latin typeface="Tahoma" panose="020B0604030504040204" pitchFamily="34" charset="0"/>
                <a:ea typeface="Tahoma" panose="020B0604030504040204" pitchFamily="34" charset="0"/>
                <a:cs typeface="Tahoma" panose="020B0604030504040204" pitchFamily="34" charset="0"/>
              </a:rPr>
              <a:t>Mật khẩu dễ bị đoán theo các sự kiện hiện tại hoặc xu hướng</a:t>
            </a:r>
            <a:endParaRPr lang="en-US" sz="1200" kern="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pic>
        <p:nvPicPr>
          <p:cNvPr id="37" name="Picture 36">
            <a:extLst>
              <a:ext uri="{FF2B5EF4-FFF2-40B4-BE49-F238E27FC236}">
                <a16:creationId xmlns:a16="http://schemas.microsoft.com/office/drawing/2014/main" id="{A841F3AB-5C0A-4655-B94E-80C8D707E321}"/>
              </a:ext>
            </a:extLst>
          </p:cNvPr>
          <p:cNvPicPr>
            <a:picLocks noChangeAspect="1"/>
          </p:cNvPicPr>
          <p:nvPr/>
        </p:nvPicPr>
        <p:blipFill>
          <a:blip r:embed="rId3"/>
          <a:stretch>
            <a:fillRect/>
          </a:stretch>
        </p:blipFill>
        <p:spPr>
          <a:xfrm>
            <a:off x="2620" y="1784222"/>
            <a:ext cx="2467013" cy="1976263"/>
          </a:xfrm>
          <a:prstGeom prst="rect">
            <a:avLst/>
          </a:prstGeom>
        </p:spPr>
      </p:pic>
      <p:sp>
        <p:nvSpPr>
          <p:cNvPr id="40" name="Rectangle 45">
            <a:extLst>
              <a:ext uri="{FF2B5EF4-FFF2-40B4-BE49-F238E27FC236}">
                <a16:creationId xmlns:a16="http://schemas.microsoft.com/office/drawing/2014/main" id="{64B81149-C1EC-4616-B457-0A380741ED5B}"/>
              </a:ext>
            </a:extLst>
          </p:cNvPr>
          <p:cNvSpPr>
            <a:spLocks noChangeArrowheads="1"/>
          </p:cNvSpPr>
          <p:nvPr/>
        </p:nvSpPr>
        <p:spPr bwMode="gray">
          <a:xfrm>
            <a:off x="0" y="18732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41" name="Google Shape;412;p18">
            <a:extLst>
              <a:ext uri="{FF2B5EF4-FFF2-40B4-BE49-F238E27FC236}">
                <a16:creationId xmlns:a16="http://schemas.microsoft.com/office/drawing/2014/main" id="{B94944E4-C432-4D65-AFC8-5670D2A08763}"/>
              </a:ext>
            </a:extLst>
          </p:cNvPr>
          <p:cNvSpPr txBox="1">
            <a:spLocks/>
          </p:cNvSpPr>
          <p:nvPr/>
        </p:nvSpPr>
        <p:spPr>
          <a:xfrm>
            <a:off x="457200" y="31623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NGUYÊN NHÂN TẤN CÔNG BRUTE-FORCE</a:t>
            </a:r>
          </a:p>
        </p:txBody>
      </p:sp>
    </p:spTree>
    <p:extLst>
      <p:ext uri="{BB962C8B-B14F-4D97-AF65-F5344CB8AC3E}">
        <p14:creationId xmlns:p14="http://schemas.microsoft.com/office/powerpoint/2010/main" val="3975260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45">
            <a:extLst>
              <a:ext uri="{FF2B5EF4-FFF2-40B4-BE49-F238E27FC236}">
                <a16:creationId xmlns:a16="http://schemas.microsoft.com/office/drawing/2014/main" id="{6D2BEE0A-9672-4C93-99DF-4FDC11D2AE90}"/>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29" name="Google Shape;412;p18">
            <a:extLst>
              <a:ext uri="{FF2B5EF4-FFF2-40B4-BE49-F238E27FC236}">
                <a16:creationId xmlns:a16="http://schemas.microsoft.com/office/drawing/2014/main" id="{0C7F5EF2-5A10-40AC-9759-AC01B71BFB93}"/>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MỤC TIÊU CỦA NGHIÊN CỨU</a:t>
            </a:r>
          </a:p>
        </p:txBody>
      </p:sp>
      <p:sp>
        <p:nvSpPr>
          <p:cNvPr id="30" name="Rounded Rectangle 5 - 1">
            <a:extLst>
              <a:ext uri="{FF2B5EF4-FFF2-40B4-BE49-F238E27FC236}">
                <a16:creationId xmlns:a16="http://schemas.microsoft.com/office/drawing/2014/main" id="{F8EDCA45-C0DA-4290-AD87-55C9F534D67A}"/>
              </a:ext>
            </a:extLst>
          </p:cNvPr>
          <p:cNvSpPr>
            <a:spLocks/>
          </p:cNvSpPr>
          <p:nvPr/>
        </p:nvSpPr>
        <p:spPr>
          <a:xfrm>
            <a:off x="2250458" y="1125560"/>
            <a:ext cx="6406238" cy="101918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756000" bIns="34290" numCol="1" spcCol="0" rtlCol="0" fromWordArt="0" anchor="ctr" anchorCtr="0" forceAA="0" compatLnSpc="1">
            <a:prstTxWarp prst="textNoShape">
              <a:avLst/>
            </a:prstTxWarp>
            <a:noAutofit/>
          </a:bodyPr>
          <a:lstStyle/>
          <a:p>
            <a:r>
              <a:rPr lang="en-US" sz="1200" b="1">
                <a:solidFill>
                  <a:schemeClr val="accent1"/>
                </a:solidFill>
                <a:latin typeface="Tahoma" panose="020B0604030504040204" pitchFamily="34" charset="0"/>
                <a:ea typeface="Tahoma" panose="020B0604030504040204" pitchFamily="34" charset="0"/>
                <a:cs typeface="Tahoma" panose="020B0604030504040204" pitchFamily="34" charset="0"/>
              </a:rPr>
              <a:t>PHÁT HIỆN CÁC CUỘC TẤN CÔNG BRUTE-FORCE NHẮM VÀO GIAO THỨC SSH VÀ FTP.</a:t>
            </a:r>
          </a:p>
        </p:txBody>
      </p:sp>
      <p:grpSp>
        <p:nvGrpSpPr>
          <p:cNvPr id="31" name="Group 30">
            <a:extLst>
              <a:ext uri="{FF2B5EF4-FFF2-40B4-BE49-F238E27FC236}">
                <a16:creationId xmlns:a16="http://schemas.microsoft.com/office/drawing/2014/main" id="{DB9BF808-CD59-4318-BACB-40AEB923F2B6}"/>
              </a:ext>
            </a:extLst>
          </p:cNvPr>
          <p:cNvGrpSpPr>
            <a:grpSpLocks noChangeAspect="1"/>
          </p:cNvGrpSpPr>
          <p:nvPr/>
        </p:nvGrpSpPr>
        <p:grpSpPr>
          <a:xfrm rot="900000">
            <a:off x="697209" y="966485"/>
            <a:ext cx="1391677" cy="1391677"/>
            <a:chOff x="2955023" y="2855911"/>
            <a:chExt cx="2041126" cy="2041126"/>
          </a:xfrm>
          <a:effectLst>
            <a:outerShdw blurRad="50800" dist="38100" dir="2700000" sx="102000" sy="102000" algn="tl" rotWithShape="0">
              <a:prstClr val="black">
                <a:alpha val="40000"/>
              </a:prstClr>
            </a:outerShdw>
          </a:effectLst>
        </p:grpSpPr>
        <p:sp>
          <p:nvSpPr>
            <p:cNvPr id="32" name="Circle: Hollow 322">
              <a:extLst>
                <a:ext uri="{FF2B5EF4-FFF2-40B4-BE49-F238E27FC236}">
                  <a16:creationId xmlns:a16="http://schemas.microsoft.com/office/drawing/2014/main" id="{B5C8120E-BD14-479A-8A92-0100EAB08F15}"/>
                </a:ext>
              </a:extLst>
            </p:cNvPr>
            <p:cNvSpPr>
              <a:spLocks noChangeAspect="1"/>
            </p:cNvSpPr>
            <p:nvPr/>
          </p:nvSpPr>
          <p:spPr>
            <a:xfrm>
              <a:off x="3117231" y="3018119"/>
              <a:ext cx="1716710" cy="1716710"/>
            </a:xfrm>
            <a:prstGeom prst="donut">
              <a:avLst>
                <a:gd name="adj" fmla="val 71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prstClr val="black"/>
                </a:solidFill>
              </a:endParaRPr>
            </a:p>
          </p:txBody>
        </p:sp>
        <p:grpSp>
          <p:nvGrpSpPr>
            <p:cNvPr id="33" name="Group 32">
              <a:extLst>
                <a:ext uri="{FF2B5EF4-FFF2-40B4-BE49-F238E27FC236}">
                  <a16:creationId xmlns:a16="http://schemas.microsoft.com/office/drawing/2014/main" id="{17FB7817-F5B3-482E-87D2-C1DA1B8FF7B9}"/>
                </a:ext>
              </a:extLst>
            </p:cNvPr>
            <p:cNvGrpSpPr/>
            <p:nvPr/>
          </p:nvGrpSpPr>
          <p:grpSpPr>
            <a:xfrm>
              <a:off x="3888066" y="2855911"/>
              <a:ext cx="175040" cy="2041126"/>
              <a:chOff x="8229799" y="2768458"/>
              <a:chExt cx="175040" cy="2041126"/>
            </a:xfrm>
            <a:solidFill>
              <a:schemeClr val="accent1"/>
            </a:solidFill>
          </p:grpSpPr>
          <p:sp>
            <p:nvSpPr>
              <p:cNvPr id="50" name="Trapezoid 49">
                <a:extLst>
                  <a:ext uri="{FF2B5EF4-FFF2-40B4-BE49-F238E27FC236}">
                    <a16:creationId xmlns:a16="http://schemas.microsoft.com/office/drawing/2014/main" id="{CFD2C9AA-E2D9-40D9-B7BD-7FC46C7F9161}"/>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51" name="Trapezoid 50">
                <a:extLst>
                  <a:ext uri="{FF2B5EF4-FFF2-40B4-BE49-F238E27FC236}">
                    <a16:creationId xmlns:a16="http://schemas.microsoft.com/office/drawing/2014/main" id="{E69A8CCB-E704-4115-B607-F83E186A6218}"/>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34" name="Group 33">
              <a:extLst>
                <a:ext uri="{FF2B5EF4-FFF2-40B4-BE49-F238E27FC236}">
                  <a16:creationId xmlns:a16="http://schemas.microsoft.com/office/drawing/2014/main" id="{88C331FB-1434-455F-AFC5-DD0F757DAE3B}"/>
                </a:ext>
              </a:extLst>
            </p:cNvPr>
            <p:cNvGrpSpPr/>
            <p:nvPr/>
          </p:nvGrpSpPr>
          <p:grpSpPr>
            <a:xfrm rot="5400000">
              <a:off x="3888066" y="2855911"/>
              <a:ext cx="175040" cy="2041126"/>
              <a:chOff x="8229799" y="2768458"/>
              <a:chExt cx="175040" cy="2041126"/>
            </a:xfrm>
            <a:solidFill>
              <a:schemeClr val="accent1"/>
            </a:solidFill>
          </p:grpSpPr>
          <p:sp>
            <p:nvSpPr>
              <p:cNvPr id="48" name="Trapezoid 47">
                <a:extLst>
                  <a:ext uri="{FF2B5EF4-FFF2-40B4-BE49-F238E27FC236}">
                    <a16:creationId xmlns:a16="http://schemas.microsoft.com/office/drawing/2014/main" id="{553B8ADB-2EA1-4345-8F80-4C6DF2C2AAEE}"/>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49" name="Trapezoid 48">
                <a:extLst>
                  <a:ext uri="{FF2B5EF4-FFF2-40B4-BE49-F238E27FC236}">
                    <a16:creationId xmlns:a16="http://schemas.microsoft.com/office/drawing/2014/main" id="{64C9026C-B5F8-48DA-B9DD-64C01A5661BA}"/>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35" name="Group 34">
              <a:extLst>
                <a:ext uri="{FF2B5EF4-FFF2-40B4-BE49-F238E27FC236}">
                  <a16:creationId xmlns:a16="http://schemas.microsoft.com/office/drawing/2014/main" id="{512F058B-0A45-4C3E-859C-BA0AE6458B26}"/>
                </a:ext>
              </a:extLst>
            </p:cNvPr>
            <p:cNvGrpSpPr/>
            <p:nvPr/>
          </p:nvGrpSpPr>
          <p:grpSpPr>
            <a:xfrm rot="1800000">
              <a:off x="3888066" y="2855911"/>
              <a:ext cx="175040" cy="2041126"/>
              <a:chOff x="8229799" y="2768458"/>
              <a:chExt cx="175040" cy="2041126"/>
            </a:xfrm>
            <a:solidFill>
              <a:schemeClr val="accent1"/>
            </a:solidFill>
          </p:grpSpPr>
          <p:sp>
            <p:nvSpPr>
              <p:cNvPr id="46" name="Trapezoid 45">
                <a:extLst>
                  <a:ext uri="{FF2B5EF4-FFF2-40B4-BE49-F238E27FC236}">
                    <a16:creationId xmlns:a16="http://schemas.microsoft.com/office/drawing/2014/main" id="{D901447E-DFE9-484C-AF74-DE444965A94B}"/>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47" name="Trapezoid 46">
                <a:extLst>
                  <a:ext uri="{FF2B5EF4-FFF2-40B4-BE49-F238E27FC236}">
                    <a16:creationId xmlns:a16="http://schemas.microsoft.com/office/drawing/2014/main" id="{8552B7EF-C0A6-43CA-8146-9C4A62632D98}"/>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36" name="Group 35">
              <a:extLst>
                <a:ext uri="{FF2B5EF4-FFF2-40B4-BE49-F238E27FC236}">
                  <a16:creationId xmlns:a16="http://schemas.microsoft.com/office/drawing/2014/main" id="{C83169E7-2FD5-4E08-A94C-642FC60C43C2}"/>
                </a:ext>
              </a:extLst>
            </p:cNvPr>
            <p:cNvGrpSpPr/>
            <p:nvPr/>
          </p:nvGrpSpPr>
          <p:grpSpPr>
            <a:xfrm rot="3600000">
              <a:off x="3888066" y="2855911"/>
              <a:ext cx="175040" cy="2041126"/>
              <a:chOff x="8229799" y="2768458"/>
              <a:chExt cx="175040" cy="2041126"/>
            </a:xfrm>
            <a:solidFill>
              <a:schemeClr val="accent1"/>
            </a:solidFill>
          </p:grpSpPr>
          <p:sp>
            <p:nvSpPr>
              <p:cNvPr id="44" name="Trapezoid 43">
                <a:extLst>
                  <a:ext uri="{FF2B5EF4-FFF2-40B4-BE49-F238E27FC236}">
                    <a16:creationId xmlns:a16="http://schemas.microsoft.com/office/drawing/2014/main" id="{9F4E2A1D-09C9-48ED-981E-1468672FEF31}"/>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45" name="Trapezoid 44">
                <a:extLst>
                  <a:ext uri="{FF2B5EF4-FFF2-40B4-BE49-F238E27FC236}">
                    <a16:creationId xmlns:a16="http://schemas.microsoft.com/office/drawing/2014/main" id="{83F3DC97-EA99-408A-B0F5-D1287A3DB953}"/>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37" name="Group 36">
              <a:extLst>
                <a:ext uri="{FF2B5EF4-FFF2-40B4-BE49-F238E27FC236}">
                  <a16:creationId xmlns:a16="http://schemas.microsoft.com/office/drawing/2014/main" id="{F4A40890-2D28-4F6A-9BAC-FFAB0FE01E02}"/>
                </a:ext>
              </a:extLst>
            </p:cNvPr>
            <p:cNvGrpSpPr/>
            <p:nvPr/>
          </p:nvGrpSpPr>
          <p:grpSpPr>
            <a:xfrm rot="7200000">
              <a:off x="3888066" y="2855911"/>
              <a:ext cx="175040" cy="2041126"/>
              <a:chOff x="8229799" y="2768458"/>
              <a:chExt cx="175040" cy="2041126"/>
            </a:xfrm>
            <a:solidFill>
              <a:schemeClr val="accent1"/>
            </a:solidFill>
          </p:grpSpPr>
          <p:sp>
            <p:nvSpPr>
              <p:cNvPr id="42" name="Trapezoid 41">
                <a:extLst>
                  <a:ext uri="{FF2B5EF4-FFF2-40B4-BE49-F238E27FC236}">
                    <a16:creationId xmlns:a16="http://schemas.microsoft.com/office/drawing/2014/main" id="{B61884B1-E100-4F5C-BE55-B41C08678062}"/>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43" name="Trapezoid 42">
                <a:extLst>
                  <a:ext uri="{FF2B5EF4-FFF2-40B4-BE49-F238E27FC236}">
                    <a16:creationId xmlns:a16="http://schemas.microsoft.com/office/drawing/2014/main" id="{57A66963-3FA8-4273-8080-BD7B252ACDF6}"/>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38" name="Group 37">
              <a:extLst>
                <a:ext uri="{FF2B5EF4-FFF2-40B4-BE49-F238E27FC236}">
                  <a16:creationId xmlns:a16="http://schemas.microsoft.com/office/drawing/2014/main" id="{3C052B2F-62FF-4520-BE58-D607000BDDB8}"/>
                </a:ext>
              </a:extLst>
            </p:cNvPr>
            <p:cNvGrpSpPr/>
            <p:nvPr/>
          </p:nvGrpSpPr>
          <p:grpSpPr>
            <a:xfrm rot="9000000">
              <a:off x="3888066" y="2855911"/>
              <a:ext cx="175040" cy="2041126"/>
              <a:chOff x="8229799" y="2768458"/>
              <a:chExt cx="175040" cy="2041126"/>
            </a:xfrm>
            <a:solidFill>
              <a:schemeClr val="accent1"/>
            </a:solidFill>
          </p:grpSpPr>
          <p:sp>
            <p:nvSpPr>
              <p:cNvPr id="40" name="Trapezoid 39">
                <a:extLst>
                  <a:ext uri="{FF2B5EF4-FFF2-40B4-BE49-F238E27FC236}">
                    <a16:creationId xmlns:a16="http://schemas.microsoft.com/office/drawing/2014/main" id="{B98C877A-87E8-4D21-B20B-347B611BC88A}"/>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41" name="Trapezoid 40">
                <a:extLst>
                  <a:ext uri="{FF2B5EF4-FFF2-40B4-BE49-F238E27FC236}">
                    <a16:creationId xmlns:a16="http://schemas.microsoft.com/office/drawing/2014/main" id="{831C96D3-7E01-4A14-8872-EA94A6AA7F8D}"/>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sp>
          <p:nvSpPr>
            <p:cNvPr id="39" name="Oval 38">
              <a:extLst>
                <a:ext uri="{FF2B5EF4-FFF2-40B4-BE49-F238E27FC236}">
                  <a16:creationId xmlns:a16="http://schemas.microsoft.com/office/drawing/2014/main" id="{454FB859-9005-42CD-AD3E-050FD53462B8}"/>
                </a:ext>
              </a:extLst>
            </p:cNvPr>
            <p:cNvSpPr>
              <a:spLocks noChangeAspect="1"/>
            </p:cNvSpPr>
            <p:nvPr/>
          </p:nvSpPr>
          <p:spPr>
            <a:xfrm rot="20700000">
              <a:off x="3269172" y="3175844"/>
              <a:ext cx="1408186" cy="1408186"/>
            </a:xfrm>
            <a:prstGeom prst="ellipse">
              <a:avLst/>
            </a:prstGeom>
            <a:solidFill>
              <a:schemeClr val="lt1"/>
            </a:solidFill>
            <a:ln w="762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3600" b="1" dirty="0">
                  <a:solidFill>
                    <a:schemeClr val="accent1"/>
                  </a:solidFill>
                </a:rPr>
                <a:t>1</a:t>
              </a:r>
            </a:p>
          </p:txBody>
        </p:sp>
      </p:grpSp>
      <p:grpSp>
        <p:nvGrpSpPr>
          <p:cNvPr id="52" name="Group 51">
            <a:extLst>
              <a:ext uri="{FF2B5EF4-FFF2-40B4-BE49-F238E27FC236}">
                <a16:creationId xmlns:a16="http://schemas.microsoft.com/office/drawing/2014/main" id="{3E5235DB-0A35-4C26-B2B1-0502C76157FA}"/>
              </a:ext>
            </a:extLst>
          </p:cNvPr>
          <p:cNvGrpSpPr>
            <a:grpSpLocks noChangeAspect="1"/>
          </p:cNvGrpSpPr>
          <p:nvPr/>
        </p:nvGrpSpPr>
        <p:grpSpPr>
          <a:xfrm>
            <a:off x="1361833" y="2108405"/>
            <a:ext cx="1391677" cy="1391677"/>
            <a:chOff x="5517577" y="2855912"/>
            <a:chExt cx="2041126" cy="2041126"/>
          </a:xfrm>
          <a:effectLst>
            <a:outerShdw blurRad="50800" dist="38100" dir="2700000" sx="102000" sy="102000" algn="tl" rotWithShape="0">
              <a:prstClr val="black">
                <a:alpha val="40000"/>
              </a:prstClr>
            </a:outerShdw>
          </a:effectLst>
        </p:grpSpPr>
        <p:sp>
          <p:nvSpPr>
            <p:cNvPr id="53" name="Circle: Hollow 342">
              <a:extLst>
                <a:ext uri="{FF2B5EF4-FFF2-40B4-BE49-F238E27FC236}">
                  <a16:creationId xmlns:a16="http://schemas.microsoft.com/office/drawing/2014/main" id="{F97C2CD1-06DA-4268-9E31-F7BB3114EC44}"/>
                </a:ext>
              </a:extLst>
            </p:cNvPr>
            <p:cNvSpPr>
              <a:spLocks noChangeAspect="1"/>
            </p:cNvSpPr>
            <p:nvPr/>
          </p:nvSpPr>
          <p:spPr>
            <a:xfrm>
              <a:off x="5679785" y="3018120"/>
              <a:ext cx="1716710" cy="1716710"/>
            </a:xfrm>
            <a:prstGeom prst="donut">
              <a:avLst>
                <a:gd name="adj" fmla="val 71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prstClr val="black"/>
                </a:solidFill>
              </a:endParaRPr>
            </a:p>
          </p:txBody>
        </p:sp>
        <p:grpSp>
          <p:nvGrpSpPr>
            <p:cNvPr id="54" name="Group 53">
              <a:extLst>
                <a:ext uri="{FF2B5EF4-FFF2-40B4-BE49-F238E27FC236}">
                  <a16:creationId xmlns:a16="http://schemas.microsoft.com/office/drawing/2014/main" id="{3D262F39-FF8C-4F91-8CFD-E371253CB501}"/>
                </a:ext>
              </a:extLst>
            </p:cNvPr>
            <p:cNvGrpSpPr/>
            <p:nvPr/>
          </p:nvGrpSpPr>
          <p:grpSpPr>
            <a:xfrm>
              <a:off x="6450620" y="2855912"/>
              <a:ext cx="175040" cy="2041126"/>
              <a:chOff x="8229799" y="2768458"/>
              <a:chExt cx="175040" cy="2041126"/>
            </a:xfrm>
            <a:solidFill>
              <a:schemeClr val="accent2"/>
            </a:solidFill>
          </p:grpSpPr>
          <p:sp>
            <p:nvSpPr>
              <p:cNvPr id="71" name="Trapezoid 70">
                <a:extLst>
                  <a:ext uri="{FF2B5EF4-FFF2-40B4-BE49-F238E27FC236}">
                    <a16:creationId xmlns:a16="http://schemas.microsoft.com/office/drawing/2014/main" id="{071577A9-99A4-45E5-AC7E-2BA357D2A7ED}"/>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72" name="Trapezoid 71">
                <a:extLst>
                  <a:ext uri="{FF2B5EF4-FFF2-40B4-BE49-F238E27FC236}">
                    <a16:creationId xmlns:a16="http://schemas.microsoft.com/office/drawing/2014/main" id="{CB363F9D-045D-4F63-9CC7-F2888440500A}"/>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55" name="Group 54">
              <a:extLst>
                <a:ext uri="{FF2B5EF4-FFF2-40B4-BE49-F238E27FC236}">
                  <a16:creationId xmlns:a16="http://schemas.microsoft.com/office/drawing/2014/main" id="{3D37F2B5-82D8-4C01-B20F-52DA77A9D884}"/>
                </a:ext>
              </a:extLst>
            </p:cNvPr>
            <p:cNvGrpSpPr/>
            <p:nvPr/>
          </p:nvGrpSpPr>
          <p:grpSpPr>
            <a:xfrm rot="5400000">
              <a:off x="6450620" y="2855912"/>
              <a:ext cx="175040" cy="2041126"/>
              <a:chOff x="8229799" y="2768458"/>
              <a:chExt cx="175040" cy="2041126"/>
            </a:xfrm>
            <a:solidFill>
              <a:schemeClr val="accent2"/>
            </a:solidFill>
          </p:grpSpPr>
          <p:sp>
            <p:nvSpPr>
              <p:cNvPr id="69" name="Trapezoid 68">
                <a:extLst>
                  <a:ext uri="{FF2B5EF4-FFF2-40B4-BE49-F238E27FC236}">
                    <a16:creationId xmlns:a16="http://schemas.microsoft.com/office/drawing/2014/main" id="{2EA27089-3D2A-41B7-B391-6188D37F3AD0}"/>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70" name="Trapezoid 69">
                <a:extLst>
                  <a:ext uri="{FF2B5EF4-FFF2-40B4-BE49-F238E27FC236}">
                    <a16:creationId xmlns:a16="http://schemas.microsoft.com/office/drawing/2014/main" id="{3E3BF890-812E-426A-B0AF-8F0B090EC15F}"/>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56" name="Group 55">
              <a:extLst>
                <a:ext uri="{FF2B5EF4-FFF2-40B4-BE49-F238E27FC236}">
                  <a16:creationId xmlns:a16="http://schemas.microsoft.com/office/drawing/2014/main" id="{6F1E3126-6088-4FF9-9205-3332A46E3C62}"/>
                </a:ext>
              </a:extLst>
            </p:cNvPr>
            <p:cNvGrpSpPr/>
            <p:nvPr/>
          </p:nvGrpSpPr>
          <p:grpSpPr>
            <a:xfrm rot="1800000">
              <a:off x="6450620" y="2855912"/>
              <a:ext cx="175040" cy="2041126"/>
              <a:chOff x="8229799" y="2768458"/>
              <a:chExt cx="175040" cy="2041126"/>
            </a:xfrm>
            <a:solidFill>
              <a:schemeClr val="accent2"/>
            </a:solidFill>
          </p:grpSpPr>
          <p:sp>
            <p:nvSpPr>
              <p:cNvPr id="67" name="Trapezoid 66">
                <a:extLst>
                  <a:ext uri="{FF2B5EF4-FFF2-40B4-BE49-F238E27FC236}">
                    <a16:creationId xmlns:a16="http://schemas.microsoft.com/office/drawing/2014/main" id="{3E1849D8-2990-4AC3-9B3E-D2E6A14F88FE}"/>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68" name="Trapezoid 67">
                <a:extLst>
                  <a:ext uri="{FF2B5EF4-FFF2-40B4-BE49-F238E27FC236}">
                    <a16:creationId xmlns:a16="http://schemas.microsoft.com/office/drawing/2014/main" id="{F9AEE133-6894-410F-BFC3-AF8944072789}"/>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57" name="Group 56">
              <a:extLst>
                <a:ext uri="{FF2B5EF4-FFF2-40B4-BE49-F238E27FC236}">
                  <a16:creationId xmlns:a16="http://schemas.microsoft.com/office/drawing/2014/main" id="{9C0E670D-1F88-4875-8151-4190D68AF777}"/>
                </a:ext>
              </a:extLst>
            </p:cNvPr>
            <p:cNvGrpSpPr/>
            <p:nvPr/>
          </p:nvGrpSpPr>
          <p:grpSpPr>
            <a:xfrm rot="3600000">
              <a:off x="6450620" y="2855912"/>
              <a:ext cx="175040" cy="2041126"/>
              <a:chOff x="8229799" y="2768458"/>
              <a:chExt cx="175040" cy="2041126"/>
            </a:xfrm>
            <a:solidFill>
              <a:schemeClr val="accent2"/>
            </a:solidFill>
          </p:grpSpPr>
          <p:sp>
            <p:nvSpPr>
              <p:cNvPr id="65" name="Trapezoid 64">
                <a:extLst>
                  <a:ext uri="{FF2B5EF4-FFF2-40B4-BE49-F238E27FC236}">
                    <a16:creationId xmlns:a16="http://schemas.microsoft.com/office/drawing/2014/main" id="{4803BB15-E104-4476-9AB8-45792AFDEEBF}"/>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66" name="Trapezoid 65">
                <a:extLst>
                  <a:ext uri="{FF2B5EF4-FFF2-40B4-BE49-F238E27FC236}">
                    <a16:creationId xmlns:a16="http://schemas.microsoft.com/office/drawing/2014/main" id="{EB4E8CB9-0E17-4FBD-85A8-55ACC3550180}"/>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58" name="Group 57">
              <a:extLst>
                <a:ext uri="{FF2B5EF4-FFF2-40B4-BE49-F238E27FC236}">
                  <a16:creationId xmlns:a16="http://schemas.microsoft.com/office/drawing/2014/main" id="{9A3F019F-784A-4F2B-AD6F-C423E8FD13F6}"/>
                </a:ext>
              </a:extLst>
            </p:cNvPr>
            <p:cNvGrpSpPr/>
            <p:nvPr/>
          </p:nvGrpSpPr>
          <p:grpSpPr>
            <a:xfrm rot="7200000">
              <a:off x="6450620" y="2855912"/>
              <a:ext cx="175040" cy="2041126"/>
              <a:chOff x="8229799" y="2768458"/>
              <a:chExt cx="175040" cy="2041126"/>
            </a:xfrm>
            <a:solidFill>
              <a:schemeClr val="accent2"/>
            </a:solidFill>
          </p:grpSpPr>
          <p:sp>
            <p:nvSpPr>
              <p:cNvPr id="63" name="Trapezoid 62">
                <a:extLst>
                  <a:ext uri="{FF2B5EF4-FFF2-40B4-BE49-F238E27FC236}">
                    <a16:creationId xmlns:a16="http://schemas.microsoft.com/office/drawing/2014/main" id="{FF5B337D-EFFB-41C7-A9A5-8745AD1BABD1}"/>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64" name="Trapezoid 63">
                <a:extLst>
                  <a:ext uri="{FF2B5EF4-FFF2-40B4-BE49-F238E27FC236}">
                    <a16:creationId xmlns:a16="http://schemas.microsoft.com/office/drawing/2014/main" id="{AC7675DB-4C54-4C8E-9945-04A8B141AF98}"/>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grpSp>
          <p:nvGrpSpPr>
            <p:cNvPr id="59" name="Group 58">
              <a:extLst>
                <a:ext uri="{FF2B5EF4-FFF2-40B4-BE49-F238E27FC236}">
                  <a16:creationId xmlns:a16="http://schemas.microsoft.com/office/drawing/2014/main" id="{09B3EF16-68A7-4FA9-863E-76E47CB02EB5}"/>
                </a:ext>
              </a:extLst>
            </p:cNvPr>
            <p:cNvGrpSpPr/>
            <p:nvPr/>
          </p:nvGrpSpPr>
          <p:grpSpPr>
            <a:xfrm rot="9000000">
              <a:off x="6450620" y="2855912"/>
              <a:ext cx="175040" cy="2041126"/>
              <a:chOff x="8229799" y="2768458"/>
              <a:chExt cx="175040" cy="2041126"/>
            </a:xfrm>
            <a:solidFill>
              <a:schemeClr val="accent2"/>
            </a:solidFill>
          </p:grpSpPr>
          <p:sp>
            <p:nvSpPr>
              <p:cNvPr id="61" name="Trapezoid 60">
                <a:extLst>
                  <a:ext uri="{FF2B5EF4-FFF2-40B4-BE49-F238E27FC236}">
                    <a16:creationId xmlns:a16="http://schemas.microsoft.com/office/drawing/2014/main" id="{907449AD-8C35-4A74-80C0-3C3FEA703CFA}"/>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sp>
            <p:nvSpPr>
              <p:cNvPr id="62" name="Trapezoid 61">
                <a:extLst>
                  <a:ext uri="{FF2B5EF4-FFF2-40B4-BE49-F238E27FC236}">
                    <a16:creationId xmlns:a16="http://schemas.microsoft.com/office/drawing/2014/main" id="{71F523F9-5563-4A63-9505-3D10A253B0E1}"/>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1500" dirty="0">
                  <a:solidFill>
                    <a:sysClr val="windowText" lastClr="000000"/>
                  </a:solidFill>
                </a:endParaRPr>
              </a:p>
            </p:txBody>
          </p:sp>
        </p:grpSp>
        <p:sp>
          <p:nvSpPr>
            <p:cNvPr id="60" name="Oval 59">
              <a:extLst>
                <a:ext uri="{FF2B5EF4-FFF2-40B4-BE49-F238E27FC236}">
                  <a16:creationId xmlns:a16="http://schemas.microsoft.com/office/drawing/2014/main" id="{1A1938B2-9D33-421A-8717-6FC8F9DEA424}"/>
                </a:ext>
              </a:extLst>
            </p:cNvPr>
            <p:cNvSpPr>
              <a:spLocks noChangeAspect="1"/>
            </p:cNvSpPr>
            <p:nvPr/>
          </p:nvSpPr>
          <p:spPr>
            <a:xfrm>
              <a:off x="5831726" y="3175845"/>
              <a:ext cx="1408186" cy="1408186"/>
            </a:xfrm>
            <a:prstGeom prst="ellipse">
              <a:avLst/>
            </a:prstGeom>
            <a:solidFill>
              <a:schemeClr val="lt1"/>
            </a:solidFill>
            <a:ln w="762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3600" b="1" dirty="0">
                  <a:solidFill>
                    <a:schemeClr val="accent2"/>
                  </a:solidFill>
                </a:rPr>
                <a:t>2</a:t>
              </a:r>
            </a:p>
          </p:txBody>
        </p:sp>
      </p:grpSp>
      <p:grpSp>
        <p:nvGrpSpPr>
          <p:cNvPr id="73" name="Group 72">
            <a:extLst>
              <a:ext uri="{FF2B5EF4-FFF2-40B4-BE49-F238E27FC236}">
                <a16:creationId xmlns:a16="http://schemas.microsoft.com/office/drawing/2014/main" id="{8BECDC1B-BA39-4EFE-8E7C-F5DEE9C36EFA}"/>
              </a:ext>
            </a:extLst>
          </p:cNvPr>
          <p:cNvGrpSpPr>
            <a:grpSpLocks noChangeAspect="1"/>
          </p:cNvGrpSpPr>
          <p:nvPr/>
        </p:nvGrpSpPr>
        <p:grpSpPr>
          <a:xfrm>
            <a:off x="698792" y="3250326"/>
            <a:ext cx="1391677" cy="1391677"/>
            <a:chOff x="601033" y="2855912"/>
            <a:chExt cx="2041126" cy="2041126"/>
          </a:xfrm>
          <a:effectLst>
            <a:outerShdw blurRad="50800" dist="38100" dir="2700000" sx="102000" sy="102000" algn="tl" rotWithShape="0">
              <a:prstClr val="black">
                <a:alpha val="40000"/>
              </a:prstClr>
            </a:outerShdw>
          </a:effectLst>
        </p:grpSpPr>
        <p:sp>
          <p:nvSpPr>
            <p:cNvPr id="74" name="Circle: Hollow 151">
              <a:extLst>
                <a:ext uri="{FF2B5EF4-FFF2-40B4-BE49-F238E27FC236}">
                  <a16:creationId xmlns:a16="http://schemas.microsoft.com/office/drawing/2014/main" id="{056F72DE-E587-4543-87F5-5D25A863D5DF}"/>
                </a:ext>
              </a:extLst>
            </p:cNvPr>
            <p:cNvSpPr>
              <a:spLocks noChangeAspect="1"/>
            </p:cNvSpPr>
            <p:nvPr/>
          </p:nvSpPr>
          <p:spPr>
            <a:xfrm>
              <a:off x="763241" y="3018120"/>
              <a:ext cx="1716710" cy="1716710"/>
            </a:xfrm>
            <a:prstGeom prst="donut">
              <a:avLst>
                <a:gd name="adj" fmla="val 71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nvGrpSpPr>
            <p:cNvPr id="75" name="Group 74">
              <a:extLst>
                <a:ext uri="{FF2B5EF4-FFF2-40B4-BE49-F238E27FC236}">
                  <a16:creationId xmlns:a16="http://schemas.microsoft.com/office/drawing/2014/main" id="{2D518BF2-A548-47A2-B85B-EE71122EB9A3}"/>
                </a:ext>
              </a:extLst>
            </p:cNvPr>
            <p:cNvGrpSpPr/>
            <p:nvPr/>
          </p:nvGrpSpPr>
          <p:grpSpPr>
            <a:xfrm>
              <a:off x="1534076" y="2855912"/>
              <a:ext cx="175040" cy="2041126"/>
              <a:chOff x="8229799" y="2768458"/>
              <a:chExt cx="175040" cy="2041126"/>
            </a:xfrm>
            <a:solidFill>
              <a:schemeClr val="tx2"/>
            </a:solidFill>
          </p:grpSpPr>
          <p:sp>
            <p:nvSpPr>
              <p:cNvPr id="92" name="Trapezoid 91">
                <a:extLst>
                  <a:ext uri="{FF2B5EF4-FFF2-40B4-BE49-F238E27FC236}">
                    <a16:creationId xmlns:a16="http://schemas.microsoft.com/office/drawing/2014/main" id="{7BBAAB80-8EFB-48F7-8A6D-AA0F5980AAEE}"/>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93" name="Trapezoid 92">
                <a:extLst>
                  <a:ext uri="{FF2B5EF4-FFF2-40B4-BE49-F238E27FC236}">
                    <a16:creationId xmlns:a16="http://schemas.microsoft.com/office/drawing/2014/main" id="{06A546BB-776C-4D02-BD25-863857B36ED1}"/>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grpSp>
          <p:nvGrpSpPr>
            <p:cNvPr id="76" name="Group 75">
              <a:extLst>
                <a:ext uri="{FF2B5EF4-FFF2-40B4-BE49-F238E27FC236}">
                  <a16:creationId xmlns:a16="http://schemas.microsoft.com/office/drawing/2014/main" id="{9E6606E7-BF39-4B1A-BDA5-3A7502A11E47}"/>
                </a:ext>
              </a:extLst>
            </p:cNvPr>
            <p:cNvGrpSpPr/>
            <p:nvPr/>
          </p:nvGrpSpPr>
          <p:grpSpPr>
            <a:xfrm rot="5400000">
              <a:off x="1534076" y="2855912"/>
              <a:ext cx="175040" cy="2041126"/>
              <a:chOff x="8229799" y="2768458"/>
              <a:chExt cx="175040" cy="2041126"/>
            </a:xfrm>
            <a:solidFill>
              <a:schemeClr val="tx2"/>
            </a:solidFill>
          </p:grpSpPr>
          <p:sp>
            <p:nvSpPr>
              <p:cNvPr id="90" name="Trapezoid 89">
                <a:extLst>
                  <a:ext uri="{FF2B5EF4-FFF2-40B4-BE49-F238E27FC236}">
                    <a16:creationId xmlns:a16="http://schemas.microsoft.com/office/drawing/2014/main" id="{1477C1E6-7EE2-4A10-A004-BD20881D1492}"/>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91" name="Trapezoid 90">
                <a:extLst>
                  <a:ext uri="{FF2B5EF4-FFF2-40B4-BE49-F238E27FC236}">
                    <a16:creationId xmlns:a16="http://schemas.microsoft.com/office/drawing/2014/main" id="{15F92C65-ECC6-45AC-8AAD-FC32199C4B72}"/>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grpSp>
          <p:nvGrpSpPr>
            <p:cNvPr id="77" name="Group 76">
              <a:extLst>
                <a:ext uri="{FF2B5EF4-FFF2-40B4-BE49-F238E27FC236}">
                  <a16:creationId xmlns:a16="http://schemas.microsoft.com/office/drawing/2014/main" id="{9B02E365-BAA2-4D37-A62C-C872778C645A}"/>
                </a:ext>
              </a:extLst>
            </p:cNvPr>
            <p:cNvGrpSpPr/>
            <p:nvPr/>
          </p:nvGrpSpPr>
          <p:grpSpPr>
            <a:xfrm rot="1800000">
              <a:off x="1534076" y="2855912"/>
              <a:ext cx="175040" cy="2041126"/>
              <a:chOff x="8229799" y="2768458"/>
              <a:chExt cx="175040" cy="2041126"/>
            </a:xfrm>
            <a:solidFill>
              <a:schemeClr val="tx2"/>
            </a:solidFill>
          </p:grpSpPr>
          <p:sp>
            <p:nvSpPr>
              <p:cNvPr id="88" name="Trapezoid 87">
                <a:extLst>
                  <a:ext uri="{FF2B5EF4-FFF2-40B4-BE49-F238E27FC236}">
                    <a16:creationId xmlns:a16="http://schemas.microsoft.com/office/drawing/2014/main" id="{F88B0035-2584-4A3E-98E3-33E2158B6126}"/>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89" name="Trapezoid 88">
                <a:extLst>
                  <a:ext uri="{FF2B5EF4-FFF2-40B4-BE49-F238E27FC236}">
                    <a16:creationId xmlns:a16="http://schemas.microsoft.com/office/drawing/2014/main" id="{F0953384-E67F-4763-96C9-1DAC0807028D}"/>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grpSp>
          <p:nvGrpSpPr>
            <p:cNvPr id="78" name="Group 77">
              <a:extLst>
                <a:ext uri="{FF2B5EF4-FFF2-40B4-BE49-F238E27FC236}">
                  <a16:creationId xmlns:a16="http://schemas.microsoft.com/office/drawing/2014/main" id="{2812A57F-1333-4284-B7B4-DF5018F2F736}"/>
                </a:ext>
              </a:extLst>
            </p:cNvPr>
            <p:cNvGrpSpPr/>
            <p:nvPr/>
          </p:nvGrpSpPr>
          <p:grpSpPr>
            <a:xfrm rot="3600000">
              <a:off x="1534076" y="2855912"/>
              <a:ext cx="175040" cy="2041126"/>
              <a:chOff x="8229799" y="2768458"/>
              <a:chExt cx="175040" cy="2041126"/>
            </a:xfrm>
            <a:solidFill>
              <a:schemeClr val="tx2"/>
            </a:solidFill>
          </p:grpSpPr>
          <p:sp>
            <p:nvSpPr>
              <p:cNvPr id="86" name="Trapezoid 85">
                <a:extLst>
                  <a:ext uri="{FF2B5EF4-FFF2-40B4-BE49-F238E27FC236}">
                    <a16:creationId xmlns:a16="http://schemas.microsoft.com/office/drawing/2014/main" id="{434B1E65-9864-44A0-9B03-2FC77E5C434F}"/>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87" name="Trapezoid 86">
                <a:extLst>
                  <a:ext uri="{FF2B5EF4-FFF2-40B4-BE49-F238E27FC236}">
                    <a16:creationId xmlns:a16="http://schemas.microsoft.com/office/drawing/2014/main" id="{3FBB4344-7BBE-4220-9A19-260F42D8B3A9}"/>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grpSp>
          <p:nvGrpSpPr>
            <p:cNvPr id="79" name="Group 78">
              <a:extLst>
                <a:ext uri="{FF2B5EF4-FFF2-40B4-BE49-F238E27FC236}">
                  <a16:creationId xmlns:a16="http://schemas.microsoft.com/office/drawing/2014/main" id="{34D81A3C-DB79-4C84-9633-9EE0751A72FE}"/>
                </a:ext>
              </a:extLst>
            </p:cNvPr>
            <p:cNvGrpSpPr/>
            <p:nvPr/>
          </p:nvGrpSpPr>
          <p:grpSpPr>
            <a:xfrm rot="7200000">
              <a:off x="1534076" y="2855912"/>
              <a:ext cx="175040" cy="2041126"/>
              <a:chOff x="8229799" y="2768458"/>
              <a:chExt cx="175040" cy="2041126"/>
            </a:xfrm>
            <a:solidFill>
              <a:schemeClr val="tx2"/>
            </a:solidFill>
          </p:grpSpPr>
          <p:sp>
            <p:nvSpPr>
              <p:cNvPr id="84" name="Trapezoid 83">
                <a:extLst>
                  <a:ext uri="{FF2B5EF4-FFF2-40B4-BE49-F238E27FC236}">
                    <a16:creationId xmlns:a16="http://schemas.microsoft.com/office/drawing/2014/main" id="{A932783B-45EC-4BFF-A1EA-E832C0E53F9F}"/>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85" name="Trapezoid 84">
                <a:extLst>
                  <a:ext uri="{FF2B5EF4-FFF2-40B4-BE49-F238E27FC236}">
                    <a16:creationId xmlns:a16="http://schemas.microsoft.com/office/drawing/2014/main" id="{025DEA0F-B280-4279-AC1E-70F7F0BEAB8B}"/>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grpSp>
          <p:nvGrpSpPr>
            <p:cNvPr id="80" name="Group 79">
              <a:extLst>
                <a:ext uri="{FF2B5EF4-FFF2-40B4-BE49-F238E27FC236}">
                  <a16:creationId xmlns:a16="http://schemas.microsoft.com/office/drawing/2014/main" id="{808D34F4-4B69-4F41-B650-06968FB2C6E5}"/>
                </a:ext>
              </a:extLst>
            </p:cNvPr>
            <p:cNvGrpSpPr/>
            <p:nvPr/>
          </p:nvGrpSpPr>
          <p:grpSpPr>
            <a:xfrm rot="9000000">
              <a:off x="1534076" y="2855912"/>
              <a:ext cx="175040" cy="2041126"/>
              <a:chOff x="8229799" y="2768458"/>
              <a:chExt cx="175040" cy="2041126"/>
            </a:xfrm>
            <a:solidFill>
              <a:schemeClr val="tx2"/>
            </a:solidFill>
          </p:grpSpPr>
          <p:sp>
            <p:nvSpPr>
              <p:cNvPr id="82" name="Trapezoid 81">
                <a:extLst>
                  <a:ext uri="{FF2B5EF4-FFF2-40B4-BE49-F238E27FC236}">
                    <a16:creationId xmlns:a16="http://schemas.microsoft.com/office/drawing/2014/main" id="{BC67AD6B-2768-4A28-AD89-1B2D97F6E5ED}"/>
                  </a:ext>
                </a:extLst>
              </p:cNvPr>
              <p:cNvSpPr/>
              <p:nvPr/>
            </p:nvSpPr>
            <p:spPr>
              <a:xfrm>
                <a:off x="8229799" y="2768458"/>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sp>
            <p:nvSpPr>
              <p:cNvPr id="83" name="Trapezoid 82">
                <a:extLst>
                  <a:ext uri="{FF2B5EF4-FFF2-40B4-BE49-F238E27FC236}">
                    <a16:creationId xmlns:a16="http://schemas.microsoft.com/office/drawing/2014/main" id="{9A280AD7-E0FE-4A1F-BF22-7FB9EB1EF74A}"/>
                  </a:ext>
                </a:extLst>
              </p:cNvPr>
              <p:cNvSpPr/>
              <p:nvPr/>
            </p:nvSpPr>
            <p:spPr>
              <a:xfrm rot="10800000">
                <a:off x="8229799" y="4634676"/>
                <a:ext cx="175040" cy="174908"/>
              </a:xfrm>
              <a:prstGeom prst="trapezoi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endParaRPr lang="en-US" sz="3600" b="1" dirty="0">
                  <a:solidFill>
                    <a:schemeClr val="tx2"/>
                  </a:solidFill>
                </a:endParaRPr>
              </a:p>
            </p:txBody>
          </p:sp>
        </p:grpSp>
        <p:sp>
          <p:nvSpPr>
            <p:cNvPr id="81" name="Oval 80">
              <a:extLst>
                <a:ext uri="{FF2B5EF4-FFF2-40B4-BE49-F238E27FC236}">
                  <a16:creationId xmlns:a16="http://schemas.microsoft.com/office/drawing/2014/main" id="{991F53E7-8AD5-400A-92B4-6D09ED8A5F50}"/>
                </a:ext>
              </a:extLst>
            </p:cNvPr>
            <p:cNvSpPr>
              <a:spLocks noChangeAspect="1"/>
            </p:cNvSpPr>
            <p:nvPr/>
          </p:nvSpPr>
          <p:spPr>
            <a:xfrm>
              <a:off x="915182" y="3175845"/>
              <a:ext cx="1408186" cy="1408186"/>
            </a:xfrm>
            <a:prstGeom prst="ellipse">
              <a:avLst/>
            </a:prstGeom>
            <a:solidFill>
              <a:schemeClr val="lt1"/>
            </a:solidFill>
            <a:ln w="762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buClrTx/>
                <a:defRPr/>
              </a:pPr>
              <a:r>
                <a:rPr lang="en-US" sz="3600" b="1" dirty="0">
                  <a:solidFill>
                    <a:schemeClr val="accent3"/>
                  </a:solidFill>
                </a:rPr>
                <a:t>3</a:t>
              </a:r>
            </a:p>
          </p:txBody>
        </p:sp>
      </p:grpSp>
      <p:sp>
        <p:nvSpPr>
          <p:cNvPr id="94" name="Rounded Rectangle 5">
            <a:extLst>
              <a:ext uri="{FF2B5EF4-FFF2-40B4-BE49-F238E27FC236}">
                <a16:creationId xmlns:a16="http://schemas.microsoft.com/office/drawing/2014/main" id="{9DD065A6-C5B3-4BA0-8CBA-D5A814A56868}"/>
              </a:ext>
            </a:extLst>
          </p:cNvPr>
          <p:cNvSpPr>
            <a:spLocks/>
          </p:cNvSpPr>
          <p:nvPr/>
        </p:nvSpPr>
        <p:spPr>
          <a:xfrm>
            <a:off x="2250458" y="3409400"/>
            <a:ext cx="6406238" cy="101918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756000" bIns="34290" numCol="1" spcCol="0" rtlCol="0" fromWordArt="0" anchor="ctr" anchorCtr="0" forceAA="0" compatLnSpc="1">
            <a:prstTxWarp prst="textNoShape">
              <a:avLst/>
            </a:prstTxWarp>
            <a:noAutofit/>
          </a:bodyPr>
          <a:lstStyle/>
          <a:p>
            <a:r>
              <a:rPr lang="en-US" sz="1200" b="1">
                <a:solidFill>
                  <a:schemeClr val="accent3"/>
                </a:solidFill>
                <a:latin typeface="Tahoma" panose="020B0604030504040204" pitchFamily="34" charset="0"/>
                <a:ea typeface="Tahoma" panose="020B0604030504040204" pitchFamily="34" charset="0"/>
                <a:cs typeface="Tahoma" panose="020B0604030504040204" pitchFamily="34" charset="0"/>
              </a:rPr>
              <a:t>XÂY DỰNG MỘT HỆ THỐNG PHÁT HIỆN XÂM NHẬP (IDS) DỰA TRÊN HỌC MÁY CÓ KHẢ NĂNG PHÁT HIỆN KỊP THỜI VÀ NGĂN CHẶN CÁC CUỘC TẤN CÔNG BRUTE-FORCE.</a:t>
            </a:r>
            <a:endParaRPr lang="en-US"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95" name="Rounded Rectangle 5 - 2">
            <a:extLst>
              <a:ext uri="{FF2B5EF4-FFF2-40B4-BE49-F238E27FC236}">
                <a16:creationId xmlns:a16="http://schemas.microsoft.com/office/drawing/2014/main" id="{7AC021FB-A23F-45B3-90D8-FBFFE37CB357}"/>
              </a:ext>
            </a:extLst>
          </p:cNvPr>
          <p:cNvSpPr>
            <a:spLocks/>
          </p:cNvSpPr>
          <p:nvPr/>
        </p:nvSpPr>
        <p:spPr>
          <a:xfrm>
            <a:off x="2977202" y="2267480"/>
            <a:ext cx="5843801" cy="101918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756000" bIns="34290" numCol="1" spcCol="0" rtlCol="0" fromWordArt="0" anchor="ctr" anchorCtr="0" forceAA="0" compatLnSpc="1">
            <a:prstTxWarp prst="textNoShape">
              <a:avLst/>
            </a:prstTxWarp>
            <a:noAutofit/>
          </a:bodyPr>
          <a:lstStyle/>
          <a:p>
            <a:r>
              <a:rPr lang="en-US" sz="1200" b="1">
                <a:solidFill>
                  <a:schemeClr val="accent2"/>
                </a:solidFill>
                <a:latin typeface="Tahoma" panose="020B0604030504040204" pitchFamily="34" charset="0"/>
                <a:ea typeface="Tahoma" panose="020B0604030504040204" pitchFamily="34" charset="0"/>
                <a:cs typeface="Tahoma" panose="020B0604030504040204" pitchFamily="34" charset="0"/>
              </a:rPr>
              <a:t>ĐÁNH GIÁ HIỆU QUẢ CỦA CÁC THUẬT TOÁN HỌC MÁY TRONG VIỆC PHÁT HIỆN CÁC CUỘC TẤN CÔNG BRUTE-FORCE.</a:t>
            </a:r>
            <a:endParaRPr lang="en-US"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43231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173A54CB-7560-4EE9-C258-0E1E586A5A76}"/>
              </a:ext>
            </a:extLst>
          </p:cNvPr>
          <p:cNvSpPr/>
          <p:nvPr/>
        </p:nvSpPr>
        <p:spPr>
          <a:xfrm flipH="1">
            <a:off x="961402" y="1133517"/>
            <a:ext cx="149204" cy="239850"/>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4" name="Right Triangle 3">
            <a:extLst>
              <a:ext uri="{FF2B5EF4-FFF2-40B4-BE49-F238E27FC236}">
                <a16:creationId xmlns:a16="http://schemas.microsoft.com/office/drawing/2014/main" id="{8BDB2573-AAF4-5BD6-0F80-E9A27CE91484}"/>
              </a:ext>
            </a:extLst>
          </p:cNvPr>
          <p:cNvSpPr/>
          <p:nvPr/>
        </p:nvSpPr>
        <p:spPr>
          <a:xfrm flipH="1">
            <a:off x="961401" y="2314070"/>
            <a:ext cx="149204" cy="243277"/>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5" name="Right Triangle 4">
            <a:extLst>
              <a:ext uri="{FF2B5EF4-FFF2-40B4-BE49-F238E27FC236}">
                <a16:creationId xmlns:a16="http://schemas.microsoft.com/office/drawing/2014/main" id="{BBFA8E16-D970-B86E-A5E3-02C61C6E2960}"/>
              </a:ext>
            </a:extLst>
          </p:cNvPr>
          <p:cNvSpPr/>
          <p:nvPr/>
        </p:nvSpPr>
        <p:spPr>
          <a:xfrm flipH="1">
            <a:off x="965556" y="3484595"/>
            <a:ext cx="145049" cy="255618"/>
          </a:xfrm>
          <a:prstGeom prst="r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6" name="Right Triangle 5">
            <a:extLst>
              <a:ext uri="{FF2B5EF4-FFF2-40B4-BE49-F238E27FC236}">
                <a16:creationId xmlns:a16="http://schemas.microsoft.com/office/drawing/2014/main" id="{86285C84-033E-D24B-9371-474E66E3D2FD}"/>
              </a:ext>
            </a:extLst>
          </p:cNvPr>
          <p:cNvSpPr/>
          <p:nvPr/>
        </p:nvSpPr>
        <p:spPr>
          <a:xfrm flipH="1">
            <a:off x="5037127" y="1122312"/>
            <a:ext cx="157930" cy="254483"/>
          </a:xfrm>
          <a:prstGeom prst="rtTriangl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7" name="Right Triangle 6">
            <a:extLst>
              <a:ext uri="{FF2B5EF4-FFF2-40B4-BE49-F238E27FC236}">
                <a16:creationId xmlns:a16="http://schemas.microsoft.com/office/drawing/2014/main" id="{D35060F3-FCF9-CA01-75D9-5A16782FD121}"/>
              </a:ext>
            </a:extLst>
          </p:cNvPr>
          <p:cNvSpPr/>
          <p:nvPr/>
        </p:nvSpPr>
        <p:spPr>
          <a:xfrm flipH="1">
            <a:off x="5037128" y="2296064"/>
            <a:ext cx="157930" cy="261283"/>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8" name="Right Triangle 7">
            <a:extLst>
              <a:ext uri="{FF2B5EF4-FFF2-40B4-BE49-F238E27FC236}">
                <a16:creationId xmlns:a16="http://schemas.microsoft.com/office/drawing/2014/main" id="{DAEB8161-55CA-E535-D244-35779BB0EDE9}"/>
              </a:ext>
            </a:extLst>
          </p:cNvPr>
          <p:cNvSpPr/>
          <p:nvPr/>
        </p:nvSpPr>
        <p:spPr>
          <a:xfrm flipH="1">
            <a:off x="5037128" y="3475891"/>
            <a:ext cx="159617" cy="260693"/>
          </a:xfrm>
          <a:prstGeom prst="r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9" name="Rounded Rectangle 125">
            <a:extLst>
              <a:ext uri="{FF2B5EF4-FFF2-40B4-BE49-F238E27FC236}">
                <a16:creationId xmlns:a16="http://schemas.microsoft.com/office/drawing/2014/main" id="{C4D45DFE-675B-AD06-6F7D-646A9320338D}"/>
              </a:ext>
            </a:extLst>
          </p:cNvPr>
          <p:cNvSpPr/>
          <p:nvPr/>
        </p:nvSpPr>
        <p:spPr>
          <a:xfrm>
            <a:off x="689342" y="1390784"/>
            <a:ext cx="3680865" cy="633210"/>
          </a:xfrm>
          <a:prstGeom prst="roundRect">
            <a:avLst>
              <a:gd name="adj" fmla="val 50000"/>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10" name="Rectangle 9">
            <a:extLst>
              <a:ext uri="{FF2B5EF4-FFF2-40B4-BE49-F238E27FC236}">
                <a16:creationId xmlns:a16="http://schemas.microsoft.com/office/drawing/2014/main" id="{E027012A-EBE2-0B7F-D087-4CA936566988}"/>
              </a:ext>
            </a:extLst>
          </p:cNvPr>
          <p:cNvSpPr/>
          <p:nvPr/>
        </p:nvSpPr>
        <p:spPr>
          <a:xfrm>
            <a:off x="1110609" y="1133518"/>
            <a:ext cx="664200" cy="664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1</a:t>
            </a:r>
          </a:p>
        </p:txBody>
      </p:sp>
      <p:sp>
        <p:nvSpPr>
          <p:cNvPr id="12" name="Rounded Rectangle 111">
            <a:extLst>
              <a:ext uri="{FF2B5EF4-FFF2-40B4-BE49-F238E27FC236}">
                <a16:creationId xmlns:a16="http://schemas.microsoft.com/office/drawing/2014/main" id="{AE394AB3-61F4-696E-16B4-303A28E30601}"/>
              </a:ext>
            </a:extLst>
          </p:cNvPr>
          <p:cNvSpPr/>
          <p:nvPr/>
        </p:nvSpPr>
        <p:spPr>
          <a:xfrm>
            <a:off x="689342" y="2574762"/>
            <a:ext cx="3680865" cy="666940"/>
          </a:xfrm>
          <a:prstGeom prst="roundRect">
            <a:avLst>
              <a:gd name="adj" fmla="val 50000"/>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13" name="Rectangle 12">
            <a:extLst>
              <a:ext uri="{FF2B5EF4-FFF2-40B4-BE49-F238E27FC236}">
                <a16:creationId xmlns:a16="http://schemas.microsoft.com/office/drawing/2014/main" id="{8BA9D407-FE26-2819-5915-39875554C5E5}"/>
              </a:ext>
            </a:extLst>
          </p:cNvPr>
          <p:cNvSpPr/>
          <p:nvPr/>
        </p:nvSpPr>
        <p:spPr>
          <a:xfrm>
            <a:off x="1110608" y="2314070"/>
            <a:ext cx="664200" cy="66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2</a:t>
            </a:r>
          </a:p>
        </p:txBody>
      </p:sp>
      <p:sp>
        <p:nvSpPr>
          <p:cNvPr id="15" name="Rounded Rectangle 118">
            <a:extLst>
              <a:ext uri="{FF2B5EF4-FFF2-40B4-BE49-F238E27FC236}">
                <a16:creationId xmlns:a16="http://schemas.microsoft.com/office/drawing/2014/main" id="{2D55825A-77DA-0364-09EE-1E8081C04CE6}"/>
              </a:ext>
            </a:extLst>
          </p:cNvPr>
          <p:cNvSpPr/>
          <p:nvPr/>
        </p:nvSpPr>
        <p:spPr>
          <a:xfrm>
            <a:off x="689342" y="3753999"/>
            <a:ext cx="3680865" cy="626953"/>
          </a:xfrm>
          <a:prstGeom prst="roundRect">
            <a:avLst>
              <a:gd name="adj" fmla="val 50000"/>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16" name="Rectangle 15">
            <a:extLst>
              <a:ext uri="{FF2B5EF4-FFF2-40B4-BE49-F238E27FC236}">
                <a16:creationId xmlns:a16="http://schemas.microsoft.com/office/drawing/2014/main" id="{E09EB3BC-6447-F6E2-B2AF-C5034E7FC78C}"/>
              </a:ext>
            </a:extLst>
          </p:cNvPr>
          <p:cNvSpPr/>
          <p:nvPr/>
        </p:nvSpPr>
        <p:spPr>
          <a:xfrm>
            <a:off x="1110608" y="3493307"/>
            <a:ext cx="664200" cy="66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3</a:t>
            </a:r>
            <a:endParaRPr lang="en-US" sz="2700" dirty="0"/>
          </a:p>
        </p:txBody>
      </p:sp>
      <p:sp>
        <p:nvSpPr>
          <p:cNvPr id="18" name="Rounded Rectangle 125">
            <a:extLst>
              <a:ext uri="{FF2B5EF4-FFF2-40B4-BE49-F238E27FC236}">
                <a16:creationId xmlns:a16="http://schemas.microsoft.com/office/drawing/2014/main" id="{78D20147-B0F9-3F5F-0C8E-9C914C335E9F}"/>
              </a:ext>
            </a:extLst>
          </p:cNvPr>
          <p:cNvSpPr/>
          <p:nvPr/>
        </p:nvSpPr>
        <p:spPr>
          <a:xfrm>
            <a:off x="4773793" y="1394210"/>
            <a:ext cx="3680865" cy="633210"/>
          </a:xfrm>
          <a:prstGeom prst="roundRect">
            <a:avLst>
              <a:gd name="adj" fmla="val 50000"/>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19" name="Rectangle 18">
            <a:extLst>
              <a:ext uri="{FF2B5EF4-FFF2-40B4-BE49-F238E27FC236}">
                <a16:creationId xmlns:a16="http://schemas.microsoft.com/office/drawing/2014/main" id="{AB2513D9-9F0B-0240-E530-90B2E56E66B0}"/>
              </a:ext>
            </a:extLst>
          </p:cNvPr>
          <p:cNvSpPr/>
          <p:nvPr/>
        </p:nvSpPr>
        <p:spPr>
          <a:xfrm>
            <a:off x="5195060" y="1125155"/>
            <a:ext cx="664200" cy="664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4</a:t>
            </a:r>
            <a:endParaRPr lang="en-US" sz="2700" dirty="0"/>
          </a:p>
        </p:txBody>
      </p:sp>
      <p:sp>
        <p:nvSpPr>
          <p:cNvPr id="21" name="Rounded Rectangle 132">
            <a:extLst>
              <a:ext uri="{FF2B5EF4-FFF2-40B4-BE49-F238E27FC236}">
                <a16:creationId xmlns:a16="http://schemas.microsoft.com/office/drawing/2014/main" id="{78E4DA78-5DA2-1D54-EB0E-2C4418B71BA9}"/>
              </a:ext>
            </a:extLst>
          </p:cNvPr>
          <p:cNvSpPr/>
          <p:nvPr/>
        </p:nvSpPr>
        <p:spPr>
          <a:xfrm>
            <a:off x="4773793" y="2574762"/>
            <a:ext cx="3680865" cy="666940"/>
          </a:xfrm>
          <a:prstGeom prst="roundRect">
            <a:avLst>
              <a:gd name="adj" fmla="val 50000"/>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22" name="Rectangle 21">
            <a:extLst>
              <a:ext uri="{FF2B5EF4-FFF2-40B4-BE49-F238E27FC236}">
                <a16:creationId xmlns:a16="http://schemas.microsoft.com/office/drawing/2014/main" id="{CB810995-0D3E-4B30-9FB7-A73F8F0E988D}"/>
              </a:ext>
            </a:extLst>
          </p:cNvPr>
          <p:cNvSpPr/>
          <p:nvPr/>
        </p:nvSpPr>
        <p:spPr>
          <a:xfrm>
            <a:off x="5195060" y="2305707"/>
            <a:ext cx="664200" cy="664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5</a:t>
            </a:r>
            <a:endParaRPr lang="en-US" sz="2700" dirty="0"/>
          </a:p>
        </p:txBody>
      </p:sp>
      <p:sp>
        <p:nvSpPr>
          <p:cNvPr id="24" name="Rounded Rectangle 139">
            <a:extLst>
              <a:ext uri="{FF2B5EF4-FFF2-40B4-BE49-F238E27FC236}">
                <a16:creationId xmlns:a16="http://schemas.microsoft.com/office/drawing/2014/main" id="{25E3D4C7-F79F-B134-A173-F4791A0193E9}"/>
              </a:ext>
            </a:extLst>
          </p:cNvPr>
          <p:cNvSpPr/>
          <p:nvPr/>
        </p:nvSpPr>
        <p:spPr>
          <a:xfrm>
            <a:off x="4773793" y="3753999"/>
            <a:ext cx="3680865" cy="626953"/>
          </a:xfrm>
          <a:prstGeom prst="roundRect">
            <a:avLst>
              <a:gd name="adj" fmla="val 50000"/>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25" name="Rectangle 24">
            <a:extLst>
              <a:ext uri="{FF2B5EF4-FFF2-40B4-BE49-F238E27FC236}">
                <a16:creationId xmlns:a16="http://schemas.microsoft.com/office/drawing/2014/main" id="{C6D4E8AA-A990-CC5A-C540-8E36320C789E}"/>
              </a:ext>
            </a:extLst>
          </p:cNvPr>
          <p:cNvSpPr/>
          <p:nvPr/>
        </p:nvSpPr>
        <p:spPr>
          <a:xfrm>
            <a:off x="5195060" y="3484944"/>
            <a:ext cx="664200" cy="664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b="1" dirty="0">
                <a:solidFill>
                  <a:schemeClr val="bg1"/>
                </a:solidFill>
                <a:ea typeface="Lato Heavy" charset="0"/>
                <a:cs typeface="Poppins" pitchFamily="2" charset="77"/>
              </a:rPr>
              <a:t>06</a:t>
            </a:r>
            <a:endParaRPr lang="en-US" sz="2700" dirty="0"/>
          </a:p>
        </p:txBody>
      </p:sp>
      <p:sp>
        <p:nvSpPr>
          <p:cNvPr id="27" name="TextBox 26">
            <a:extLst>
              <a:ext uri="{FF2B5EF4-FFF2-40B4-BE49-F238E27FC236}">
                <a16:creationId xmlns:a16="http://schemas.microsoft.com/office/drawing/2014/main" id="{1291F4FA-1743-1302-F859-5E17EB3E846E}"/>
              </a:ext>
            </a:extLst>
          </p:cNvPr>
          <p:cNvSpPr txBox="1"/>
          <p:nvPr/>
        </p:nvSpPr>
        <p:spPr>
          <a:xfrm>
            <a:off x="1924016" y="1478917"/>
            <a:ext cx="2201055" cy="461665"/>
          </a:xfrm>
          <a:prstGeom prst="rect">
            <a:avLst/>
          </a:prstGeom>
          <a:noFill/>
        </p:spPr>
        <p:txBody>
          <a:bodyPr wrap="square">
            <a:spAutoFit/>
          </a:bodyPr>
          <a:lstStyle/>
          <a:p>
            <a:pPr algn="just"/>
            <a:r>
              <a:rPr lang="en-US" sz="1200" kern="1200">
                <a:solidFill>
                  <a:prstClr val="black"/>
                </a:solidFill>
                <a:ea typeface="+mn-ea"/>
                <a:cs typeface="+mn-cs"/>
              </a:rPr>
              <a:t>Nghiên cứu lý thuyết về tấn công brute-force và bảo mật.</a:t>
            </a:r>
            <a:endParaRPr lang="en-US" sz="1200" dirty="0"/>
          </a:p>
        </p:txBody>
      </p:sp>
      <p:sp>
        <p:nvSpPr>
          <p:cNvPr id="28" name="TextBox 27">
            <a:extLst>
              <a:ext uri="{FF2B5EF4-FFF2-40B4-BE49-F238E27FC236}">
                <a16:creationId xmlns:a16="http://schemas.microsoft.com/office/drawing/2014/main" id="{6C1A761C-FADA-85E0-BF69-B6F6C00A87DC}"/>
              </a:ext>
            </a:extLst>
          </p:cNvPr>
          <p:cNvSpPr txBox="1"/>
          <p:nvPr/>
        </p:nvSpPr>
        <p:spPr>
          <a:xfrm>
            <a:off x="1838242" y="2591794"/>
            <a:ext cx="2468287" cy="646331"/>
          </a:xfrm>
          <a:prstGeom prst="rect">
            <a:avLst/>
          </a:prstGeom>
          <a:noFill/>
        </p:spPr>
        <p:txBody>
          <a:bodyPr wrap="square">
            <a:spAutoFit/>
          </a:bodyPr>
          <a:lstStyle/>
          <a:p>
            <a:pPr algn="just"/>
            <a:r>
              <a:rPr lang="en-US" sz="1200" kern="1200">
                <a:solidFill>
                  <a:prstClr val="black"/>
                </a:solidFill>
                <a:ea typeface="+mn-ea"/>
                <a:cs typeface="+mn-cs"/>
              </a:rPr>
              <a:t>Sử dụng bộ dữ liệu CSE-CIC-IDS2018 cho phân tích và thử nghiệm</a:t>
            </a:r>
            <a:endParaRPr lang="en-US" sz="1200" dirty="0"/>
          </a:p>
        </p:txBody>
      </p:sp>
      <p:sp>
        <p:nvSpPr>
          <p:cNvPr id="29" name="TextBox 28">
            <a:extLst>
              <a:ext uri="{FF2B5EF4-FFF2-40B4-BE49-F238E27FC236}">
                <a16:creationId xmlns:a16="http://schemas.microsoft.com/office/drawing/2014/main" id="{8F5B1B46-46B9-AC36-3794-B1D496369CE3}"/>
              </a:ext>
            </a:extLst>
          </p:cNvPr>
          <p:cNvSpPr txBox="1"/>
          <p:nvPr/>
        </p:nvSpPr>
        <p:spPr>
          <a:xfrm>
            <a:off x="1833763" y="3848184"/>
            <a:ext cx="2406398" cy="461665"/>
          </a:xfrm>
          <a:prstGeom prst="rect">
            <a:avLst/>
          </a:prstGeom>
          <a:noFill/>
        </p:spPr>
        <p:txBody>
          <a:bodyPr wrap="square">
            <a:spAutoFit/>
          </a:bodyPr>
          <a:lstStyle/>
          <a:p>
            <a:pPr algn="just"/>
            <a:r>
              <a:rPr lang="vi-VN" sz="1200" kern="1200">
                <a:solidFill>
                  <a:prstClr val="black"/>
                </a:solidFill>
                <a:ea typeface="+mn-ea"/>
                <a:cs typeface="+mn-cs"/>
              </a:rPr>
              <a:t>Làm sạch, trích xuất đặc trưng và chuẩn hóa dữ liệu</a:t>
            </a:r>
            <a:endParaRPr lang="en-US" sz="1200" dirty="0"/>
          </a:p>
        </p:txBody>
      </p:sp>
      <p:sp>
        <p:nvSpPr>
          <p:cNvPr id="30" name="TextBox 29">
            <a:extLst>
              <a:ext uri="{FF2B5EF4-FFF2-40B4-BE49-F238E27FC236}">
                <a16:creationId xmlns:a16="http://schemas.microsoft.com/office/drawing/2014/main" id="{A75ACF56-4A68-5030-DB14-393A3D969F75}"/>
              </a:ext>
            </a:extLst>
          </p:cNvPr>
          <p:cNvSpPr txBox="1"/>
          <p:nvPr/>
        </p:nvSpPr>
        <p:spPr>
          <a:xfrm>
            <a:off x="5855027" y="1398504"/>
            <a:ext cx="2437470" cy="646331"/>
          </a:xfrm>
          <a:prstGeom prst="rect">
            <a:avLst/>
          </a:prstGeom>
          <a:noFill/>
        </p:spPr>
        <p:txBody>
          <a:bodyPr wrap="square">
            <a:spAutoFit/>
          </a:bodyPr>
          <a:lstStyle/>
          <a:p>
            <a:pPr algn="just"/>
            <a:r>
              <a:rPr lang="en-US" sz="1200" kern="1200">
                <a:solidFill>
                  <a:prstClr val="black"/>
                </a:solidFill>
                <a:ea typeface="+mn-ea"/>
                <a:cs typeface="+mn-cs"/>
              </a:rPr>
              <a:t>Lựa chọn mô hình huấn uyện </a:t>
            </a:r>
            <a:r>
              <a:rPr lang="vi-VN" sz="1200" kern="1200">
                <a:solidFill>
                  <a:prstClr val="black"/>
                </a:solidFill>
                <a:ea typeface="+mn-ea"/>
                <a:cs typeface="+mn-cs"/>
              </a:rPr>
              <a:t>Random Forest và Support Vector Machine</a:t>
            </a:r>
            <a:r>
              <a:rPr lang="en-US" sz="1200" kern="1200">
                <a:solidFill>
                  <a:prstClr val="black"/>
                </a:solidFill>
                <a:ea typeface="+mn-ea"/>
                <a:cs typeface="+mn-cs"/>
              </a:rPr>
              <a:t> để phát hiện</a:t>
            </a:r>
            <a:endParaRPr lang="en-US" sz="1200" dirty="0"/>
          </a:p>
        </p:txBody>
      </p:sp>
      <p:sp>
        <p:nvSpPr>
          <p:cNvPr id="31" name="TextBox 30">
            <a:extLst>
              <a:ext uri="{FF2B5EF4-FFF2-40B4-BE49-F238E27FC236}">
                <a16:creationId xmlns:a16="http://schemas.microsoft.com/office/drawing/2014/main" id="{CA71D2EF-16EE-2A6D-D669-6F20A3ABD52A}"/>
              </a:ext>
            </a:extLst>
          </p:cNvPr>
          <p:cNvSpPr txBox="1"/>
          <p:nvPr/>
        </p:nvSpPr>
        <p:spPr>
          <a:xfrm>
            <a:off x="5855027" y="2593809"/>
            <a:ext cx="2468286" cy="646331"/>
          </a:xfrm>
          <a:prstGeom prst="rect">
            <a:avLst/>
          </a:prstGeom>
          <a:noFill/>
        </p:spPr>
        <p:txBody>
          <a:bodyPr wrap="square">
            <a:spAutoFit/>
          </a:bodyPr>
          <a:lstStyle/>
          <a:p>
            <a:pPr algn="just"/>
            <a:r>
              <a:rPr lang="vi-VN" sz="1200" kern="1200">
                <a:solidFill>
                  <a:prstClr val="black"/>
                </a:solidFill>
                <a:ea typeface="+mn-ea"/>
                <a:cs typeface="+mn-cs"/>
              </a:rPr>
              <a:t>Sử dụng các chỉ số như độ chính xác và F1-score để đánh giá hiệu suất.</a:t>
            </a:r>
            <a:endParaRPr lang="en-US" sz="1200" dirty="0"/>
          </a:p>
        </p:txBody>
      </p:sp>
      <p:sp>
        <p:nvSpPr>
          <p:cNvPr id="32" name="TextBox 31">
            <a:extLst>
              <a:ext uri="{FF2B5EF4-FFF2-40B4-BE49-F238E27FC236}">
                <a16:creationId xmlns:a16="http://schemas.microsoft.com/office/drawing/2014/main" id="{44F5434A-05A6-7A9F-A0BA-42DA86D65B1D}"/>
              </a:ext>
            </a:extLst>
          </p:cNvPr>
          <p:cNvSpPr txBox="1"/>
          <p:nvPr/>
        </p:nvSpPr>
        <p:spPr>
          <a:xfrm>
            <a:off x="5918215" y="3780582"/>
            <a:ext cx="2405098" cy="646331"/>
          </a:xfrm>
          <a:prstGeom prst="rect">
            <a:avLst/>
          </a:prstGeom>
          <a:noFill/>
        </p:spPr>
        <p:txBody>
          <a:bodyPr wrap="square">
            <a:spAutoFit/>
          </a:bodyPr>
          <a:lstStyle/>
          <a:p>
            <a:pPr algn="just"/>
            <a:r>
              <a:rPr lang="en-US" sz="1200" kern="1200">
                <a:solidFill>
                  <a:prstClr val="black"/>
                </a:solidFill>
                <a:ea typeface="+mn-ea"/>
                <a:cs typeface="+mn-cs"/>
              </a:rPr>
              <a:t>Đánh giá mô hình, so sánh và rút ra kết luận về hiệu quả của các mô hình</a:t>
            </a:r>
            <a:endParaRPr lang="en-US" sz="1200" dirty="0"/>
          </a:p>
        </p:txBody>
      </p:sp>
      <p:sp>
        <p:nvSpPr>
          <p:cNvPr id="33" name="Rectangle 32">
            <a:extLst>
              <a:ext uri="{FF2B5EF4-FFF2-40B4-BE49-F238E27FC236}">
                <a16:creationId xmlns:a16="http://schemas.microsoft.com/office/drawing/2014/main" id="{DF659501-04D7-80B5-0A07-ADCC8455EAF9}"/>
              </a:ext>
            </a:extLst>
          </p:cNvPr>
          <p:cNvSpPr/>
          <p:nvPr/>
        </p:nvSpPr>
        <p:spPr>
          <a:xfrm>
            <a:off x="1162291" y="1192380"/>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4" name="Rectangle 33">
            <a:extLst>
              <a:ext uri="{FF2B5EF4-FFF2-40B4-BE49-F238E27FC236}">
                <a16:creationId xmlns:a16="http://schemas.microsoft.com/office/drawing/2014/main" id="{0339826F-BDB4-115F-2F77-98E7C227BBCC}"/>
              </a:ext>
            </a:extLst>
          </p:cNvPr>
          <p:cNvSpPr/>
          <p:nvPr/>
        </p:nvSpPr>
        <p:spPr>
          <a:xfrm>
            <a:off x="1169857" y="2359180"/>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5" name="Rectangle 34">
            <a:extLst>
              <a:ext uri="{FF2B5EF4-FFF2-40B4-BE49-F238E27FC236}">
                <a16:creationId xmlns:a16="http://schemas.microsoft.com/office/drawing/2014/main" id="{5F1E8AC0-AEC7-4FB6-F62D-189D5E8E930F}"/>
              </a:ext>
            </a:extLst>
          </p:cNvPr>
          <p:cNvSpPr/>
          <p:nvPr/>
        </p:nvSpPr>
        <p:spPr>
          <a:xfrm>
            <a:off x="1169857" y="3549338"/>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6" name="Rectangle 35">
            <a:extLst>
              <a:ext uri="{FF2B5EF4-FFF2-40B4-BE49-F238E27FC236}">
                <a16:creationId xmlns:a16="http://schemas.microsoft.com/office/drawing/2014/main" id="{7E4B4C97-C59E-C3BA-7941-590B9434DE2A}"/>
              </a:ext>
            </a:extLst>
          </p:cNvPr>
          <p:cNvSpPr/>
          <p:nvPr/>
        </p:nvSpPr>
        <p:spPr>
          <a:xfrm>
            <a:off x="5249955" y="1190322"/>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7" name="Rectangle 36">
            <a:extLst>
              <a:ext uri="{FF2B5EF4-FFF2-40B4-BE49-F238E27FC236}">
                <a16:creationId xmlns:a16="http://schemas.microsoft.com/office/drawing/2014/main" id="{E624CA39-AE87-6D44-724F-2CB975E73A8C}"/>
              </a:ext>
            </a:extLst>
          </p:cNvPr>
          <p:cNvSpPr/>
          <p:nvPr/>
        </p:nvSpPr>
        <p:spPr>
          <a:xfrm>
            <a:off x="5249954" y="2359180"/>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8" name="Rectangle 37">
            <a:extLst>
              <a:ext uri="{FF2B5EF4-FFF2-40B4-BE49-F238E27FC236}">
                <a16:creationId xmlns:a16="http://schemas.microsoft.com/office/drawing/2014/main" id="{9DC7C1C7-56EE-0D0D-5AFE-5F2E1EEAA79E}"/>
              </a:ext>
            </a:extLst>
          </p:cNvPr>
          <p:cNvSpPr/>
          <p:nvPr/>
        </p:nvSpPr>
        <p:spPr>
          <a:xfrm>
            <a:off x="5255700" y="3538417"/>
            <a:ext cx="554410" cy="55441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9" name="Rectangle 45">
            <a:extLst>
              <a:ext uri="{FF2B5EF4-FFF2-40B4-BE49-F238E27FC236}">
                <a16:creationId xmlns:a16="http://schemas.microsoft.com/office/drawing/2014/main" id="{96576328-F66E-42A3-A34D-C4E2D93693AA}"/>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40" name="Google Shape;412;p18">
            <a:extLst>
              <a:ext uri="{FF2B5EF4-FFF2-40B4-BE49-F238E27FC236}">
                <a16:creationId xmlns:a16="http://schemas.microsoft.com/office/drawing/2014/main" id="{FEF748D5-5527-4224-959F-ADA99819545F}"/>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PHƯƠNG PHÁP CỦA NGHIÊN CỨU</a:t>
            </a:r>
          </a:p>
        </p:txBody>
      </p:sp>
    </p:spTree>
    <p:extLst>
      <p:ext uri="{BB962C8B-B14F-4D97-AF65-F5344CB8AC3E}">
        <p14:creationId xmlns:p14="http://schemas.microsoft.com/office/powerpoint/2010/main" val="2661438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35"/>
        <p:cNvGrpSpPr/>
        <p:nvPr/>
      </p:nvGrpSpPr>
      <p:grpSpPr>
        <a:xfrm>
          <a:off x="0" y="0"/>
          <a:ext cx="0" cy="0"/>
          <a:chOff x="0" y="0"/>
          <a:chExt cx="0" cy="0"/>
        </a:xfrm>
      </p:grpSpPr>
      <p:grpSp>
        <p:nvGrpSpPr>
          <p:cNvPr id="937" name="Google Shape;937;p26"/>
          <p:cNvGrpSpPr/>
          <p:nvPr/>
        </p:nvGrpSpPr>
        <p:grpSpPr>
          <a:xfrm>
            <a:off x="5743674" y="1692888"/>
            <a:ext cx="2943318" cy="3039142"/>
            <a:chOff x="5449625" y="1389325"/>
            <a:chExt cx="3237261" cy="3342655"/>
          </a:xfrm>
        </p:grpSpPr>
        <p:sp>
          <p:nvSpPr>
            <p:cNvPr id="938" name="Google Shape;938;p26"/>
            <p:cNvSpPr/>
            <p:nvPr/>
          </p:nvSpPr>
          <p:spPr>
            <a:xfrm>
              <a:off x="6533088" y="4360137"/>
              <a:ext cx="1749195" cy="185374"/>
            </a:xfrm>
            <a:custGeom>
              <a:avLst/>
              <a:gdLst/>
              <a:ahLst/>
              <a:cxnLst/>
              <a:rect l="l" t="t" r="r" b="b"/>
              <a:pathLst>
                <a:path w="44472" h="4713" extrusionOk="0">
                  <a:moveTo>
                    <a:pt x="21091" y="0"/>
                  </a:moveTo>
                  <a:lnTo>
                    <a:pt x="19961" y="10"/>
                  </a:lnTo>
                  <a:lnTo>
                    <a:pt x="18850" y="29"/>
                  </a:lnTo>
                  <a:lnTo>
                    <a:pt x="17758" y="48"/>
                  </a:lnTo>
                  <a:lnTo>
                    <a:pt x="16676" y="77"/>
                  </a:lnTo>
                  <a:lnTo>
                    <a:pt x="15622" y="105"/>
                  </a:lnTo>
                  <a:lnTo>
                    <a:pt x="14587" y="144"/>
                  </a:lnTo>
                  <a:lnTo>
                    <a:pt x="13582" y="182"/>
                  </a:lnTo>
                  <a:lnTo>
                    <a:pt x="12595" y="230"/>
                  </a:lnTo>
                  <a:lnTo>
                    <a:pt x="11637" y="287"/>
                  </a:lnTo>
                  <a:lnTo>
                    <a:pt x="10708" y="335"/>
                  </a:lnTo>
                  <a:lnTo>
                    <a:pt x="9808" y="402"/>
                  </a:lnTo>
                  <a:lnTo>
                    <a:pt x="8936" y="469"/>
                  </a:lnTo>
                  <a:lnTo>
                    <a:pt x="8094" y="536"/>
                  </a:lnTo>
                  <a:lnTo>
                    <a:pt x="7289" y="613"/>
                  </a:lnTo>
                  <a:lnTo>
                    <a:pt x="6513" y="690"/>
                  </a:lnTo>
                  <a:lnTo>
                    <a:pt x="5776" y="776"/>
                  </a:lnTo>
                  <a:lnTo>
                    <a:pt x="5076" y="852"/>
                  </a:lnTo>
                  <a:lnTo>
                    <a:pt x="4416" y="948"/>
                  </a:lnTo>
                  <a:lnTo>
                    <a:pt x="3803" y="1034"/>
                  </a:lnTo>
                  <a:lnTo>
                    <a:pt x="3218" y="1130"/>
                  </a:lnTo>
                  <a:lnTo>
                    <a:pt x="2682" y="1236"/>
                  </a:lnTo>
                  <a:lnTo>
                    <a:pt x="2193" y="1331"/>
                  </a:lnTo>
                  <a:lnTo>
                    <a:pt x="1753" y="1437"/>
                  </a:lnTo>
                  <a:lnTo>
                    <a:pt x="1351" y="1542"/>
                  </a:lnTo>
                  <a:lnTo>
                    <a:pt x="1006" y="1657"/>
                  </a:lnTo>
                  <a:lnTo>
                    <a:pt x="699" y="1772"/>
                  </a:lnTo>
                  <a:lnTo>
                    <a:pt x="575" y="1829"/>
                  </a:lnTo>
                  <a:lnTo>
                    <a:pt x="450" y="1877"/>
                  </a:lnTo>
                  <a:lnTo>
                    <a:pt x="345" y="1944"/>
                  </a:lnTo>
                  <a:lnTo>
                    <a:pt x="259" y="2002"/>
                  </a:lnTo>
                  <a:lnTo>
                    <a:pt x="182" y="2059"/>
                  </a:lnTo>
                  <a:lnTo>
                    <a:pt x="115" y="2117"/>
                  </a:lnTo>
                  <a:lnTo>
                    <a:pt x="67" y="2174"/>
                  </a:lnTo>
                  <a:lnTo>
                    <a:pt x="29" y="2232"/>
                  </a:lnTo>
                  <a:lnTo>
                    <a:pt x="10" y="2299"/>
                  </a:lnTo>
                  <a:lnTo>
                    <a:pt x="0" y="2356"/>
                  </a:lnTo>
                  <a:lnTo>
                    <a:pt x="10" y="2423"/>
                  </a:lnTo>
                  <a:lnTo>
                    <a:pt x="29" y="2481"/>
                  </a:lnTo>
                  <a:lnTo>
                    <a:pt x="67" y="2538"/>
                  </a:lnTo>
                  <a:lnTo>
                    <a:pt x="115" y="2596"/>
                  </a:lnTo>
                  <a:lnTo>
                    <a:pt x="182" y="2663"/>
                  </a:lnTo>
                  <a:lnTo>
                    <a:pt x="259" y="2720"/>
                  </a:lnTo>
                  <a:lnTo>
                    <a:pt x="345" y="2778"/>
                  </a:lnTo>
                  <a:lnTo>
                    <a:pt x="450" y="2835"/>
                  </a:lnTo>
                  <a:lnTo>
                    <a:pt x="575" y="2893"/>
                  </a:lnTo>
                  <a:lnTo>
                    <a:pt x="699" y="2950"/>
                  </a:lnTo>
                  <a:lnTo>
                    <a:pt x="1006" y="3055"/>
                  </a:lnTo>
                  <a:lnTo>
                    <a:pt x="1351" y="3170"/>
                  </a:lnTo>
                  <a:lnTo>
                    <a:pt x="1753" y="3276"/>
                  </a:lnTo>
                  <a:lnTo>
                    <a:pt x="2193" y="3381"/>
                  </a:lnTo>
                  <a:lnTo>
                    <a:pt x="2682" y="3486"/>
                  </a:lnTo>
                  <a:lnTo>
                    <a:pt x="3218" y="3582"/>
                  </a:lnTo>
                  <a:lnTo>
                    <a:pt x="3803" y="3678"/>
                  </a:lnTo>
                  <a:lnTo>
                    <a:pt x="4416" y="3774"/>
                  </a:lnTo>
                  <a:lnTo>
                    <a:pt x="5076" y="3860"/>
                  </a:lnTo>
                  <a:lnTo>
                    <a:pt x="5776" y="3946"/>
                  </a:lnTo>
                  <a:lnTo>
                    <a:pt x="6513" y="4023"/>
                  </a:lnTo>
                  <a:lnTo>
                    <a:pt x="7289" y="4099"/>
                  </a:lnTo>
                  <a:lnTo>
                    <a:pt x="8094" y="4176"/>
                  </a:lnTo>
                  <a:lnTo>
                    <a:pt x="8936" y="4253"/>
                  </a:lnTo>
                  <a:lnTo>
                    <a:pt x="9808" y="4310"/>
                  </a:lnTo>
                  <a:lnTo>
                    <a:pt x="10708" y="4377"/>
                  </a:lnTo>
                  <a:lnTo>
                    <a:pt x="11637" y="4435"/>
                  </a:lnTo>
                  <a:lnTo>
                    <a:pt x="12595" y="4483"/>
                  </a:lnTo>
                  <a:lnTo>
                    <a:pt x="13582" y="4530"/>
                  </a:lnTo>
                  <a:lnTo>
                    <a:pt x="14587" y="4578"/>
                  </a:lnTo>
                  <a:lnTo>
                    <a:pt x="15622" y="4607"/>
                  </a:lnTo>
                  <a:lnTo>
                    <a:pt x="16676" y="4645"/>
                  </a:lnTo>
                  <a:lnTo>
                    <a:pt x="17758" y="4665"/>
                  </a:lnTo>
                  <a:lnTo>
                    <a:pt x="18850" y="4693"/>
                  </a:lnTo>
                  <a:lnTo>
                    <a:pt x="19961" y="4703"/>
                  </a:lnTo>
                  <a:lnTo>
                    <a:pt x="21091" y="4712"/>
                  </a:lnTo>
                  <a:lnTo>
                    <a:pt x="23380" y="4712"/>
                  </a:lnTo>
                  <a:lnTo>
                    <a:pt x="24510" y="4703"/>
                  </a:lnTo>
                  <a:lnTo>
                    <a:pt x="25621" y="4693"/>
                  </a:lnTo>
                  <a:lnTo>
                    <a:pt x="26713" y="4665"/>
                  </a:lnTo>
                  <a:lnTo>
                    <a:pt x="27796" y="4645"/>
                  </a:lnTo>
                  <a:lnTo>
                    <a:pt x="28849" y="4607"/>
                  </a:lnTo>
                  <a:lnTo>
                    <a:pt x="29884" y="4578"/>
                  </a:lnTo>
                  <a:lnTo>
                    <a:pt x="30889" y="4530"/>
                  </a:lnTo>
                  <a:lnTo>
                    <a:pt x="31876" y="4483"/>
                  </a:lnTo>
                  <a:lnTo>
                    <a:pt x="32834" y="4435"/>
                  </a:lnTo>
                  <a:lnTo>
                    <a:pt x="33763" y="4377"/>
                  </a:lnTo>
                  <a:lnTo>
                    <a:pt x="34663" y="4310"/>
                  </a:lnTo>
                  <a:lnTo>
                    <a:pt x="35535" y="4253"/>
                  </a:lnTo>
                  <a:lnTo>
                    <a:pt x="36378" y="4176"/>
                  </a:lnTo>
                  <a:lnTo>
                    <a:pt x="37182" y="4099"/>
                  </a:lnTo>
                  <a:lnTo>
                    <a:pt x="37958" y="4023"/>
                  </a:lnTo>
                  <a:lnTo>
                    <a:pt x="38696" y="3946"/>
                  </a:lnTo>
                  <a:lnTo>
                    <a:pt x="39395" y="3860"/>
                  </a:lnTo>
                  <a:lnTo>
                    <a:pt x="40056" y="3774"/>
                  </a:lnTo>
                  <a:lnTo>
                    <a:pt x="40669" y="3678"/>
                  </a:lnTo>
                  <a:lnTo>
                    <a:pt x="41253" y="3582"/>
                  </a:lnTo>
                  <a:lnTo>
                    <a:pt x="41789" y="3486"/>
                  </a:lnTo>
                  <a:lnTo>
                    <a:pt x="42278" y="3381"/>
                  </a:lnTo>
                  <a:lnTo>
                    <a:pt x="42718" y="3276"/>
                  </a:lnTo>
                  <a:lnTo>
                    <a:pt x="43121" y="3170"/>
                  </a:lnTo>
                  <a:lnTo>
                    <a:pt x="43465" y="3055"/>
                  </a:lnTo>
                  <a:lnTo>
                    <a:pt x="43772" y="2950"/>
                  </a:lnTo>
                  <a:lnTo>
                    <a:pt x="43896" y="2893"/>
                  </a:lnTo>
                  <a:lnTo>
                    <a:pt x="44021" y="2835"/>
                  </a:lnTo>
                  <a:lnTo>
                    <a:pt x="44126" y="2778"/>
                  </a:lnTo>
                  <a:lnTo>
                    <a:pt x="44213" y="2720"/>
                  </a:lnTo>
                  <a:lnTo>
                    <a:pt x="44289" y="2663"/>
                  </a:lnTo>
                  <a:lnTo>
                    <a:pt x="44356" y="2596"/>
                  </a:lnTo>
                  <a:lnTo>
                    <a:pt x="44404" y="2538"/>
                  </a:lnTo>
                  <a:lnTo>
                    <a:pt x="44442" y="2481"/>
                  </a:lnTo>
                  <a:lnTo>
                    <a:pt x="44462" y="2423"/>
                  </a:lnTo>
                  <a:lnTo>
                    <a:pt x="44471" y="2356"/>
                  </a:lnTo>
                  <a:lnTo>
                    <a:pt x="44462" y="2299"/>
                  </a:lnTo>
                  <a:lnTo>
                    <a:pt x="44442" y="2232"/>
                  </a:lnTo>
                  <a:lnTo>
                    <a:pt x="44404" y="2174"/>
                  </a:lnTo>
                  <a:lnTo>
                    <a:pt x="44356" y="2117"/>
                  </a:lnTo>
                  <a:lnTo>
                    <a:pt x="44289" y="2059"/>
                  </a:lnTo>
                  <a:lnTo>
                    <a:pt x="44213" y="2002"/>
                  </a:lnTo>
                  <a:lnTo>
                    <a:pt x="44126" y="1944"/>
                  </a:lnTo>
                  <a:lnTo>
                    <a:pt x="44021" y="1877"/>
                  </a:lnTo>
                  <a:lnTo>
                    <a:pt x="43896" y="1829"/>
                  </a:lnTo>
                  <a:lnTo>
                    <a:pt x="43772" y="1772"/>
                  </a:lnTo>
                  <a:lnTo>
                    <a:pt x="43465" y="1657"/>
                  </a:lnTo>
                  <a:lnTo>
                    <a:pt x="43121" y="1542"/>
                  </a:lnTo>
                  <a:lnTo>
                    <a:pt x="42718" y="1437"/>
                  </a:lnTo>
                  <a:lnTo>
                    <a:pt x="42278" y="1331"/>
                  </a:lnTo>
                  <a:lnTo>
                    <a:pt x="41789" y="1236"/>
                  </a:lnTo>
                  <a:lnTo>
                    <a:pt x="41253" y="1130"/>
                  </a:lnTo>
                  <a:lnTo>
                    <a:pt x="40669" y="1034"/>
                  </a:lnTo>
                  <a:lnTo>
                    <a:pt x="40056" y="948"/>
                  </a:lnTo>
                  <a:lnTo>
                    <a:pt x="39395" y="852"/>
                  </a:lnTo>
                  <a:lnTo>
                    <a:pt x="38696" y="776"/>
                  </a:lnTo>
                  <a:lnTo>
                    <a:pt x="37958" y="690"/>
                  </a:lnTo>
                  <a:lnTo>
                    <a:pt x="37182" y="613"/>
                  </a:lnTo>
                  <a:lnTo>
                    <a:pt x="36378" y="536"/>
                  </a:lnTo>
                  <a:lnTo>
                    <a:pt x="35535" y="469"/>
                  </a:lnTo>
                  <a:lnTo>
                    <a:pt x="34663" y="402"/>
                  </a:lnTo>
                  <a:lnTo>
                    <a:pt x="33763" y="335"/>
                  </a:lnTo>
                  <a:lnTo>
                    <a:pt x="32834" y="287"/>
                  </a:lnTo>
                  <a:lnTo>
                    <a:pt x="31876" y="230"/>
                  </a:lnTo>
                  <a:lnTo>
                    <a:pt x="30889" y="182"/>
                  </a:lnTo>
                  <a:lnTo>
                    <a:pt x="29884" y="144"/>
                  </a:lnTo>
                  <a:lnTo>
                    <a:pt x="28849" y="105"/>
                  </a:lnTo>
                  <a:lnTo>
                    <a:pt x="27796" y="77"/>
                  </a:lnTo>
                  <a:lnTo>
                    <a:pt x="26713" y="48"/>
                  </a:lnTo>
                  <a:lnTo>
                    <a:pt x="25621" y="29"/>
                  </a:lnTo>
                  <a:lnTo>
                    <a:pt x="24510" y="10"/>
                  </a:lnTo>
                  <a:lnTo>
                    <a:pt x="23380" y="0"/>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 name="Google Shape;939;p26"/>
            <p:cNvSpPr/>
            <p:nvPr/>
          </p:nvSpPr>
          <p:spPr>
            <a:xfrm>
              <a:off x="5449625" y="4579763"/>
              <a:ext cx="3237261" cy="152217"/>
            </a:xfrm>
            <a:custGeom>
              <a:avLst/>
              <a:gdLst/>
              <a:ahLst/>
              <a:cxnLst/>
              <a:rect l="l" t="t" r="r" b="b"/>
              <a:pathLst>
                <a:path w="82305" h="3870" extrusionOk="0">
                  <a:moveTo>
                    <a:pt x="41148" y="0"/>
                  </a:moveTo>
                  <a:lnTo>
                    <a:pt x="36943" y="10"/>
                  </a:lnTo>
                  <a:lnTo>
                    <a:pt x="32853" y="38"/>
                  </a:lnTo>
                  <a:lnTo>
                    <a:pt x="28907" y="86"/>
                  </a:lnTo>
                  <a:lnTo>
                    <a:pt x="25133" y="153"/>
                  </a:lnTo>
                  <a:lnTo>
                    <a:pt x="21532" y="230"/>
                  </a:lnTo>
                  <a:lnTo>
                    <a:pt x="18141" y="335"/>
                  </a:lnTo>
                  <a:lnTo>
                    <a:pt x="14971" y="441"/>
                  </a:lnTo>
                  <a:lnTo>
                    <a:pt x="13477" y="508"/>
                  </a:lnTo>
                  <a:lnTo>
                    <a:pt x="12050" y="565"/>
                  </a:lnTo>
                  <a:lnTo>
                    <a:pt x="10690" y="632"/>
                  </a:lnTo>
                  <a:lnTo>
                    <a:pt x="9397" y="709"/>
                  </a:lnTo>
                  <a:lnTo>
                    <a:pt x="8171" y="776"/>
                  </a:lnTo>
                  <a:lnTo>
                    <a:pt x="7021" y="853"/>
                  </a:lnTo>
                  <a:lnTo>
                    <a:pt x="5958" y="929"/>
                  </a:lnTo>
                  <a:lnTo>
                    <a:pt x="4962" y="1015"/>
                  </a:lnTo>
                  <a:lnTo>
                    <a:pt x="4052" y="1092"/>
                  </a:lnTo>
                  <a:lnTo>
                    <a:pt x="3228" y="1178"/>
                  </a:lnTo>
                  <a:lnTo>
                    <a:pt x="2491" y="1264"/>
                  </a:lnTo>
                  <a:lnTo>
                    <a:pt x="1849" y="1360"/>
                  </a:lnTo>
                  <a:lnTo>
                    <a:pt x="1294" y="1446"/>
                  </a:lnTo>
                  <a:lnTo>
                    <a:pt x="834" y="1542"/>
                  </a:lnTo>
                  <a:lnTo>
                    <a:pt x="642" y="1590"/>
                  </a:lnTo>
                  <a:lnTo>
                    <a:pt x="470" y="1638"/>
                  </a:lnTo>
                  <a:lnTo>
                    <a:pt x="326" y="1686"/>
                  </a:lnTo>
                  <a:lnTo>
                    <a:pt x="211" y="1734"/>
                  </a:lnTo>
                  <a:lnTo>
                    <a:pt x="115" y="1782"/>
                  </a:lnTo>
                  <a:lnTo>
                    <a:pt x="48" y="1829"/>
                  </a:lnTo>
                  <a:lnTo>
                    <a:pt x="10" y="1887"/>
                  </a:lnTo>
                  <a:lnTo>
                    <a:pt x="0" y="1906"/>
                  </a:lnTo>
                  <a:lnTo>
                    <a:pt x="0" y="1935"/>
                  </a:lnTo>
                  <a:lnTo>
                    <a:pt x="0" y="1954"/>
                  </a:lnTo>
                  <a:lnTo>
                    <a:pt x="10" y="1983"/>
                  </a:lnTo>
                  <a:lnTo>
                    <a:pt x="48" y="2031"/>
                  </a:lnTo>
                  <a:lnTo>
                    <a:pt x="115" y="2079"/>
                  </a:lnTo>
                  <a:lnTo>
                    <a:pt x="211" y="2126"/>
                  </a:lnTo>
                  <a:lnTo>
                    <a:pt x="326" y="2184"/>
                  </a:lnTo>
                  <a:lnTo>
                    <a:pt x="470" y="2232"/>
                  </a:lnTo>
                  <a:lnTo>
                    <a:pt x="642" y="2280"/>
                  </a:lnTo>
                  <a:lnTo>
                    <a:pt x="834" y="2318"/>
                  </a:lnTo>
                  <a:lnTo>
                    <a:pt x="1294" y="2414"/>
                  </a:lnTo>
                  <a:lnTo>
                    <a:pt x="1849" y="2510"/>
                  </a:lnTo>
                  <a:lnTo>
                    <a:pt x="2491" y="2596"/>
                  </a:lnTo>
                  <a:lnTo>
                    <a:pt x="3228" y="2682"/>
                  </a:lnTo>
                  <a:lnTo>
                    <a:pt x="4052" y="2768"/>
                  </a:lnTo>
                  <a:lnTo>
                    <a:pt x="4962" y="2854"/>
                  </a:lnTo>
                  <a:lnTo>
                    <a:pt x="5958" y="2931"/>
                  </a:lnTo>
                  <a:lnTo>
                    <a:pt x="7021" y="3017"/>
                  </a:lnTo>
                  <a:lnTo>
                    <a:pt x="8171" y="3094"/>
                  </a:lnTo>
                  <a:lnTo>
                    <a:pt x="9397" y="3161"/>
                  </a:lnTo>
                  <a:lnTo>
                    <a:pt x="10690" y="3228"/>
                  </a:lnTo>
                  <a:lnTo>
                    <a:pt x="12050" y="3295"/>
                  </a:lnTo>
                  <a:lnTo>
                    <a:pt x="13477" y="3362"/>
                  </a:lnTo>
                  <a:lnTo>
                    <a:pt x="14971" y="3419"/>
                  </a:lnTo>
                  <a:lnTo>
                    <a:pt x="18141" y="3534"/>
                  </a:lnTo>
                  <a:lnTo>
                    <a:pt x="21532" y="3630"/>
                  </a:lnTo>
                  <a:lnTo>
                    <a:pt x="25133" y="3716"/>
                  </a:lnTo>
                  <a:lnTo>
                    <a:pt x="28907" y="3774"/>
                  </a:lnTo>
                  <a:lnTo>
                    <a:pt x="32853" y="3822"/>
                  </a:lnTo>
                  <a:lnTo>
                    <a:pt x="36943" y="3860"/>
                  </a:lnTo>
                  <a:lnTo>
                    <a:pt x="41148" y="3870"/>
                  </a:lnTo>
                  <a:lnTo>
                    <a:pt x="45353" y="3860"/>
                  </a:lnTo>
                  <a:lnTo>
                    <a:pt x="49443" y="3822"/>
                  </a:lnTo>
                  <a:lnTo>
                    <a:pt x="53389" y="3774"/>
                  </a:lnTo>
                  <a:lnTo>
                    <a:pt x="57172" y="3716"/>
                  </a:lnTo>
                  <a:lnTo>
                    <a:pt x="60764" y="3630"/>
                  </a:lnTo>
                  <a:lnTo>
                    <a:pt x="64155" y="3534"/>
                  </a:lnTo>
                  <a:lnTo>
                    <a:pt x="67325" y="3419"/>
                  </a:lnTo>
                  <a:lnTo>
                    <a:pt x="68819" y="3362"/>
                  </a:lnTo>
                  <a:lnTo>
                    <a:pt x="70246" y="3295"/>
                  </a:lnTo>
                  <a:lnTo>
                    <a:pt x="71616" y="3228"/>
                  </a:lnTo>
                  <a:lnTo>
                    <a:pt x="72909" y="3161"/>
                  </a:lnTo>
                  <a:lnTo>
                    <a:pt x="74125" y="3094"/>
                  </a:lnTo>
                  <a:lnTo>
                    <a:pt x="75275" y="3017"/>
                  </a:lnTo>
                  <a:lnTo>
                    <a:pt x="76347" y="2931"/>
                  </a:lnTo>
                  <a:lnTo>
                    <a:pt x="77334" y="2854"/>
                  </a:lnTo>
                  <a:lnTo>
                    <a:pt x="78244" y="2768"/>
                  </a:lnTo>
                  <a:lnTo>
                    <a:pt x="79068" y="2682"/>
                  </a:lnTo>
                  <a:lnTo>
                    <a:pt x="79805" y="2596"/>
                  </a:lnTo>
                  <a:lnTo>
                    <a:pt x="80456" y="2510"/>
                  </a:lnTo>
                  <a:lnTo>
                    <a:pt x="81012" y="2414"/>
                  </a:lnTo>
                  <a:lnTo>
                    <a:pt x="81462" y="2318"/>
                  </a:lnTo>
                  <a:lnTo>
                    <a:pt x="81663" y="2280"/>
                  </a:lnTo>
                  <a:lnTo>
                    <a:pt x="81826" y="2232"/>
                  </a:lnTo>
                  <a:lnTo>
                    <a:pt x="81970" y="2184"/>
                  </a:lnTo>
                  <a:lnTo>
                    <a:pt x="82094" y="2126"/>
                  </a:lnTo>
                  <a:lnTo>
                    <a:pt x="82180" y="2079"/>
                  </a:lnTo>
                  <a:lnTo>
                    <a:pt x="82248" y="2031"/>
                  </a:lnTo>
                  <a:lnTo>
                    <a:pt x="82286" y="1983"/>
                  </a:lnTo>
                  <a:lnTo>
                    <a:pt x="82295" y="1954"/>
                  </a:lnTo>
                  <a:lnTo>
                    <a:pt x="82305" y="1935"/>
                  </a:lnTo>
                  <a:lnTo>
                    <a:pt x="82295" y="1906"/>
                  </a:lnTo>
                  <a:lnTo>
                    <a:pt x="82286" y="1887"/>
                  </a:lnTo>
                  <a:lnTo>
                    <a:pt x="82248" y="1829"/>
                  </a:lnTo>
                  <a:lnTo>
                    <a:pt x="82180" y="1782"/>
                  </a:lnTo>
                  <a:lnTo>
                    <a:pt x="82094" y="1734"/>
                  </a:lnTo>
                  <a:lnTo>
                    <a:pt x="81970" y="1686"/>
                  </a:lnTo>
                  <a:lnTo>
                    <a:pt x="81826" y="1638"/>
                  </a:lnTo>
                  <a:lnTo>
                    <a:pt x="81663" y="1590"/>
                  </a:lnTo>
                  <a:lnTo>
                    <a:pt x="81462" y="1542"/>
                  </a:lnTo>
                  <a:lnTo>
                    <a:pt x="81012" y="1446"/>
                  </a:lnTo>
                  <a:lnTo>
                    <a:pt x="80456" y="1360"/>
                  </a:lnTo>
                  <a:lnTo>
                    <a:pt x="79805" y="1264"/>
                  </a:lnTo>
                  <a:lnTo>
                    <a:pt x="79068" y="1178"/>
                  </a:lnTo>
                  <a:lnTo>
                    <a:pt x="78244" y="1092"/>
                  </a:lnTo>
                  <a:lnTo>
                    <a:pt x="77334" y="1015"/>
                  </a:lnTo>
                  <a:lnTo>
                    <a:pt x="76347" y="929"/>
                  </a:lnTo>
                  <a:lnTo>
                    <a:pt x="75275" y="853"/>
                  </a:lnTo>
                  <a:lnTo>
                    <a:pt x="74125" y="776"/>
                  </a:lnTo>
                  <a:lnTo>
                    <a:pt x="72909" y="709"/>
                  </a:lnTo>
                  <a:lnTo>
                    <a:pt x="71616" y="632"/>
                  </a:lnTo>
                  <a:lnTo>
                    <a:pt x="70246" y="565"/>
                  </a:lnTo>
                  <a:lnTo>
                    <a:pt x="68819" y="508"/>
                  </a:lnTo>
                  <a:lnTo>
                    <a:pt x="67325" y="441"/>
                  </a:lnTo>
                  <a:lnTo>
                    <a:pt x="64155" y="335"/>
                  </a:lnTo>
                  <a:lnTo>
                    <a:pt x="60764" y="230"/>
                  </a:lnTo>
                  <a:lnTo>
                    <a:pt x="57172" y="153"/>
                  </a:lnTo>
                  <a:lnTo>
                    <a:pt x="53389" y="86"/>
                  </a:lnTo>
                  <a:lnTo>
                    <a:pt x="49443" y="38"/>
                  </a:lnTo>
                  <a:lnTo>
                    <a:pt x="45353" y="10"/>
                  </a:lnTo>
                  <a:lnTo>
                    <a:pt x="41148" y="0"/>
                  </a:lnTo>
                  <a:close/>
                </a:path>
              </a:pathLst>
            </a:custGeom>
            <a:solidFill>
              <a:srgbClr val="666666">
                <a:alpha val="1254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p26"/>
            <p:cNvSpPr/>
            <p:nvPr/>
          </p:nvSpPr>
          <p:spPr>
            <a:xfrm>
              <a:off x="8191774" y="3231092"/>
              <a:ext cx="378261" cy="86296"/>
            </a:xfrm>
            <a:custGeom>
              <a:avLst/>
              <a:gdLst/>
              <a:ahLst/>
              <a:cxnLst/>
              <a:rect l="l" t="t" r="r" b="b"/>
              <a:pathLst>
                <a:path w="9617" h="2194" extrusionOk="0">
                  <a:moveTo>
                    <a:pt x="4473" y="0"/>
                  </a:moveTo>
                  <a:lnTo>
                    <a:pt x="4186" y="10"/>
                  </a:lnTo>
                  <a:lnTo>
                    <a:pt x="3860" y="29"/>
                  </a:lnTo>
                  <a:lnTo>
                    <a:pt x="3075" y="77"/>
                  </a:lnTo>
                  <a:lnTo>
                    <a:pt x="2223" y="154"/>
                  </a:lnTo>
                  <a:lnTo>
                    <a:pt x="1389" y="240"/>
                  </a:lnTo>
                  <a:lnTo>
                    <a:pt x="680" y="307"/>
                  </a:lnTo>
                  <a:lnTo>
                    <a:pt x="0" y="384"/>
                  </a:lnTo>
                  <a:lnTo>
                    <a:pt x="1657" y="1322"/>
                  </a:lnTo>
                  <a:lnTo>
                    <a:pt x="2184" y="1466"/>
                  </a:lnTo>
                  <a:lnTo>
                    <a:pt x="2730" y="1590"/>
                  </a:lnTo>
                  <a:lnTo>
                    <a:pt x="3305" y="1705"/>
                  </a:lnTo>
                  <a:lnTo>
                    <a:pt x="3899" y="1811"/>
                  </a:lnTo>
                  <a:lnTo>
                    <a:pt x="4502" y="1897"/>
                  </a:lnTo>
                  <a:lnTo>
                    <a:pt x="5096" y="1973"/>
                  </a:lnTo>
                  <a:lnTo>
                    <a:pt x="5690" y="2041"/>
                  </a:lnTo>
                  <a:lnTo>
                    <a:pt x="6264" y="2098"/>
                  </a:lnTo>
                  <a:lnTo>
                    <a:pt x="6820" y="2136"/>
                  </a:lnTo>
                  <a:lnTo>
                    <a:pt x="7337" y="2165"/>
                  </a:lnTo>
                  <a:lnTo>
                    <a:pt x="7826" y="2184"/>
                  </a:lnTo>
                  <a:lnTo>
                    <a:pt x="8266" y="2194"/>
                  </a:lnTo>
                  <a:lnTo>
                    <a:pt x="8649" y="2184"/>
                  </a:lnTo>
                  <a:lnTo>
                    <a:pt x="8975" y="2165"/>
                  </a:lnTo>
                  <a:lnTo>
                    <a:pt x="9234" y="2127"/>
                  </a:lnTo>
                  <a:lnTo>
                    <a:pt x="9339" y="2108"/>
                  </a:lnTo>
                  <a:lnTo>
                    <a:pt x="9416" y="2088"/>
                  </a:lnTo>
                  <a:lnTo>
                    <a:pt x="9483" y="2060"/>
                  </a:lnTo>
                  <a:lnTo>
                    <a:pt x="9531" y="2031"/>
                  </a:lnTo>
                  <a:lnTo>
                    <a:pt x="9569" y="2002"/>
                  </a:lnTo>
                  <a:lnTo>
                    <a:pt x="9598" y="1983"/>
                  </a:lnTo>
                  <a:lnTo>
                    <a:pt x="9617" y="1954"/>
                  </a:lnTo>
                  <a:lnTo>
                    <a:pt x="9617" y="1926"/>
                  </a:lnTo>
                  <a:lnTo>
                    <a:pt x="9617" y="1897"/>
                  </a:lnTo>
                  <a:lnTo>
                    <a:pt x="9598" y="1868"/>
                  </a:lnTo>
                  <a:lnTo>
                    <a:pt x="9578" y="1839"/>
                  </a:lnTo>
                  <a:lnTo>
                    <a:pt x="9540" y="1811"/>
                  </a:lnTo>
                  <a:lnTo>
                    <a:pt x="9464" y="1753"/>
                  </a:lnTo>
                  <a:lnTo>
                    <a:pt x="9349" y="1696"/>
                  </a:lnTo>
                  <a:lnTo>
                    <a:pt x="9224" y="1638"/>
                  </a:lnTo>
                  <a:lnTo>
                    <a:pt x="8927" y="1523"/>
                  </a:lnTo>
                  <a:lnTo>
                    <a:pt x="8611" y="1408"/>
                  </a:lnTo>
                  <a:lnTo>
                    <a:pt x="8314" y="1313"/>
                  </a:lnTo>
                  <a:lnTo>
                    <a:pt x="8190" y="1255"/>
                  </a:lnTo>
                  <a:lnTo>
                    <a:pt x="8084" y="1217"/>
                  </a:lnTo>
                  <a:lnTo>
                    <a:pt x="7605" y="997"/>
                  </a:lnTo>
                  <a:lnTo>
                    <a:pt x="7107" y="786"/>
                  </a:lnTo>
                  <a:lnTo>
                    <a:pt x="6628" y="604"/>
                  </a:lnTo>
                  <a:lnTo>
                    <a:pt x="6169" y="431"/>
                  </a:lnTo>
                  <a:lnTo>
                    <a:pt x="5747" y="288"/>
                  </a:lnTo>
                  <a:lnTo>
                    <a:pt x="5364" y="173"/>
                  </a:lnTo>
                  <a:lnTo>
                    <a:pt x="5058" y="77"/>
                  </a:lnTo>
                  <a:lnTo>
                    <a:pt x="4828" y="20"/>
                  </a:lnTo>
                  <a:lnTo>
                    <a:pt x="4761" y="10"/>
                  </a:lnTo>
                  <a:lnTo>
                    <a:pt x="4684" y="0"/>
                  </a:lnTo>
                  <a:close/>
                </a:path>
              </a:pathLst>
            </a:custGeom>
            <a:solidFill>
              <a:srgbClr val="EDC1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26"/>
            <p:cNvSpPr/>
            <p:nvPr/>
          </p:nvSpPr>
          <p:spPr>
            <a:xfrm>
              <a:off x="8252423" y="3224681"/>
              <a:ext cx="342114" cy="102500"/>
            </a:xfrm>
            <a:custGeom>
              <a:avLst/>
              <a:gdLst/>
              <a:ahLst/>
              <a:cxnLst/>
              <a:rect l="l" t="t" r="r" b="b"/>
              <a:pathLst>
                <a:path w="8698" h="2606" extrusionOk="0">
                  <a:moveTo>
                    <a:pt x="2998" y="1"/>
                  </a:moveTo>
                  <a:lnTo>
                    <a:pt x="2797" y="10"/>
                  </a:lnTo>
                  <a:lnTo>
                    <a:pt x="2558" y="20"/>
                  </a:lnTo>
                  <a:lnTo>
                    <a:pt x="2021" y="68"/>
                  </a:lnTo>
                  <a:lnTo>
                    <a:pt x="1456" y="144"/>
                  </a:lnTo>
                  <a:lnTo>
                    <a:pt x="901" y="211"/>
                  </a:lnTo>
                  <a:lnTo>
                    <a:pt x="441" y="278"/>
                  </a:lnTo>
                  <a:lnTo>
                    <a:pt x="0" y="345"/>
                  </a:lnTo>
                  <a:lnTo>
                    <a:pt x="0" y="403"/>
                  </a:lnTo>
                  <a:lnTo>
                    <a:pt x="249" y="432"/>
                  </a:lnTo>
                  <a:lnTo>
                    <a:pt x="489" y="479"/>
                  </a:lnTo>
                  <a:lnTo>
                    <a:pt x="728" y="527"/>
                  </a:lnTo>
                  <a:lnTo>
                    <a:pt x="949" y="594"/>
                  </a:lnTo>
                  <a:lnTo>
                    <a:pt x="1169" y="661"/>
                  </a:lnTo>
                  <a:lnTo>
                    <a:pt x="1380" y="748"/>
                  </a:lnTo>
                  <a:lnTo>
                    <a:pt x="1571" y="843"/>
                  </a:lnTo>
                  <a:lnTo>
                    <a:pt x="1763" y="949"/>
                  </a:lnTo>
                  <a:lnTo>
                    <a:pt x="1945" y="1064"/>
                  </a:lnTo>
                  <a:lnTo>
                    <a:pt x="2117" y="1188"/>
                  </a:lnTo>
                  <a:lnTo>
                    <a:pt x="2270" y="1322"/>
                  </a:lnTo>
                  <a:lnTo>
                    <a:pt x="2424" y="1476"/>
                  </a:lnTo>
                  <a:lnTo>
                    <a:pt x="2558" y="1638"/>
                  </a:lnTo>
                  <a:lnTo>
                    <a:pt x="2692" y="1811"/>
                  </a:lnTo>
                  <a:lnTo>
                    <a:pt x="2807" y="2002"/>
                  </a:lnTo>
                  <a:lnTo>
                    <a:pt x="2912" y="2204"/>
                  </a:lnTo>
                  <a:lnTo>
                    <a:pt x="4205" y="2347"/>
                  </a:lnTo>
                  <a:lnTo>
                    <a:pt x="4770" y="2414"/>
                  </a:lnTo>
                  <a:lnTo>
                    <a:pt x="5335" y="2472"/>
                  </a:lnTo>
                  <a:lnTo>
                    <a:pt x="5747" y="2500"/>
                  </a:lnTo>
                  <a:lnTo>
                    <a:pt x="6207" y="2539"/>
                  </a:lnTo>
                  <a:lnTo>
                    <a:pt x="6686" y="2568"/>
                  </a:lnTo>
                  <a:lnTo>
                    <a:pt x="7155" y="2587"/>
                  </a:lnTo>
                  <a:lnTo>
                    <a:pt x="7586" y="2606"/>
                  </a:lnTo>
                  <a:lnTo>
                    <a:pt x="7950" y="2606"/>
                  </a:lnTo>
                  <a:lnTo>
                    <a:pt x="8218" y="2596"/>
                  </a:lnTo>
                  <a:lnTo>
                    <a:pt x="8314" y="2587"/>
                  </a:lnTo>
                  <a:lnTo>
                    <a:pt x="8381" y="2577"/>
                  </a:lnTo>
                  <a:lnTo>
                    <a:pt x="8506" y="2520"/>
                  </a:lnTo>
                  <a:lnTo>
                    <a:pt x="8602" y="2462"/>
                  </a:lnTo>
                  <a:lnTo>
                    <a:pt x="8640" y="2433"/>
                  </a:lnTo>
                  <a:lnTo>
                    <a:pt x="8659" y="2395"/>
                  </a:lnTo>
                  <a:lnTo>
                    <a:pt x="8678" y="2366"/>
                  </a:lnTo>
                  <a:lnTo>
                    <a:pt x="8697" y="2328"/>
                  </a:lnTo>
                  <a:lnTo>
                    <a:pt x="8697" y="2290"/>
                  </a:lnTo>
                  <a:lnTo>
                    <a:pt x="8697" y="2251"/>
                  </a:lnTo>
                  <a:lnTo>
                    <a:pt x="8678" y="2213"/>
                  </a:lnTo>
                  <a:lnTo>
                    <a:pt x="8659" y="2175"/>
                  </a:lnTo>
                  <a:lnTo>
                    <a:pt x="8592" y="2089"/>
                  </a:lnTo>
                  <a:lnTo>
                    <a:pt x="8496" y="1993"/>
                  </a:lnTo>
                  <a:lnTo>
                    <a:pt x="8362" y="1897"/>
                  </a:lnTo>
                  <a:lnTo>
                    <a:pt x="8199" y="1792"/>
                  </a:lnTo>
                  <a:lnTo>
                    <a:pt x="8008" y="1677"/>
                  </a:lnTo>
                  <a:lnTo>
                    <a:pt x="7778" y="1562"/>
                  </a:lnTo>
                  <a:lnTo>
                    <a:pt x="7519" y="1437"/>
                  </a:lnTo>
                  <a:lnTo>
                    <a:pt x="7232" y="1303"/>
                  </a:lnTo>
                  <a:lnTo>
                    <a:pt x="6906" y="1169"/>
                  </a:lnTo>
                  <a:lnTo>
                    <a:pt x="6542" y="1016"/>
                  </a:lnTo>
                  <a:lnTo>
                    <a:pt x="6063" y="834"/>
                  </a:lnTo>
                  <a:lnTo>
                    <a:pt x="5565" y="671"/>
                  </a:lnTo>
                  <a:lnTo>
                    <a:pt x="5086" y="518"/>
                  </a:lnTo>
                  <a:lnTo>
                    <a:pt x="4627" y="374"/>
                  </a:lnTo>
                  <a:lnTo>
                    <a:pt x="4205" y="259"/>
                  </a:lnTo>
                  <a:lnTo>
                    <a:pt x="3832" y="154"/>
                  </a:lnTo>
                  <a:lnTo>
                    <a:pt x="3286" y="20"/>
                  </a:lnTo>
                  <a:lnTo>
                    <a:pt x="3171" y="10"/>
                  </a:lnTo>
                  <a:lnTo>
                    <a:pt x="2998"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26"/>
            <p:cNvSpPr/>
            <p:nvPr/>
          </p:nvSpPr>
          <p:spPr>
            <a:xfrm>
              <a:off x="7744222" y="3452213"/>
              <a:ext cx="62185" cy="898944"/>
            </a:xfrm>
            <a:custGeom>
              <a:avLst/>
              <a:gdLst/>
              <a:ahLst/>
              <a:cxnLst/>
              <a:rect l="l" t="t" r="r" b="b"/>
              <a:pathLst>
                <a:path w="1581" h="22855" extrusionOk="0">
                  <a:moveTo>
                    <a:pt x="1" y="1"/>
                  </a:moveTo>
                  <a:lnTo>
                    <a:pt x="1" y="22854"/>
                  </a:lnTo>
                  <a:lnTo>
                    <a:pt x="1581" y="22854"/>
                  </a:lnTo>
                  <a:lnTo>
                    <a:pt x="1581" y="1"/>
                  </a:lnTo>
                  <a:close/>
                </a:path>
              </a:pathLst>
            </a:custGeom>
            <a:solidFill>
              <a:srgbClr val="959DA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26"/>
            <p:cNvSpPr/>
            <p:nvPr/>
          </p:nvSpPr>
          <p:spPr>
            <a:xfrm>
              <a:off x="7478656" y="4279862"/>
              <a:ext cx="592977" cy="160162"/>
            </a:xfrm>
            <a:custGeom>
              <a:avLst/>
              <a:gdLst/>
              <a:ahLst/>
              <a:cxnLst/>
              <a:rect l="l" t="t" r="r" b="b"/>
              <a:pathLst>
                <a:path w="15076" h="4072" extrusionOk="0">
                  <a:moveTo>
                    <a:pt x="4071" y="1"/>
                  </a:moveTo>
                  <a:lnTo>
                    <a:pt x="3860" y="10"/>
                  </a:lnTo>
                  <a:lnTo>
                    <a:pt x="3659" y="30"/>
                  </a:lnTo>
                  <a:lnTo>
                    <a:pt x="3458" y="49"/>
                  </a:lnTo>
                  <a:lnTo>
                    <a:pt x="3257" y="87"/>
                  </a:lnTo>
                  <a:lnTo>
                    <a:pt x="3055" y="135"/>
                  </a:lnTo>
                  <a:lnTo>
                    <a:pt x="2864" y="192"/>
                  </a:lnTo>
                  <a:lnTo>
                    <a:pt x="2672" y="250"/>
                  </a:lnTo>
                  <a:lnTo>
                    <a:pt x="2490" y="327"/>
                  </a:lnTo>
                  <a:lnTo>
                    <a:pt x="2308" y="403"/>
                  </a:lnTo>
                  <a:lnTo>
                    <a:pt x="2136" y="499"/>
                  </a:lnTo>
                  <a:lnTo>
                    <a:pt x="1964" y="595"/>
                  </a:lnTo>
                  <a:lnTo>
                    <a:pt x="1801" y="700"/>
                  </a:lnTo>
                  <a:lnTo>
                    <a:pt x="1638" y="815"/>
                  </a:lnTo>
                  <a:lnTo>
                    <a:pt x="1485" y="940"/>
                  </a:lnTo>
                  <a:lnTo>
                    <a:pt x="1341" y="1064"/>
                  </a:lnTo>
                  <a:lnTo>
                    <a:pt x="1197" y="1198"/>
                  </a:lnTo>
                  <a:lnTo>
                    <a:pt x="1063" y="1342"/>
                  </a:lnTo>
                  <a:lnTo>
                    <a:pt x="929" y="1485"/>
                  </a:lnTo>
                  <a:lnTo>
                    <a:pt x="814" y="1639"/>
                  </a:lnTo>
                  <a:lnTo>
                    <a:pt x="699" y="1802"/>
                  </a:lnTo>
                  <a:lnTo>
                    <a:pt x="594" y="1964"/>
                  </a:lnTo>
                  <a:lnTo>
                    <a:pt x="498" y="2137"/>
                  </a:lnTo>
                  <a:lnTo>
                    <a:pt x="402" y="2309"/>
                  </a:lnTo>
                  <a:lnTo>
                    <a:pt x="326" y="2491"/>
                  </a:lnTo>
                  <a:lnTo>
                    <a:pt x="249" y="2673"/>
                  </a:lnTo>
                  <a:lnTo>
                    <a:pt x="182" y="2865"/>
                  </a:lnTo>
                  <a:lnTo>
                    <a:pt x="134" y="3056"/>
                  </a:lnTo>
                  <a:lnTo>
                    <a:pt x="86" y="3257"/>
                  </a:lnTo>
                  <a:lnTo>
                    <a:pt x="48" y="3459"/>
                  </a:lnTo>
                  <a:lnTo>
                    <a:pt x="29" y="3660"/>
                  </a:lnTo>
                  <a:lnTo>
                    <a:pt x="10" y="3861"/>
                  </a:lnTo>
                  <a:lnTo>
                    <a:pt x="0" y="4072"/>
                  </a:lnTo>
                  <a:lnTo>
                    <a:pt x="1293" y="4072"/>
                  </a:lnTo>
                  <a:lnTo>
                    <a:pt x="1303" y="3928"/>
                  </a:lnTo>
                  <a:lnTo>
                    <a:pt x="1312" y="3794"/>
                  </a:lnTo>
                  <a:lnTo>
                    <a:pt x="1331" y="3650"/>
                  </a:lnTo>
                  <a:lnTo>
                    <a:pt x="1351" y="3516"/>
                  </a:lnTo>
                  <a:lnTo>
                    <a:pt x="1389" y="3382"/>
                  </a:lnTo>
                  <a:lnTo>
                    <a:pt x="1427" y="3248"/>
                  </a:lnTo>
                  <a:lnTo>
                    <a:pt x="1466" y="3123"/>
                  </a:lnTo>
                  <a:lnTo>
                    <a:pt x="1513" y="2999"/>
                  </a:lnTo>
                  <a:lnTo>
                    <a:pt x="1571" y="2874"/>
                  </a:lnTo>
                  <a:lnTo>
                    <a:pt x="1628" y="2750"/>
                  </a:lnTo>
                  <a:lnTo>
                    <a:pt x="1695" y="2635"/>
                  </a:lnTo>
                  <a:lnTo>
                    <a:pt x="1772" y="2520"/>
                  </a:lnTo>
                  <a:lnTo>
                    <a:pt x="1849" y="2415"/>
                  </a:lnTo>
                  <a:lnTo>
                    <a:pt x="1935" y="2309"/>
                  </a:lnTo>
                  <a:lnTo>
                    <a:pt x="2021" y="2213"/>
                  </a:lnTo>
                  <a:lnTo>
                    <a:pt x="2107" y="2108"/>
                  </a:lnTo>
                  <a:lnTo>
                    <a:pt x="2203" y="2022"/>
                  </a:lnTo>
                  <a:lnTo>
                    <a:pt x="2308" y="1936"/>
                  </a:lnTo>
                  <a:lnTo>
                    <a:pt x="2414" y="1849"/>
                  </a:lnTo>
                  <a:lnTo>
                    <a:pt x="2519" y="1773"/>
                  </a:lnTo>
                  <a:lnTo>
                    <a:pt x="2634" y="1706"/>
                  </a:lnTo>
                  <a:lnTo>
                    <a:pt x="2749" y="1639"/>
                  </a:lnTo>
                  <a:lnTo>
                    <a:pt x="2873" y="1572"/>
                  </a:lnTo>
                  <a:lnTo>
                    <a:pt x="2998" y="1514"/>
                  </a:lnTo>
                  <a:lnTo>
                    <a:pt x="3123" y="1466"/>
                  </a:lnTo>
                  <a:lnTo>
                    <a:pt x="3247" y="1428"/>
                  </a:lnTo>
                  <a:lnTo>
                    <a:pt x="3381" y="1390"/>
                  </a:lnTo>
                  <a:lnTo>
                    <a:pt x="3515" y="1351"/>
                  </a:lnTo>
                  <a:lnTo>
                    <a:pt x="3649" y="1332"/>
                  </a:lnTo>
                  <a:lnTo>
                    <a:pt x="3793" y="1313"/>
                  </a:lnTo>
                  <a:lnTo>
                    <a:pt x="3927" y="1304"/>
                  </a:lnTo>
                  <a:lnTo>
                    <a:pt x="11149" y="1304"/>
                  </a:lnTo>
                  <a:lnTo>
                    <a:pt x="11293" y="1313"/>
                  </a:lnTo>
                  <a:lnTo>
                    <a:pt x="11427" y="1332"/>
                  </a:lnTo>
                  <a:lnTo>
                    <a:pt x="11570" y="1351"/>
                  </a:lnTo>
                  <a:lnTo>
                    <a:pt x="11704" y="1390"/>
                  </a:lnTo>
                  <a:lnTo>
                    <a:pt x="11829" y="1428"/>
                  </a:lnTo>
                  <a:lnTo>
                    <a:pt x="11963" y="1466"/>
                  </a:lnTo>
                  <a:lnTo>
                    <a:pt x="12088" y="1514"/>
                  </a:lnTo>
                  <a:lnTo>
                    <a:pt x="12212" y="1572"/>
                  </a:lnTo>
                  <a:lnTo>
                    <a:pt x="12327" y="1639"/>
                  </a:lnTo>
                  <a:lnTo>
                    <a:pt x="12442" y="1706"/>
                  </a:lnTo>
                  <a:lnTo>
                    <a:pt x="12557" y="1773"/>
                  </a:lnTo>
                  <a:lnTo>
                    <a:pt x="12662" y="1849"/>
                  </a:lnTo>
                  <a:lnTo>
                    <a:pt x="12768" y="1936"/>
                  </a:lnTo>
                  <a:lnTo>
                    <a:pt x="12873" y="2022"/>
                  </a:lnTo>
                  <a:lnTo>
                    <a:pt x="12969" y="2108"/>
                  </a:lnTo>
                  <a:lnTo>
                    <a:pt x="13065" y="2213"/>
                  </a:lnTo>
                  <a:lnTo>
                    <a:pt x="13151" y="2309"/>
                  </a:lnTo>
                  <a:lnTo>
                    <a:pt x="13227" y="2415"/>
                  </a:lnTo>
                  <a:lnTo>
                    <a:pt x="13304" y="2520"/>
                  </a:lnTo>
                  <a:lnTo>
                    <a:pt x="13381" y="2635"/>
                  </a:lnTo>
                  <a:lnTo>
                    <a:pt x="13448" y="2750"/>
                  </a:lnTo>
                  <a:lnTo>
                    <a:pt x="13505" y="2874"/>
                  </a:lnTo>
                  <a:lnTo>
                    <a:pt x="13563" y="2999"/>
                  </a:lnTo>
                  <a:lnTo>
                    <a:pt x="13611" y="3123"/>
                  </a:lnTo>
                  <a:lnTo>
                    <a:pt x="13658" y="3248"/>
                  </a:lnTo>
                  <a:lnTo>
                    <a:pt x="13697" y="3382"/>
                  </a:lnTo>
                  <a:lnTo>
                    <a:pt x="13725" y="3516"/>
                  </a:lnTo>
                  <a:lnTo>
                    <a:pt x="13754" y="3650"/>
                  </a:lnTo>
                  <a:lnTo>
                    <a:pt x="13764" y="3794"/>
                  </a:lnTo>
                  <a:lnTo>
                    <a:pt x="13783" y="3928"/>
                  </a:lnTo>
                  <a:lnTo>
                    <a:pt x="13783" y="4072"/>
                  </a:lnTo>
                  <a:lnTo>
                    <a:pt x="15076" y="4072"/>
                  </a:lnTo>
                  <a:lnTo>
                    <a:pt x="15076" y="3861"/>
                  </a:lnTo>
                  <a:lnTo>
                    <a:pt x="15057" y="3660"/>
                  </a:lnTo>
                  <a:lnTo>
                    <a:pt x="15028" y="3459"/>
                  </a:lnTo>
                  <a:lnTo>
                    <a:pt x="14990" y="3257"/>
                  </a:lnTo>
                  <a:lnTo>
                    <a:pt x="14951" y="3056"/>
                  </a:lnTo>
                  <a:lnTo>
                    <a:pt x="14894" y="2865"/>
                  </a:lnTo>
                  <a:lnTo>
                    <a:pt x="14827" y="2673"/>
                  </a:lnTo>
                  <a:lnTo>
                    <a:pt x="14760" y="2491"/>
                  </a:lnTo>
                  <a:lnTo>
                    <a:pt x="14674" y="2309"/>
                  </a:lnTo>
                  <a:lnTo>
                    <a:pt x="14588" y="2137"/>
                  </a:lnTo>
                  <a:lnTo>
                    <a:pt x="14492" y="1964"/>
                  </a:lnTo>
                  <a:lnTo>
                    <a:pt x="14377" y="1802"/>
                  </a:lnTo>
                  <a:lnTo>
                    <a:pt x="14271" y="1639"/>
                  </a:lnTo>
                  <a:lnTo>
                    <a:pt x="14147" y="1485"/>
                  </a:lnTo>
                  <a:lnTo>
                    <a:pt x="14022" y="1342"/>
                  </a:lnTo>
                  <a:lnTo>
                    <a:pt x="13888" y="1198"/>
                  </a:lnTo>
                  <a:lnTo>
                    <a:pt x="13745" y="1064"/>
                  </a:lnTo>
                  <a:lnTo>
                    <a:pt x="13591" y="940"/>
                  </a:lnTo>
                  <a:lnTo>
                    <a:pt x="13438" y="815"/>
                  </a:lnTo>
                  <a:lnTo>
                    <a:pt x="13285" y="700"/>
                  </a:lnTo>
                  <a:lnTo>
                    <a:pt x="13112" y="595"/>
                  </a:lnTo>
                  <a:lnTo>
                    <a:pt x="12950" y="499"/>
                  </a:lnTo>
                  <a:lnTo>
                    <a:pt x="12768" y="403"/>
                  </a:lnTo>
                  <a:lnTo>
                    <a:pt x="12586" y="327"/>
                  </a:lnTo>
                  <a:lnTo>
                    <a:pt x="12404" y="250"/>
                  </a:lnTo>
                  <a:lnTo>
                    <a:pt x="12212" y="192"/>
                  </a:lnTo>
                  <a:lnTo>
                    <a:pt x="12021" y="135"/>
                  </a:lnTo>
                  <a:lnTo>
                    <a:pt x="11829" y="87"/>
                  </a:lnTo>
                  <a:lnTo>
                    <a:pt x="11628" y="49"/>
                  </a:lnTo>
                  <a:lnTo>
                    <a:pt x="11427" y="30"/>
                  </a:lnTo>
                  <a:lnTo>
                    <a:pt x="11216" y="10"/>
                  </a:lnTo>
                  <a:lnTo>
                    <a:pt x="11005"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26"/>
            <p:cNvSpPr/>
            <p:nvPr/>
          </p:nvSpPr>
          <p:spPr>
            <a:xfrm>
              <a:off x="7708076" y="3426608"/>
              <a:ext cx="134517" cy="208738"/>
            </a:xfrm>
            <a:custGeom>
              <a:avLst/>
              <a:gdLst/>
              <a:ahLst/>
              <a:cxnLst/>
              <a:rect l="l" t="t" r="r" b="b"/>
              <a:pathLst>
                <a:path w="3420" h="5307" extrusionOk="0">
                  <a:moveTo>
                    <a:pt x="0" y="0"/>
                  </a:moveTo>
                  <a:lnTo>
                    <a:pt x="642" y="5307"/>
                  </a:lnTo>
                  <a:lnTo>
                    <a:pt x="2768" y="5307"/>
                  </a:lnTo>
                  <a:lnTo>
                    <a:pt x="3420"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26"/>
            <p:cNvSpPr/>
            <p:nvPr/>
          </p:nvSpPr>
          <p:spPr>
            <a:xfrm>
              <a:off x="7343002" y="3414179"/>
              <a:ext cx="864646" cy="71624"/>
            </a:xfrm>
            <a:custGeom>
              <a:avLst/>
              <a:gdLst/>
              <a:ahLst/>
              <a:cxnLst/>
              <a:rect l="l" t="t" r="r" b="b"/>
              <a:pathLst>
                <a:path w="21983" h="1821" extrusionOk="0">
                  <a:moveTo>
                    <a:pt x="1" y="0"/>
                  </a:moveTo>
                  <a:lnTo>
                    <a:pt x="1" y="1820"/>
                  </a:lnTo>
                  <a:lnTo>
                    <a:pt x="21983" y="1820"/>
                  </a:lnTo>
                  <a:lnTo>
                    <a:pt x="21983"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26"/>
            <p:cNvSpPr/>
            <p:nvPr/>
          </p:nvSpPr>
          <p:spPr>
            <a:xfrm>
              <a:off x="7311733" y="3305310"/>
              <a:ext cx="926831" cy="137152"/>
            </a:xfrm>
            <a:custGeom>
              <a:avLst/>
              <a:gdLst/>
              <a:ahLst/>
              <a:cxnLst/>
              <a:rect l="l" t="t" r="r" b="b"/>
              <a:pathLst>
                <a:path w="23564" h="3487" extrusionOk="0">
                  <a:moveTo>
                    <a:pt x="3181" y="0"/>
                  </a:moveTo>
                  <a:lnTo>
                    <a:pt x="3008" y="19"/>
                  </a:lnTo>
                  <a:lnTo>
                    <a:pt x="2846" y="39"/>
                  </a:lnTo>
                  <a:lnTo>
                    <a:pt x="2683" y="67"/>
                  </a:lnTo>
                  <a:lnTo>
                    <a:pt x="2520" y="106"/>
                  </a:lnTo>
                  <a:lnTo>
                    <a:pt x="2357" y="154"/>
                  </a:lnTo>
                  <a:lnTo>
                    <a:pt x="2204" y="201"/>
                  </a:lnTo>
                  <a:lnTo>
                    <a:pt x="2051" y="259"/>
                  </a:lnTo>
                  <a:lnTo>
                    <a:pt x="1897" y="326"/>
                  </a:lnTo>
                  <a:lnTo>
                    <a:pt x="1754" y="403"/>
                  </a:lnTo>
                  <a:lnTo>
                    <a:pt x="1620" y="489"/>
                  </a:lnTo>
                  <a:lnTo>
                    <a:pt x="1476" y="575"/>
                  </a:lnTo>
                  <a:lnTo>
                    <a:pt x="1351" y="661"/>
                  </a:lnTo>
                  <a:lnTo>
                    <a:pt x="1227" y="767"/>
                  </a:lnTo>
                  <a:lnTo>
                    <a:pt x="1102" y="872"/>
                  </a:lnTo>
                  <a:lnTo>
                    <a:pt x="988" y="977"/>
                  </a:lnTo>
                  <a:lnTo>
                    <a:pt x="873" y="1092"/>
                  </a:lnTo>
                  <a:lnTo>
                    <a:pt x="767" y="1217"/>
                  </a:lnTo>
                  <a:lnTo>
                    <a:pt x="671" y="1341"/>
                  </a:lnTo>
                  <a:lnTo>
                    <a:pt x="576" y="1475"/>
                  </a:lnTo>
                  <a:lnTo>
                    <a:pt x="489" y="1609"/>
                  </a:lnTo>
                  <a:lnTo>
                    <a:pt x="403" y="1753"/>
                  </a:lnTo>
                  <a:lnTo>
                    <a:pt x="336" y="1897"/>
                  </a:lnTo>
                  <a:lnTo>
                    <a:pt x="269" y="2050"/>
                  </a:lnTo>
                  <a:lnTo>
                    <a:pt x="202" y="2194"/>
                  </a:lnTo>
                  <a:lnTo>
                    <a:pt x="154" y="2357"/>
                  </a:lnTo>
                  <a:lnTo>
                    <a:pt x="106" y="2510"/>
                  </a:lnTo>
                  <a:lnTo>
                    <a:pt x="68" y="2673"/>
                  </a:lnTo>
                  <a:lnTo>
                    <a:pt x="39" y="2835"/>
                  </a:lnTo>
                  <a:lnTo>
                    <a:pt x="20" y="3008"/>
                  </a:lnTo>
                  <a:lnTo>
                    <a:pt x="11" y="3180"/>
                  </a:lnTo>
                  <a:lnTo>
                    <a:pt x="1" y="3353"/>
                  </a:lnTo>
                  <a:lnTo>
                    <a:pt x="1" y="3487"/>
                  </a:lnTo>
                  <a:lnTo>
                    <a:pt x="23563" y="3487"/>
                  </a:lnTo>
                  <a:lnTo>
                    <a:pt x="23563" y="3353"/>
                  </a:lnTo>
                  <a:lnTo>
                    <a:pt x="23563" y="3180"/>
                  </a:lnTo>
                  <a:lnTo>
                    <a:pt x="23544" y="3008"/>
                  </a:lnTo>
                  <a:lnTo>
                    <a:pt x="23525" y="2835"/>
                  </a:lnTo>
                  <a:lnTo>
                    <a:pt x="23496" y="2673"/>
                  </a:lnTo>
                  <a:lnTo>
                    <a:pt x="23458" y="2510"/>
                  </a:lnTo>
                  <a:lnTo>
                    <a:pt x="23419" y="2357"/>
                  </a:lnTo>
                  <a:lnTo>
                    <a:pt x="23362" y="2194"/>
                  </a:lnTo>
                  <a:lnTo>
                    <a:pt x="23304" y="2050"/>
                  </a:lnTo>
                  <a:lnTo>
                    <a:pt x="23237" y="1897"/>
                  </a:lnTo>
                  <a:lnTo>
                    <a:pt x="23161" y="1753"/>
                  </a:lnTo>
                  <a:lnTo>
                    <a:pt x="23084" y="1609"/>
                  </a:lnTo>
                  <a:lnTo>
                    <a:pt x="22998" y="1475"/>
                  </a:lnTo>
                  <a:lnTo>
                    <a:pt x="22902" y="1341"/>
                  </a:lnTo>
                  <a:lnTo>
                    <a:pt x="22797" y="1217"/>
                  </a:lnTo>
                  <a:lnTo>
                    <a:pt x="22691" y="1092"/>
                  </a:lnTo>
                  <a:lnTo>
                    <a:pt x="22586" y="977"/>
                  </a:lnTo>
                  <a:lnTo>
                    <a:pt x="22471" y="872"/>
                  </a:lnTo>
                  <a:lnTo>
                    <a:pt x="22347" y="767"/>
                  </a:lnTo>
                  <a:lnTo>
                    <a:pt x="22222" y="661"/>
                  </a:lnTo>
                  <a:lnTo>
                    <a:pt x="22088" y="575"/>
                  </a:lnTo>
                  <a:lnTo>
                    <a:pt x="21954" y="489"/>
                  </a:lnTo>
                  <a:lnTo>
                    <a:pt x="21810" y="403"/>
                  </a:lnTo>
                  <a:lnTo>
                    <a:pt x="21667" y="326"/>
                  </a:lnTo>
                  <a:lnTo>
                    <a:pt x="21523" y="259"/>
                  </a:lnTo>
                  <a:lnTo>
                    <a:pt x="21370" y="201"/>
                  </a:lnTo>
                  <a:lnTo>
                    <a:pt x="21207" y="154"/>
                  </a:lnTo>
                  <a:lnTo>
                    <a:pt x="21054" y="106"/>
                  </a:lnTo>
                  <a:lnTo>
                    <a:pt x="20891" y="67"/>
                  </a:lnTo>
                  <a:lnTo>
                    <a:pt x="20728" y="39"/>
                  </a:lnTo>
                  <a:lnTo>
                    <a:pt x="20556" y="19"/>
                  </a:lnTo>
                  <a:lnTo>
                    <a:pt x="2038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26"/>
            <p:cNvSpPr/>
            <p:nvPr/>
          </p:nvSpPr>
          <p:spPr>
            <a:xfrm>
              <a:off x="7532147" y="1433376"/>
              <a:ext cx="1154684" cy="1453100"/>
            </a:xfrm>
            <a:custGeom>
              <a:avLst/>
              <a:gdLst/>
              <a:ahLst/>
              <a:cxnLst/>
              <a:rect l="l" t="t" r="r" b="b"/>
              <a:pathLst>
                <a:path w="29357" h="36944" extrusionOk="0">
                  <a:moveTo>
                    <a:pt x="4818" y="1"/>
                  </a:moveTo>
                  <a:lnTo>
                    <a:pt x="3276" y="6399"/>
                  </a:lnTo>
                  <a:lnTo>
                    <a:pt x="3391" y="6351"/>
                  </a:lnTo>
                  <a:lnTo>
                    <a:pt x="3707" y="6236"/>
                  </a:lnTo>
                  <a:lnTo>
                    <a:pt x="3927" y="6159"/>
                  </a:lnTo>
                  <a:lnTo>
                    <a:pt x="4176" y="6083"/>
                  </a:lnTo>
                  <a:lnTo>
                    <a:pt x="4454" y="6006"/>
                  </a:lnTo>
                  <a:lnTo>
                    <a:pt x="4751" y="5929"/>
                  </a:lnTo>
                  <a:lnTo>
                    <a:pt x="5048" y="5862"/>
                  </a:lnTo>
                  <a:lnTo>
                    <a:pt x="5364" y="5815"/>
                  </a:lnTo>
                  <a:lnTo>
                    <a:pt x="5670" y="5776"/>
                  </a:lnTo>
                  <a:lnTo>
                    <a:pt x="5824" y="5767"/>
                  </a:lnTo>
                  <a:lnTo>
                    <a:pt x="6111" y="5767"/>
                  </a:lnTo>
                  <a:lnTo>
                    <a:pt x="6255" y="5776"/>
                  </a:lnTo>
                  <a:lnTo>
                    <a:pt x="6389" y="5795"/>
                  </a:lnTo>
                  <a:lnTo>
                    <a:pt x="6523" y="5824"/>
                  </a:lnTo>
                  <a:lnTo>
                    <a:pt x="6647" y="5853"/>
                  </a:lnTo>
                  <a:lnTo>
                    <a:pt x="6762" y="5901"/>
                  </a:lnTo>
                  <a:lnTo>
                    <a:pt x="6868" y="5958"/>
                  </a:lnTo>
                  <a:lnTo>
                    <a:pt x="6963" y="6016"/>
                  </a:lnTo>
                  <a:lnTo>
                    <a:pt x="7059" y="6092"/>
                  </a:lnTo>
                  <a:lnTo>
                    <a:pt x="7145" y="6169"/>
                  </a:lnTo>
                  <a:lnTo>
                    <a:pt x="7318" y="6341"/>
                  </a:lnTo>
                  <a:lnTo>
                    <a:pt x="7471" y="6533"/>
                  </a:lnTo>
                  <a:lnTo>
                    <a:pt x="7615" y="6744"/>
                  </a:lnTo>
                  <a:lnTo>
                    <a:pt x="7739" y="6964"/>
                  </a:lnTo>
                  <a:lnTo>
                    <a:pt x="7854" y="7203"/>
                  </a:lnTo>
                  <a:lnTo>
                    <a:pt x="7940" y="7452"/>
                  </a:lnTo>
                  <a:lnTo>
                    <a:pt x="7979" y="7587"/>
                  </a:lnTo>
                  <a:lnTo>
                    <a:pt x="8017" y="7711"/>
                  </a:lnTo>
                  <a:lnTo>
                    <a:pt x="8036" y="7845"/>
                  </a:lnTo>
                  <a:lnTo>
                    <a:pt x="8065" y="7979"/>
                  </a:lnTo>
                  <a:lnTo>
                    <a:pt x="8074" y="8113"/>
                  </a:lnTo>
                  <a:lnTo>
                    <a:pt x="8084" y="8247"/>
                  </a:lnTo>
                  <a:lnTo>
                    <a:pt x="8084" y="8381"/>
                  </a:lnTo>
                  <a:lnTo>
                    <a:pt x="8084" y="8525"/>
                  </a:lnTo>
                  <a:lnTo>
                    <a:pt x="8065" y="8659"/>
                  </a:lnTo>
                  <a:lnTo>
                    <a:pt x="8046" y="8793"/>
                  </a:lnTo>
                  <a:lnTo>
                    <a:pt x="8027" y="8927"/>
                  </a:lnTo>
                  <a:lnTo>
                    <a:pt x="7988" y="9062"/>
                  </a:lnTo>
                  <a:lnTo>
                    <a:pt x="7950" y="9196"/>
                  </a:lnTo>
                  <a:lnTo>
                    <a:pt x="7893" y="9330"/>
                  </a:lnTo>
                  <a:lnTo>
                    <a:pt x="7835" y="9464"/>
                  </a:lnTo>
                  <a:lnTo>
                    <a:pt x="7768" y="9588"/>
                  </a:lnTo>
                  <a:lnTo>
                    <a:pt x="7691" y="9713"/>
                  </a:lnTo>
                  <a:lnTo>
                    <a:pt x="7605" y="9837"/>
                  </a:lnTo>
                  <a:lnTo>
                    <a:pt x="7270" y="10288"/>
                  </a:lnTo>
                  <a:lnTo>
                    <a:pt x="6839" y="10833"/>
                  </a:lnTo>
                  <a:lnTo>
                    <a:pt x="5757" y="12194"/>
                  </a:lnTo>
                  <a:lnTo>
                    <a:pt x="5134" y="12989"/>
                  </a:lnTo>
                  <a:lnTo>
                    <a:pt x="4492" y="13841"/>
                  </a:lnTo>
                  <a:lnTo>
                    <a:pt x="4167" y="14291"/>
                  </a:lnTo>
                  <a:lnTo>
                    <a:pt x="3831" y="14751"/>
                  </a:lnTo>
                  <a:lnTo>
                    <a:pt x="3506" y="15220"/>
                  </a:lnTo>
                  <a:lnTo>
                    <a:pt x="3180" y="15699"/>
                  </a:lnTo>
                  <a:lnTo>
                    <a:pt x="2864" y="16188"/>
                  </a:lnTo>
                  <a:lnTo>
                    <a:pt x="2548" y="16686"/>
                  </a:lnTo>
                  <a:lnTo>
                    <a:pt x="2241" y="17184"/>
                  </a:lnTo>
                  <a:lnTo>
                    <a:pt x="1945" y="17691"/>
                  </a:lnTo>
                  <a:lnTo>
                    <a:pt x="1667" y="18209"/>
                  </a:lnTo>
                  <a:lnTo>
                    <a:pt x="1399" y="18716"/>
                  </a:lnTo>
                  <a:lnTo>
                    <a:pt x="1150" y="19233"/>
                  </a:lnTo>
                  <a:lnTo>
                    <a:pt x="920" y="19751"/>
                  </a:lnTo>
                  <a:lnTo>
                    <a:pt x="709" y="20268"/>
                  </a:lnTo>
                  <a:lnTo>
                    <a:pt x="527" y="20776"/>
                  </a:lnTo>
                  <a:lnTo>
                    <a:pt x="441" y="21034"/>
                  </a:lnTo>
                  <a:lnTo>
                    <a:pt x="364" y="21283"/>
                  </a:lnTo>
                  <a:lnTo>
                    <a:pt x="297" y="21532"/>
                  </a:lnTo>
                  <a:lnTo>
                    <a:pt x="230" y="21791"/>
                  </a:lnTo>
                  <a:lnTo>
                    <a:pt x="173" y="22040"/>
                  </a:lnTo>
                  <a:lnTo>
                    <a:pt x="125" y="22289"/>
                  </a:lnTo>
                  <a:lnTo>
                    <a:pt x="86" y="22528"/>
                  </a:lnTo>
                  <a:lnTo>
                    <a:pt x="48" y="22777"/>
                  </a:lnTo>
                  <a:lnTo>
                    <a:pt x="29" y="23017"/>
                  </a:lnTo>
                  <a:lnTo>
                    <a:pt x="10" y="23256"/>
                  </a:lnTo>
                  <a:lnTo>
                    <a:pt x="0" y="23496"/>
                  </a:lnTo>
                  <a:lnTo>
                    <a:pt x="0" y="23735"/>
                  </a:lnTo>
                  <a:lnTo>
                    <a:pt x="10" y="23908"/>
                  </a:lnTo>
                  <a:lnTo>
                    <a:pt x="19" y="24080"/>
                  </a:lnTo>
                  <a:lnTo>
                    <a:pt x="48" y="24272"/>
                  </a:lnTo>
                  <a:lnTo>
                    <a:pt x="77" y="24473"/>
                  </a:lnTo>
                  <a:lnTo>
                    <a:pt x="153" y="24894"/>
                  </a:lnTo>
                  <a:lnTo>
                    <a:pt x="259" y="25344"/>
                  </a:lnTo>
                  <a:lnTo>
                    <a:pt x="402" y="25823"/>
                  </a:lnTo>
                  <a:lnTo>
                    <a:pt x="565" y="26321"/>
                  </a:lnTo>
                  <a:lnTo>
                    <a:pt x="766" y="26839"/>
                  </a:lnTo>
                  <a:lnTo>
                    <a:pt x="996" y="27384"/>
                  </a:lnTo>
                  <a:lnTo>
                    <a:pt x="1245" y="27930"/>
                  </a:lnTo>
                  <a:lnTo>
                    <a:pt x="1389" y="28218"/>
                  </a:lnTo>
                  <a:lnTo>
                    <a:pt x="1542" y="28496"/>
                  </a:lnTo>
                  <a:lnTo>
                    <a:pt x="1695" y="28783"/>
                  </a:lnTo>
                  <a:lnTo>
                    <a:pt x="1858" y="29070"/>
                  </a:lnTo>
                  <a:lnTo>
                    <a:pt x="2031" y="29348"/>
                  </a:lnTo>
                  <a:lnTo>
                    <a:pt x="2213" y="29635"/>
                  </a:lnTo>
                  <a:lnTo>
                    <a:pt x="2395" y="29923"/>
                  </a:lnTo>
                  <a:lnTo>
                    <a:pt x="2586" y="30210"/>
                  </a:lnTo>
                  <a:lnTo>
                    <a:pt x="2797" y="30497"/>
                  </a:lnTo>
                  <a:lnTo>
                    <a:pt x="3008" y="30785"/>
                  </a:lnTo>
                  <a:lnTo>
                    <a:pt x="3218" y="31072"/>
                  </a:lnTo>
                  <a:lnTo>
                    <a:pt x="3448" y="31350"/>
                  </a:lnTo>
                  <a:lnTo>
                    <a:pt x="3688" y="31628"/>
                  </a:lnTo>
                  <a:lnTo>
                    <a:pt x="3927" y="31905"/>
                  </a:lnTo>
                  <a:lnTo>
                    <a:pt x="4176" y="32183"/>
                  </a:lnTo>
                  <a:lnTo>
                    <a:pt x="4444" y="32451"/>
                  </a:lnTo>
                  <a:lnTo>
                    <a:pt x="4703" y="32719"/>
                  </a:lnTo>
                  <a:lnTo>
                    <a:pt x="4981" y="32978"/>
                  </a:lnTo>
                  <a:lnTo>
                    <a:pt x="5268" y="33237"/>
                  </a:lnTo>
                  <a:lnTo>
                    <a:pt x="5565" y="33495"/>
                  </a:lnTo>
                  <a:lnTo>
                    <a:pt x="5862" y="33735"/>
                  </a:lnTo>
                  <a:lnTo>
                    <a:pt x="6168" y="33984"/>
                  </a:lnTo>
                  <a:lnTo>
                    <a:pt x="6494" y="34214"/>
                  </a:lnTo>
                  <a:lnTo>
                    <a:pt x="6820" y="34444"/>
                  </a:lnTo>
                  <a:lnTo>
                    <a:pt x="7155" y="34664"/>
                  </a:lnTo>
                  <a:lnTo>
                    <a:pt x="7500" y="34875"/>
                  </a:lnTo>
                  <a:lnTo>
                    <a:pt x="7845" y="35076"/>
                  </a:lnTo>
                  <a:lnTo>
                    <a:pt x="8209" y="35277"/>
                  </a:lnTo>
                  <a:lnTo>
                    <a:pt x="8582" y="35468"/>
                  </a:lnTo>
                  <a:lnTo>
                    <a:pt x="8956" y="35641"/>
                  </a:lnTo>
                  <a:lnTo>
                    <a:pt x="9339" y="35813"/>
                  </a:lnTo>
                  <a:lnTo>
                    <a:pt x="9741" y="35966"/>
                  </a:lnTo>
                  <a:lnTo>
                    <a:pt x="10143" y="36120"/>
                  </a:lnTo>
                  <a:lnTo>
                    <a:pt x="10555" y="36254"/>
                  </a:lnTo>
                  <a:lnTo>
                    <a:pt x="10977" y="36388"/>
                  </a:lnTo>
                  <a:lnTo>
                    <a:pt x="11408" y="36503"/>
                  </a:lnTo>
                  <a:lnTo>
                    <a:pt x="11848" y="36599"/>
                  </a:lnTo>
                  <a:lnTo>
                    <a:pt x="12298" y="36694"/>
                  </a:lnTo>
                  <a:lnTo>
                    <a:pt x="12758" y="36771"/>
                  </a:lnTo>
                  <a:lnTo>
                    <a:pt x="13228" y="36828"/>
                  </a:lnTo>
                  <a:lnTo>
                    <a:pt x="13697" y="36886"/>
                  </a:lnTo>
                  <a:lnTo>
                    <a:pt x="14185" y="36915"/>
                  </a:lnTo>
                  <a:lnTo>
                    <a:pt x="14683" y="36943"/>
                  </a:lnTo>
                  <a:lnTo>
                    <a:pt x="15699" y="36943"/>
                  </a:lnTo>
                  <a:lnTo>
                    <a:pt x="16216" y="36915"/>
                  </a:lnTo>
                  <a:lnTo>
                    <a:pt x="16570" y="36886"/>
                  </a:lnTo>
                  <a:lnTo>
                    <a:pt x="16915" y="36857"/>
                  </a:lnTo>
                  <a:lnTo>
                    <a:pt x="17260" y="36819"/>
                  </a:lnTo>
                  <a:lnTo>
                    <a:pt x="17595" y="36771"/>
                  </a:lnTo>
                  <a:lnTo>
                    <a:pt x="17930" y="36723"/>
                  </a:lnTo>
                  <a:lnTo>
                    <a:pt x="18266" y="36666"/>
                  </a:lnTo>
                  <a:lnTo>
                    <a:pt x="18591" y="36599"/>
                  </a:lnTo>
                  <a:lnTo>
                    <a:pt x="18907" y="36532"/>
                  </a:lnTo>
                  <a:lnTo>
                    <a:pt x="19233" y="36455"/>
                  </a:lnTo>
                  <a:lnTo>
                    <a:pt x="19539" y="36369"/>
                  </a:lnTo>
                  <a:lnTo>
                    <a:pt x="19856" y="36283"/>
                  </a:lnTo>
                  <a:lnTo>
                    <a:pt x="20152" y="36187"/>
                  </a:lnTo>
                  <a:lnTo>
                    <a:pt x="20459" y="36081"/>
                  </a:lnTo>
                  <a:lnTo>
                    <a:pt x="20756" y="35976"/>
                  </a:lnTo>
                  <a:lnTo>
                    <a:pt x="21043" y="35861"/>
                  </a:lnTo>
                  <a:lnTo>
                    <a:pt x="21331" y="35746"/>
                  </a:lnTo>
                  <a:lnTo>
                    <a:pt x="21608" y="35622"/>
                  </a:lnTo>
                  <a:lnTo>
                    <a:pt x="21886" y="35497"/>
                  </a:lnTo>
                  <a:lnTo>
                    <a:pt x="22164" y="35363"/>
                  </a:lnTo>
                  <a:lnTo>
                    <a:pt x="22432" y="35229"/>
                  </a:lnTo>
                  <a:lnTo>
                    <a:pt x="22700" y="35085"/>
                  </a:lnTo>
                  <a:lnTo>
                    <a:pt x="22959" y="34932"/>
                  </a:lnTo>
                  <a:lnTo>
                    <a:pt x="23208" y="34788"/>
                  </a:lnTo>
                  <a:lnTo>
                    <a:pt x="23457" y="34626"/>
                  </a:lnTo>
                  <a:lnTo>
                    <a:pt x="23706" y="34463"/>
                  </a:lnTo>
                  <a:lnTo>
                    <a:pt x="23945" y="34300"/>
                  </a:lnTo>
                  <a:lnTo>
                    <a:pt x="24185" y="34127"/>
                  </a:lnTo>
                  <a:lnTo>
                    <a:pt x="24415" y="33955"/>
                  </a:lnTo>
                  <a:lnTo>
                    <a:pt x="24635" y="33773"/>
                  </a:lnTo>
                  <a:lnTo>
                    <a:pt x="24855" y="33591"/>
                  </a:lnTo>
                  <a:lnTo>
                    <a:pt x="25076" y="33409"/>
                  </a:lnTo>
                  <a:lnTo>
                    <a:pt x="25286" y="33218"/>
                  </a:lnTo>
                  <a:lnTo>
                    <a:pt x="25497" y="33026"/>
                  </a:lnTo>
                  <a:lnTo>
                    <a:pt x="25698" y="32825"/>
                  </a:lnTo>
                  <a:lnTo>
                    <a:pt x="25890" y="32624"/>
                  </a:lnTo>
                  <a:lnTo>
                    <a:pt x="26081" y="32423"/>
                  </a:lnTo>
                  <a:lnTo>
                    <a:pt x="26273" y="32212"/>
                  </a:lnTo>
                  <a:lnTo>
                    <a:pt x="26455" y="32001"/>
                  </a:lnTo>
                  <a:lnTo>
                    <a:pt x="26627" y="31790"/>
                  </a:lnTo>
                  <a:lnTo>
                    <a:pt x="26800" y="31570"/>
                  </a:lnTo>
                  <a:lnTo>
                    <a:pt x="26962" y="31350"/>
                  </a:lnTo>
                  <a:lnTo>
                    <a:pt x="27125" y="31130"/>
                  </a:lnTo>
                  <a:lnTo>
                    <a:pt x="27279" y="30909"/>
                  </a:lnTo>
                  <a:lnTo>
                    <a:pt x="27432" y="30679"/>
                  </a:lnTo>
                  <a:lnTo>
                    <a:pt x="27575" y="30449"/>
                  </a:lnTo>
                  <a:lnTo>
                    <a:pt x="27719" y="30220"/>
                  </a:lnTo>
                  <a:lnTo>
                    <a:pt x="27978" y="29741"/>
                  </a:lnTo>
                  <a:lnTo>
                    <a:pt x="28217" y="29262"/>
                  </a:lnTo>
                  <a:lnTo>
                    <a:pt x="28438" y="28773"/>
                  </a:lnTo>
                  <a:lnTo>
                    <a:pt x="28639" y="28285"/>
                  </a:lnTo>
                  <a:lnTo>
                    <a:pt x="28811" y="27787"/>
                  </a:lnTo>
                  <a:lnTo>
                    <a:pt x="28964" y="27279"/>
                  </a:lnTo>
                  <a:lnTo>
                    <a:pt x="29098" y="26771"/>
                  </a:lnTo>
                  <a:lnTo>
                    <a:pt x="29156" y="26513"/>
                  </a:lnTo>
                  <a:lnTo>
                    <a:pt x="29204" y="26264"/>
                  </a:lnTo>
                  <a:lnTo>
                    <a:pt x="29252" y="26005"/>
                  </a:lnTo>
                  <a:lnTo>
                    <a:pt x="29290" y="25747"/>
                  </a:lnTo>
                  <a:lnTo>
                    <a:pt x="29319" y="25536"/>
                  </a:lnTo>
                  <a:lnTo>
                    <a:pt x="29338" y="25325"/>
                  </a:lnTo>
                  <a:lnTo>
                    <a:pt x="29347" y="25105"/>
                  </a:lnTo>
                  <a:lnTo>
                    <a:pt x="29357" y="24885"/>
                  </a:lnTo>
                  <a:lnTo>
                    <a:pt x="29357" y="24664"/>
                  </a:lnTo>
                  <a:lnTo>
                    <a:pt x="29347" y="24444"/>
                  </a:lnTo>
                  <a:lnTo>
                    <a:pt x="29328" y="24214"/>
                  </a:lnTo>
                  <a:lnTo>
                    <a:pt x="29309" y="23994"/>
                  </a:lnTo>
                  <a:lnTo>
                    <a:pt x="29280" y="23764"/>
                  </a:lnTo>
                  <a:lnTo>
                    <a:pt x="29252" y="23524"/>
                  </a:lnTo>
                  <a:lnTo>
                    <a:pt x="29165" y="23055"/>
                  </a:lnTo>
                  <a:lnTo>
                    <a:pt x="29060" y="22586"/>
                  </a:lnTo>
                  <a:lnTo>
                    <a:pt x="28926" y="22097"/>
                  </a:lnTo>
                  <a:lnTo>
                    <a:pt x="28773" y="21609"/>
                  </a:lnTo>
                  <a:lnTo>
                    <a:pt x="28600" y="21111"/>
                  </a:lnTo>
                  <a:lnTo>
                    <a:pt x="28409" y="20613"/>
                  </a:lnTo>
                  <a:lnTo>
                    <a:pt x="28188" y="20105"/>
                  </a:lnTo>
                  <a:lnTo>
                    <a:pt x="27959" y="19597"/>
                  </a:lnTo>
                  <a:lnTo>
                    <a:pt x="27710" y="19080"/>
                  </a:lnTo>
                  <a:lnTo>
                    <a:pt x="27441" y="18563"/>
                  </a:lnTo>
                  <a:lnTo>
                    <a:pt x="27154" y="18046"/>
                  </a:lnTo>
                  <a:lnTo>
                    <a:pt x="26857" y="17519"/>
                  </a:lnTo>
                  <a:lnTo>
                    <a:pt x="26541" y="17002"/>
                  </a:lnTo>
                  <a:lnTo>
                    <a:pt x="26215" y="16475"/>
                  </a:lnTo>
                  <a:lnTo>
                    <a:pt x="25871" y="15948"/>
                  </a:lnTo>
                  <a:lnTo>
                    <a:pt x="25526" y="15431"/>
                  </a:lnTo>
                  <a:lnTo>
                    <a:pt x="25152" y="14904"/>
                  </a:lnTo>
                  <a:lnTo>
                    <a:pt x="24779" y="14387"/>
                  </a:lnTo>
                  <a:lnTo>
                    <a:pt x="24396" y="13860"/>
                  </a:lnTo>
                  <a:lnTo>
                    <a:pt x="24003" y="13353"/>
                  </a:lnTo>
                  <a:lnTo>
                    <a:pt x="23601" y="12835"/>
                  </a:lnTo>
                  <a:lnTo>
                    <a:pt x="23189" y="12328"/>
                  </a:lnTo>
                  <a:lnTo>
                    <a:pt x="22767" y="11820"/>
                  </a:lnTo>
                  <a:lnTo>
                    <a:pt x="22346" y="11312"/>
                  </a:lnTo>
                  <a:lnTo>
                    <a:pt x="21924" y="10824"/>
                  </a:lnTo>
                  <a:lnTo>
                    <a:pt x="21493" y="10326"/>
                  </a:lnTo>
                  <a:lnTo>
                    <a:pt x="21053" y="9847"/>
                  </a:lnTo>
                  <a:lnTo>
                    <a:pt x="20622" y="9368"/>
                  </a:lnTo>
                  <a:lnTo>
                    <a:pt x="20181" y="8899"/>
                  </a:lnTo>
                  <a:lnTo>
                    <a:pt x="19741" y="8439"/>
                  </a:lnTo>
                  <a:lnTo>
                    <a:pt x="19300" y="7989"/>
                  </a:lnTo>
                  <a:lnTo>
                    <a:pt x="18859" y="7539"/>
                  </a:lnTo>
                  <a:lnTo>
                    <a:pt x="18419" y="7108"/>
                  </a:lnTo>
                  <a:lnTo>
                    <a:pt x="17547" y="6265"/>
                  </a:lnTo>
                  <a:lnTo>
                    <a:pt x="16695" y="5479"/>
                  </a:lnTo>
                  <a:lnTo>
                    <a:pt x="15871" y="4732"/>
                  </a:lnTo>
                  <a:lnTo>
                    <a:pt x="15066" y="4052"/>
                  </a:lnTo>
                  <a:lnTo>
                    <a:pt x="14674" y="3727"/>
                  </a:lnTo>
                  <a:lnTo>
                    <a:pt x="14300" y="3420"/>
                  </a:lnTo>
                  <a:lnTo>
                    <a:pt x="13927" y="3133"/>
                  </a:lnTo>
                  <a:lnTo>
                    <a:pt x="13572" y="2855"/>
                  </a:lnTo>
                  <a:lnTo>
                    <a:pt x="13228" y="2596"/>
                  </a:lnTo>
                  <a:lnTo>
                    <a:pt x="12892" y="2357"/>
                  </a:lnTo>
                  <a:lnTo>
                    <a:pt x="12576" y="2137"/>
                  </a:lnTo>
                  <a:lnTo>
                    <a:pt x="12270" y="1926"/>
                  </a:lnTo>
                  <a:lnTo>
                    <a:pt x="11982" y="1744"/>
                  </a:lnTo>
                  <a:lnTo>
                    <a:pt x="11705" y="1581"/>
                  </a:lnTo>
                  <a:lnTo>
                    <a:pt x="11446" y="1437"/>
                  </a:lnTo>
                  <a:lnTo>
                    <a:pt x="11207" y="1313"/>
                  </a:lnTo>
                  <a:lnTo>
                    <a:pt x="10986" y="1207"/>
                  </a:lnTo>
                  <a:lnTo>
                    <a:pt x="10785" y="1131"/>
                  </a:lnTo>
                  <a:lnTo>
                    <a:pt x="10603" y="1073"/>
                  </a:lnTo>
                  <a:lnTo>
                    <a:pt x="10450" y="1035"/>
                  </a:lnTo>
                  <a:lnTo>
                    <a:pt x="10306" y="1025"/>
                  </a:lnTo>
                  <a:lnTo>
                    <a:pt x="10249" y="1025"/>
                  </a:lnTo>
                  <a:lnTo>
                    <a:pt x="10191" y="1035"/>
                  </a:lnTo>
                  <a:lnTo>
                    <a:pt x="9981" y="1083"/>
                  </a:lnTo>
                  <a:lnTo>
                    <a:pt x="9760" y="1112"/>
                  </a:lnTo>
                  <a:lnTo>
                    <a:pt x="9540" y="1131"/>
                  </a:lnTo>
                  <a:lnTo>
                    <a:pt x="9320" y="1140"/>
                  </a:lnTo>
                  <a:lnTo>
                    <a:pt x="9090" y="1140"/>
                  </a:lnTo>
                  <a:lnTo>
                    <a:pt x="8869" y="1131"/>
                  </a:lnTo>
                  <a:lnTo>
                    <a:pt x="8640" y="1121"/>
                  </a:lnTo>
                  <a:lnTo>
                    <a:pt x="8410" y="1093"/>
                  </a:lnTo>
                  <a:lnTo>
                    <a:pt x="8180" y="1064"/>
                  </a:lnTo>
                  <a:lnTo>
                    <a:pt x="7950" y="1025"/>
                  </a:lnTo>
                  <a:lnTo>
                    <a:pt x="7509" y="939"/>
                  </a:lnTo>
                  <a:lnTo>
                    <a:pt x="7078" y="834"/>
                  </a:lnTo>
                  <a:lnTo>
                    <a:pt x="6667" y="719"/>
                  </a:lnTo>
                  <a:lnTo>
                    <a:pt x="6283" y="594"/>
                  </a:lnTo>
                  <a:lnTo>
                    <a:pt x="5929" y="470"/>
                  </a:lnTo>
                  <a:lnTo>
                    <a:pt x="5613" y="345"/>
                  </a:lnTo>
                  <a:lnTo>
                    <a:pt x="5345" y="240"/>
                  </a:lnTo>
                  <a:lnTo>
                    <a:pt x="4962" y="68"/>
                  </a:lnTo>
                  <a:lnTo>
                    <a:pt x="481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948;p26"/>
            <p:cNvSpPr/>
            <p:nvPr/>
          </p:nvSpPr>
          <p:spPr>
            <a:xfrm>
              <a:off x="7128685" y="1433376"/>
              <a:ext cx="722971" cy="837900"/>
            </a:xfrm>
            <a:custGeom>
              <a:avLst/>
              <a:gdLst/>
              <a:ahLst/>
              <a:cxnLst/>
              <a:rect l="l" t="t" r="r" b="b"/>
              <a:pathLst>
                <a:path w="18381" h="21303" extrusionOk="0">
                  <a:moveTo>
                    <a:pt x="11551" y="1"/>
                  </a:moveTo>
                  <a:lnTo>
                    <a:pt x="10919" y="403"/>
                  </a:lnTo>
                  <a:lnTo>
                    <a:pt x="10306" y="815"/>
                  </a:lnTo>
                  <a:lnTo>
                    <a:pt x="9703" y="1236"/>
                  </a:lnTo>
                  <a:lnTo>
                    <a:pt x="9118" y="1658"/>
                  </a:lnTo>
                  <a:lnTo>
                    <a:pt x="8553" y="2079"/>
                  </a:lnTo>
                  <a:lnTo>
                    <a:pt x="8007" y="2501"/>
                  </a:lnTo>
                  <a:lnTo>
                    <a:pt x="7471" y="2932"/>
                  </a:lnTo>
                  <a:lnTo>
                    <a:pt x="6954" y="3353"/>
                  </a:lnTo>
                  <a:lnTo>
                    <a:pt x="6456" y="3784"/>
                  </a:lnTo>
                  <a:lnTo>
                    <a:pt x="5977" y="4205"/>
                  </a:lnTo>
                  <a:lnTo>
                    <a:pt x="5507" y="4627"/>
                  </a:lnTo>
                  <a:lnTo>
                    <a:pt x="5067" y="5039"/>
                  </a:lnTo>
                  <a:lnTo>
                    <a:pt x="4636" y="5451"/>
                  </a:lnTo>
                  <a:lnTo>
                    <a:pt x="4224" y="5862"/>
                  </a:lnTo>
                  <a:lnTo>
                    <a:pt x="3831" y="6265"/>
                  </a:lnTo>
                  <a:lnTo>
                    <a:pt x="3458" y="6657"/>
                  </a:lnTo>
                  <a:lnTo>
                    <a:pt x="3103" y="7041"/>
                  </a:lnTo>
                  <a:lnTo>
                    <a:pt x="2768" y="7405"/>
                  </a:lnTo>
                  <a:lnTo>
                    <a:pt x="2442" y="7768"/>
                  </a:lnTo>
                  <a:lnTo>
                    <a:pt x="2146" y="8123"/>
                  </a:lnTo>
                  <a:lnTo>
                    <a:pt x="1868" y="8458"/>
                  </a:lnTo>
                  <a:lnTo>
                    <a:pt x="1600" y="8784"/>
                  </a:lnTo>
                  <a:lnTo>
                    <a:pt x="1360" y="9090"/>
                  </a:lnTo>
                  <a:lnTo>
                    <a:pt x="1130" y="9387"/>
                  </a:lnTo>
                  <a:lnTo>
                    <a:pt x="929" y="9665"/>
                  </a:lnTo>
                  <a:lnTo>
                    <a:pt x="747" y="9924"/>
                  </a:lnTo>
                  <a:lnTo>
                    <a:pt x="584" y="10173"/>
                  </a:lnTo>
                  <a:lnTo>
                    <a:pt x="441" y="10393"/>
                  </a:lnTo>
                  <a:lnTo>
                    <a:pt x="316" y="10594"/>
                  </a:lnTo>
                  <a:lnTo>
                    <a:pt x="211" y="10776"/>
                  </a:lnTo>
                  <a:lnTo>
                    <a:pt x="125" y="10929"/>
                  </a:lnTo>
                  <a:lnTo>
                    <a:pt x="57" y="11063"/>
                  </a:lnTo>
                  <a:lnTo>
                    <a:pt x="29" y="11159"/>
                  </a:lnTo>
                  <a:lnTo>
                    <a:pt x="10" y="11255"/>
                  </a:lnTo>
                  <a:lnTo>
                    <a:pt x="0" y="11351"/>
                  </a:lnTo>
                  <a:lnTo>
                    <a:pt x="0" y="11446"/>
                  </a:lnTo>
                  <a:lnTo>
                    <a:pt x="19" y="11542"/>
                  </a:lnTo>
                  <a:lnTo>
                    <a:pt x="48" y="11638"/>
                  </a:lnTo>
                  <a:lnTo>
                    <a:pt x="86" y="11734"/>
                  </a:lnTo>
                  <a:lnTo>
                    <a:pt x="144" y="11810"/>
                  </a:lnTo>
                  <a:lnTo>
                    <a:pt x="498" y="12299"/>
                  </a:lnTo>
                  <a:lnTo>
                    <a:pt x="862" y="12778"/>
                  </a:lnTo>
                  <a:lnTo>
                    <a:pt x="1226" y="13228"/>
                  </a:lnTo>
                  <a:lnTo>
                    <a:pt x="1580" y="13669"/>
                  </a:lnTo>
                  <a:lnTo>
                    <a:pt x="1944" y="14090"/>
                  </a:lnTo>
                  <a:lnTo>
                    <a:pt x="2308" y="14492"/>
                  </a:lnTo>
                  <a:lnTo>
                    <a:pt x="2672" y="14885"/>
                  </a:lnTo>
                  <a:lnTo>
                    <a:pt x="3027" y="15268"/>
                  </a:lnTo>
                  <a:lnTo>
                    <a:pt x="3391" y="15623"/>
                  </a:lnTo>
                  <a:lnTo>
                    <a:pt x="3745" y="15967"/>
                  </a:lnTo>
                  <a:lnTo>
                    <a:pt x="4109" y="16303"/>
                  </a:lnTo>
                  <a:lnTo>
                    <a:pt x="4463" y="16619"/>
                  </a:lnTo>
                  <a:lnTo>
                    <a:pt x="4818" y="16925"/>
                  </a:lnTo>
                  <a:lnTo>
                    <a:pt x="5172" y="17222"/>
                  </a:lnTo>
                  <a:lnTo>
                    <a:pt x="5517" y="17500"/>
                  </a:lnTo>
                  <a:lnTo>
                    <a:pt x="5871" y="17758"/>
                  </a:lnTo>
                  <a:lnTo>
                    <a:pt x="6216" y="18017"/>
                  </a:lnTo>
                  <a:lnTo>
                    <a:pt x="6561" y="18257"/>
                  </a:lnTo>
                  <a:lnTo>
                    <a:pt x="6896" y="18486"/>
                  </a:lnTo>
                  <a:lnTo>
                    <a:pt x="7241" y="18707"/>
                  </a:lnTo>
                  <a:lnTo>
                    <a:pt x="7576" y="18908"/>
                  </a:lnTo>
                  <a:lnTo>
                    <a:pt x="7902" y="19099"/>
                  </a:lnTo>
                  <a:lnTo>
                    <a:pt x="8228" y="19291"/>
                  </a:lnTo>
                  <a:lnTo>
                    <a:pt x="8553" y="19463"/>
                  </a:lnTo>
                  <a:lnTo>
                    <a:pt x="8879" y="19626"/>
                  </a:lnTo>
                  <a:lnTo>
                    <a:pt x="9195" y="19779"/>
                  </a:lnTo>
                  <a:lnTo>
                    <a:pt x="9501" y="19923"/>
                  </a:lnTo>
                  <a:lnTo>
                    <a:pt x="9808" y="20057"/>
                  </a:lnTo>
                  <a:lnTo>
                    <a:pt x="10114" y="20182"/>
                  </a:lnTo>
                  <a:lnTo>
                    <a:pt x="10411" y="20306"/>
                  </a:lnTo>
                  <a:lnTo>
                    <a:pt x="10699" y="20412"/>
                  </a:lnTo>
                  <a:lnTo>
                    <a:pt x="10986" y="20517"/>
                  </a:lnTo>
                  <a:lnTo>
                    <a:pt x="11542" y="20689"/>
                  </a:lnTo>
                  <a:lnTo>
                    <a:pt x="12068" y="20843"/>
                  </a:lnTo>
                  <a:lnTo>
                    <a:pt x="12576" y="20967"/>
                  </a:lnTo>
                  <a:lnTo>
                    <a:pt x="13055" y="21072"/>
                  </a:lnTo>
                  <a:lnTo>
                    <a:pt x="13505" y="21149"/>
                  </a:lnTo>
                  <a:lnTo>
                    <a:pt x="13917" y="21207"/>
                  </a:lnTo>
                  <a:lnTo>
                    <a:pt x="14310" y="21245"/>
                  </a:lnTo>
                  <a:lnTo>
                    <a:pt x="14664" y="21274"/>
                  </a:lnTo>
                  <a:lnTo>
                    <a:pt x="14980" y="21293"/>
                  </a:lnTo>
                  <a:lnTo>
                    <a:pt x="15258" y="21302"/>
                  </a:lnTo>
                  <a:lnTo>
                    <a:pt x="15497" y="21302"/>
                  </a:lnTo>
                  <a:lnTo>
                    <a:pt x="15699" y="21293"/>
                  </a:lnTo>
                  <a:lnTo>
                    <a:pt x="15976" y="21274"/>
                  </a:lnTo>
                  <a:lnTo>
                    <a:pt x="16072" y="21264"/>
                  </a:lnTo>
                  <a:lnTo>
                    <a:pt x="16369" y="21235"/>
                  </a:lnTo>
                  <a:lnTo>
                    <a:pt x="16647" y="21187"/>
                  </a:lnTo>
                  <a:lnTo>
                    <a:pt x="16905" y="21130"/>
                  </a:lnTo>
                  <a:lnTo>
                    <a:pt x="17135" y="21053"/>
                  </a:lnTo>
                  <a:lnTo>
                    <a:pt x="17356" y="20958"/>
                  </a:lnTo>
                  <a:lnTo>
                    <a:pt x="17547" y="20852"/>
                  </a:lnTo>
                  <a:lnTo>
                    <a:pt x="17719" y="20728"/>
                  </a:lnTo>
                  <a:lnTo>
                    <a:pt x="17873" y="20594"/>
                  </a:lnTo>
                  <a:lnTo>
                    <a:pt x="18007" y="20450"/>
                  </a:lnTo>
                  <a:lnTo>
                    <a:pt x="18122" y="20297"/>
                  </a:lnTo>
                  <a:lnTo>
                    <a:pt x="18218" y="20134"/>
                  </a:lnTo>
                  <a:lnTo>
                    <a:pt x="18285" y="19961"/>
                  </a:lnTo>
                  <a:lnTo>
                    <a:pt x="18342" y="19779"/>
                  </a:lnTo>
                  <a:lnTo>
                    <a:pt x="18371" y="19588"/>
                  </a:lnTo>
                  <a:lnTo>
                    <a:pt x="18380" y="19396"/>
                  </a:lnTo>
                  <a:lnTo>
                    <a:pt x="18371" y="19195"/>
                  </a:lnTo>
                  <a:lnTo>
                    <a:pt x="18342" y="18994"/>
                  </a:lnTo>
                  <a:lnTo>
                    <a:pt x="18294" y="18793"/>
                  </a:lnTo>
                  <a:lnTo>
                    <a:pt x="18227" y="18582"/>
                  </a:lnTo>
                  <a:lnTo>
                    <a:pt x="18141" y="18371"/>
                  </a:lnTo>
                  <a:lnTo>
                    <a:pt x="18026" y="18161"/>
                  </a:lnTo>
                  <a:lnTo>
                    <a:pt x="17901" y="17940"/>
                  </a:lnTo>
                  <a:lnTo>
                    <a:pt x="17748" y="17730"/>
                  </a:lnTo>
                  <a:lnTo>
                    <a:pt x="17585" y="17529"/>
                  </a:lnTo>
                  <a:lnTo>
                    <a:pt x="17394" y="17318"/>
                  </a:lnTo>
                  <a:lnTo>
                    <a:pt x="17183" y="17117"/>
                  </a:lnTo>
                  <a:lnTo>
                    <a:pt x="16963" y="16916"/>
                  </a:lnTo>
                  <a:lnTo>
                    <a:pt x="16714" y="16724"/>
                  </a:lnTo>
                  <a:lnTo>
                    <a:pt x="16446" y="16532"/>
                  </a:lnTo>
                  <a:lnTo>
                    <a:pt x="16158" y="16360"/>
                  </a:lnTo>
                  <a:lnTo>
                    <a:pt x="15852" y="16188"/>
                  </a:lnTo>
                  <a:lnTo>
                    <a:pt x="15526" y="16025"/>
                  </a:lnTo>
                  <a:lnTo>
                    <a:pt x="14817" y="15699"/>
                  </a:lnTo>
                  <a:lnTo>
                    <a:pt x="14022" y="15345"/>
                  </a:lnTo>
                  <a:lnTo>
                    <a:pt x="13179" y="14981"/>
                  </a:lnTo>
                  <a:lnTo>
                    <a:pt x="12289" y="14607"/>
                  </a:lnTo>
                  <a:lnTo>
                    <a:pt x="10459" y="13851"/>
                  </a:lnTo>
                  <a:lnTo>
                    <a:pt x="8659" y="13132"/>
                  </a:lnTo>
                  <a:lnTo>
                    <a:pt x="7021" y="12491"/>
                  </a:lnTo>
                  <a:lnTo>
                    <a:pt x="5689" y="11973"/>
                  </a:lnTo>
                  <a:lnTo>
                    <a:pt x="4463" y="11494"/>
                  </a:lnTo>
                  <a:lnTo>
                    <a:pt x="10804" y="2175"/>
                  </a:lnTo>
                  <a:lnTo>
                    <a:pt x="11015" y="1868"/>
                  </a:lnTo>
                  <a:lnTo>
                    <a:pt x="11216" y="1533"/>
                  </a:lnTo>
                  <a:lnTo>
                    <a:pt x="11408" y="1188"/>
                  </a:lnTo>
                  <a:lnTo>
                    <a:pt x="11494" y="1016"/>
                  </a:lnTo>
                  <a:lnTo>
                    <a:pt x="11561" y="853"/>
                  </a:lnTo>
                  <a:lnTo>
                    <a:pt x="11628" y="700"/>
                  </a:lnTo>
                  <a:lnTo>
                    <a:pt x="11666" y="556"/>
                  </a:lnTo>
                  <a:lnTo>
                    <a:pt x="11704" y="422"/>
                  </a:lnTo>
                  <a:lnTo>
                    <a:pt x="11714" y="298"/>
                  </a:lnTo>
                  <a:lnTo>
                    <a:pt x="11704" y="192"/>
                  </a:lnTo>
                  <a:lnTo>
                    <a:pt x="11695" y="144"/>
                  </a:lnTo>
                  <a:lnTo>
                    <a:pt x="11676" y="106"/>
                  </a:lnTo>
                  <a:lnTo>
                    <a:pt x="11657" y="68"/>
                  </a:lnTo>
                  <a:lnTo>
                    <a:pt x="11628" y="39"/>
                  </a:lnTo>
                  <a:lnTo>
                    <a:pt x="11590" y="20"/>
                  </a:lnTo>
                  <a:lnTo>
                    <a:pt x="11551"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26"/>
            <p:cNvSpPr/>
            <p:nvPr/>
          </p:nvSpPr>
          <p:spPr>
            <a:xfrm>
              <a:off x="7365617" y="1934024"/>
              <a:ext cx="505226" cy="418222"/>
            </a:xfrm>
            <a:custGeom>
              <a:avLst/>
              <a:gdLst/>
              <a:ahLst/>
              <a:cxnLst/>
              <a:rect l="l" t="t" r="r" b="b"/>
              <a:pathLst>
                <a:path w="12845" h="10633" extrusionOk="0">
                  <a:moveTo>
                    <a:pt x="1619" y="1"/>
                  </a:moveTo>
                  <a:lnTo>
                    <a:pt x="1" y="6667"/>
                  </a:lnTo>
                  <a:lnTo>
                    <a:pt x="547" y="6964"/>
                  </a:lnTo>
                  <a:lnTo>
                    <a:pt x="1093" y="7242"/>
                  </a:lnTo>
                  <a:lnTo>
                    <a:pt x="1629" y="7510"/>
                  </a:lnTo>
                  <a:lnTo>
                    <a:pt x="2156" y="7759"/>
                  </a:lnTo>
                  <a:lnTo>
                    <a:pt x="2673" y="7999"/>
                  </a:lnTo>
                  <a:lnTo>
                    <a:pt x="3181" y="8229"/>
                  </a:lnTo>
                  <a:lnTo>
                    <a:pt x="3679" y="8439"/>
                  </a:lnTo>
                  <a:lnTo>
                    <a:pt x="4177" y="8640"/>
                  </a:lnTo>
                  <a:lnTo>
                    <a:pt x="4656" y="8832"/>
                  </a:lnTo>
                  <a:lnTo>
                    <a:pt x="5125" y="9014"/>
                  </a:lnTo>
                  <a:lnTo>
                    <a:pt x="5575" y="9177"/>
                  </a:lnTo>
                  <a:lnTo>
                    <a:pt x="6016" y="9330"/>
                  </a:lnTo>
                  <a:lnTo>
                    <a:pt x="6859" y="9608"/>
                  </a:lnTo>
                  <a:lnTo>
                    <a:pt x="7634" y="9857"/>
                  </a:lnTo>
                  <a:lnTo>
                    <a:pt x="8343" y="10058"/>
                  </a:lnTo>
                  <a:lnTo>
                    <a:pt x="8975" y="10221"/>
                  </a:lnTo>
                  <a:lnTo>
                    <a:pt x="9531" y="10355"/>
                  </a:lnTo>
                  <a:lnTo>
                    <a:pt x="10000" y="10460"/>
                  </a:lnTo>
                  <a:lnTo>
                    <a:pt x="10374" y="10537"/>
                  </a:lnTo>
                  <a:lnTo>
                    <a:pt x="10642" y="10594"/>
                  </a:lnTo>
                  <a:lnTo>
                    <a:pt x="10872" y="10633"/>
                  </a:lnTo>
                  <a:lnTo>
                    <a:pt x="11025" y="10614"/>
                  </a:lnTo>
                  <a:lnTo>
                    <a:pt x="11169" y="10594"/>
                  </a:lnTo>
                  <a:lnTo>
                    <a:pt x="11303" y="10566"/>
                  </a:lnTo>
                  <a:lnTo>
                    <a:pt x="11437" y="10527"/>
                  </a:lnTo>
                  <a:lnTo>
                    <a:pt x="11561" y="10489"/>
                  </a:lnTo>
                  <a:lnTo>
                    <a:pt x="11686" y="10441"/>
                  </a:lnTo>
                  <a:lnTo>
                    <a:pt x="11801" y="10384"/>
                  </a:lnTo>
                  <a:lnTo>
                    <a:pt x="11906" y="10326"/>
                  </a:lnTo>
                  <a:lnTo>
                    <a:pt x="12012" y="10259"/>
                  </a:lnTo>
                  <a:lnTo>
                    <a:pt x="12098" y="10182"/>
                  </a:lnTo>
                  <a:lnTo>
                    <a:pt x="12194" y="10106"/>
                  </a:lnTo>
                  <a:lnTo>
                    <a:pt x="12270" y="10020"/>
                  </a:lnTo>
                  <a:lnTo>
                    <a:pt x="12356" y="9933"/>
                  </a:lnTo>
                  <a:lnTo>
                    <a:pt x="12423" y="9838"/>
                  </a:lnTo>
                  <a:lnTo>
                    <a:pt x="12490" y="9742"/>
                  </a:lnTo>
                  <a:lnTo>
                    <a:pt x="12548" y="9637"/>
                  </a:lnTo>
                  <a:lnTo>
                    <a:pt x="12605" y="9531"/>
                  </a:lnTo>
                  <a:lnTo>
                    <a:pt x="12653" y="9416"/>
                  </a:lnTo>
                  <a:lnTo>
                    <a:pt x="12692" y="9301"/>
                  </a:lnTo>
                  <a:lnTo>
                    <a:pt x="12730" y="9177"/>
                  </a:lnTo>
                  <a:lnTo>
                    <a:pt x="12768" y="9052"/>
                  </a:lnTo>
                  <a:lnTo>
                    <a:pt x="12787" y="8928"/>
                  </a:lnTo>
                  <a:lnTo>
                    <a:pt x="12816" y="8794"/>
                  </a:lnTo>
                  <a:lnTo>
                    <a:pt x="12826" y="8660"/>
                  </a:lnTo>
                  <a:lnTo>
                    <a:pt x="12845" y="8391"/>
                  </a:lnTo>
                  <a:lnTo>
                    <a:pt x="12835" y="8104"/>
                  </a:lnTo>
                  <a:lnTo>
                    <a:pt x="12807" y="7817"/>
                  </a:lnTo>
                  <a:lnTo>
                    <a:pt x="12759" y="7520"/>
                  </a:lnTo>
                  <a:lnTo>
                    <a:pt x="12692" y="7213"/>
                  </a:lnTo>
                  <a:lnTo>
                    <a:pt x="12605" y="6916"/>
                  </a:lnTo>
                  <a:lnTo>
                    <a:pt x="12500" y="6610"/>
                  </a:lnTo>
                  <a:lnTo>
                    <a:pt x="12376" y="6303"/>
                  </a:lnTo>
                  <a:lnTo>
                    <a:pt x="12232" y="5997"/>
                  </a:lnTo>
                  <a:lnTo>
                    <a:pt x="12069" y="5700"/>
                  </a:lnTo>
                  <a:lnTo>
                    <a:pt x="11887" y="5413"/>
                  </a:lnTo>
                  <a:lnTo>
                    <a:pt x="11686" y="5125"/>
                  </a:lnTo>
                  <a:lnTo>
                    <a:pt x="11475" y="4847"/>
                  </a:lnTo>
                  <a:lnTo>
                    <a:pt x="11236" y="4579"/>
                  </a:lnTo>
                  <a:lnTo>
                    <a:pt x="10987" y="4321"/>
                  </a:lnTo>
                  <a:lnTo>
                    <a:pt x="10719" y="4081"/>
                  </a:lnTo>
                  <a:lnTo>
                    <a:pt x="10441" y="3861"/>
                  </a:lnTo>
                  <a:lnTo>
                    <a:pt x="10297" y="3756"/>
                  </a:lnTo>
                  <a:lnTo>
                    <a:pt x="10144" y="3650"/>
                  </a:lnTo>
                  <a:lnTo>
                    <a:pt x="9991" y="3554"/>
                  </a:lnTo>
                  <a:lnTo>
                    <a:pt x="9828" y="3459"/>
                  </a:lnTo>
                  <a:lnTo>
                    <a:pt x="9665" y="3372"/>
                  </a:lnTo>
                  <a:lnTo>
                    <a:pt x="9502" y="3296"/>
                  </a:lnTo>
                  <a:lnTo>
                    <a:pt x="8525" y="2846"/>
                  </a:lnTo>
                  <a:lnTo>
                    <a:pt x="7529" y="2405"/>
                  </a:lnTo>
                  <a:lnTo>
                    <a:pt x="6514" y="1964"/>
                  </a:lnTo>
                  <a:lnTo>
                    <a:pt x="5498" y="1543"/>
                  </a:lnTo>
                  <a:lnTo>
                    <a:pt x="4493" y="1131"/>
                  </a:lnTo>
                  <a:lnTo>
                    <a:pt x="3497" y="738"/>
                  </a:lnTo>
                  <a:lnTo>
                    <a:pt x="161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26"/>
            <p:cNvSpPr/>
            <p:nvPr/>
          </p:nvSpPr>
          <p:spPr>
            <a:xfrm>
              <a:off x="7778519" y="1446945"/>
              <a:ext cx="622397" cy="789679"/>
            </a:xfrm>
            <a:custGeom>
              <a:avLst/>
              <a:gdLst/>
              <a:ahLst/>
              <a:cxnLst/>
              <a:rect l="l" t="t" r="r" b="b"/>
              <a:pathLst>
                <a:path w="15824" h="20077" extrusionOk="0">
                  <a:moveTo>
                    <a:pt x="546" y="0"/>
                  </a:moveTo>
                  <a:lnTo>
                    <a:pt x="412" y="163"/>
                  </a:lnTo>
                  <a:lnTo>
                    <a:pt x="307" y="336"/>
                  </a:lnTo>
                  <a:lnTo>
                    <a:pt x="211" y="508"/>
                  </a:lnTo>
                  <a:lnTo>
                    <a:pt x="144" y="690"/>
                  </a:lnTo>
                  <a:lnTo>
                    <a:pt x="86" y="882"/>
                  </a:lnTo>
                  <a:lnTo>
                    <a:pt x="39" y="1073"/>
                  </a:lnTo>
                  <a:lnTo>
                    <a:pt x="19" y="1274"/>
                  </a:lnTo>
                  <a:lnTo>
                    <a:pt x="0" y="1475"/>
                  </a:lnTo>
                  <a:lnTo>
                    <a:pt x="11475" y="6629"/>
                  </a:lnTo>
                  <a:lnTo>
                    <a:pt x="10900" y="7328"/>
                  </a:lnTo>
                  <a:lnTo>
                    <a:pt x="10249" y="8123"/>
                  </a:lnTo>
                  <a:lnTo>
                    <a:pt x="9444" y="9148"/>
                  </a:lnTo>
                  <a:lnTo>
                    <a:pt x="8515" y="10345"/>
                  </a:lnTo>
                  <a:lnTo>
                    <a:pt x="8036" y="10987"/>
                  </a:lnTo>
                  <a:lnTo>
                    <a:pt x="7538" y="11657"/>
                  </a:lnTo>
                  <a:lnTo>
                    <a:pt x="7040" y="12337"/>
                  </a:lnTo>
                  <a:lnTo>
                    <a:pt x="6542" y="13036"/>
                  </a:lnTo>
                  <a:lnTo>
                    <a:pt x="6063" y="13735"/>
                  </a:lnTo>
                  <a:lnTo>
                    <a:pt x="5603" y="14425"/>
                  </a:lnTo>
                  <a:lnTo>
                    <a:pt x="5498" y="14597"/>
                  </a:lnTo>
                  <a:lnTo>
                    <a:pt x="5393" y="14770"/>
                  </a:lnTo>
                  <a:lnTo>
                    <a:pt x="5297" y="14942"/>
                  </a:lnTo>
                  <a:lnTo>
                    <a:pt x="5211" y="15115"/>
                  </a:lnTo>
                  <a:lnTo>
                    <a:pt x="5134" y="15278"/>
                  </a:lnTo>
                  <a:lnTo>
                    <a:pt x="5057" y="15450"/>
                  </a:lnTo>
                  <a:lnTo>
                    <a:pt x="4990" y="15613"/>
                  </a:lnTo>
                  <a:lnTo>
                    <a:pt x="4933" y="15776"/>
                  </a:lnTo>
                  <a:lnTo>
                    <a:pt x="4875" y="15938"/>
                  </a:lnTo>
                  <a:lnTo>
                    <a:pt x="4837" y="16101"/>
                  </a:lnTo>
                  <a:lnTo>
                    <a:pt x="4789" y="16264"/>
                  </a:lnTo>
                  <a:lnTo>
                    <a:pt x="4761" y="16417"/>
                  </a:lnTo>
                  <a:lnTo>
                    <a:pt x="4732" y="16580"/>
                  </a:lnTo>
                  <a:lnTo>
                    <a:pt x="4713" y="16733"/>
                  </a:lnTo>
                  <a:lnTo>
                    <a:pt x="4703" y="16887"/>
                  </a:lnTo>
                  <a:lnTo>
                    <a:pt x="4693" y="17030"/>
                  </a:lnTo>
                  <a:lnTo>
                    <a:pt x="4684" y="17184"/>
                  </a:lnTo>
                  <a:lnTo>
                    <a:pt x="4693" y="17327"/>
                  </a:lnTo>
                  <a:lnTo>
                    <a:pt x="4703" y="17471"/>
                  </a:lnTo>
                  <a:lnTo>
                    <a:pt x="4713" y="17605"/>
                  </a:lnTo>
                  <a:lnTo>
                    <a:pt x="4761" y="17883"/>
                  </a:lnTo>
                  <a:lnTo>
                    <a:pt x="4818" y="18141"/>
                  </a:lnTo>
                  <a:lnTo>
                    <a:pt x="4904" y="18381"/>
                  </a:lnTo>
                  <a:lnTo>
                    <a:pt x="5010" y="18620"/>
                  </a:lnTo>
                  <a:lnTo>
                    <a:pt x="5134" y="18841"/>
                  </a:lnTo>
                  <a:lnTo>
                    <a:pt x="5278" y="19042"/>
                  </a:lnTo>
                  <a:lnTo>
                    <a:pt x="5431" y="19233"/>
                  </a:lnTo>
                  <a:lnTo>
                    <a:pt x="5603" y="19396"/>
                  </a:lnTo>
                  <a:lnTo>
                    <a:pt x="5690" y="19482"/>
                  </a:lnTo>
                  <a:lnTo>
                    <a:pt x="5785" y="19549"/>
                  </a:lnTo>
                  <a:lnTo>
                    <a:pt x="5891" y="19626"/>
                  </a:lnTo>
                  <a:lnTo>
                    <a:pt x="5987" y="19693"/>
                  </a:lnTo>
                  <a:lnTo>
                    <a:pt x="6092" y="19751"/>
                  </a:lnTo>
                  <a:lnTo>
                    <a:pt x="6207" y="19808"/>
                  </a:lnTo>
                  <a:lnTo>
                    <a:pt x="6312" y="19856"/>
                  </a:lnTo>
                  <a:lnTo>
                    <a:pt x="6427" y="19904"/>
                  </a:lnTo>
                  <a:lnTo>
                    <a:pt x="6552" y="19942"/>
                  </a:lnTo>
                  <a:lnTo>
                    <a:pt x="6667" y="19980"/>
                  </a:lnTo>
                  <a:lnTo>
                    <a:pt x="6791" y="20009"/>
                  </a:lnTo>
                  <a:lnTo>
                    <a:pt x="6916" y="20028"/>
                  </a:lnTo>
                  <a:lnTo>
                    <a:pt x="7040" y="20047"/>
                  </a:lnTo>
                  <a:lnTo>
                    <a:pt x="7174" y="20067"/>
                  </a:lnTo>
                  <a:lnTo>
                    <a:pt x="7308" y="20067"/>
                  </a:lnTo>
                  <a:lnTo>
                    <a:pt x="7442" y="20076"/>
                  </a:lnTo>
                  <a:lnTo>
                    <a:pt x="7576" y="20067"/>
                  </a:lnTo>
                  <a:lnTo>
                    <a:pt x="7720" y="20057"/>
                  </a:lnTo>
                  <a:lnTo>
                    <a:pt x="7854" y="20038"/>
                  </a:lnTo>
                  <a:lnTo>
                    <a:pt x="7998" y="20019"/>
                  </a:lnTo>
                  <a:lnTo>
                    <a:pt x="8142" y="19990"/>
                  </a:lnTo>
                  <a:lnTo>
                    <a:pt x="8285" y="19952"/>
                  </a:lnTo>
                  <a:lnTo>
                    <a:pt x="8429" y="19904"/>
                  </a:lnTo>
                  <a:lnTo>
                    <a:pt x="8582" y="19856"/>
                  </a:lnTo>
                  <a:lnTo>
                    <a:pt x="8726" y="19798"/>
                  </a:lnTo>
                  <a:lnTo>
                    <a:pt x="8879" y="19741"/>
                  </a:lnTo>
                  <a:lnTo>
                    <a:pt x="9032" y="19664"/>
                  </a:lnTo>
                  <a:lnTo>
                    <a:pt x="9186" y="19588"/>
                  </a:lnTo>
                  <a:lnTo>
                    <a:pt x="9262" y="19530"/>
                  </a:lnTo>
                  <a:lnTo>
                    <a:pt x="9492" y="19348"/>
                  </a:lnTo>
                  <a:lnTo>
                    <a:pt x="9856" y="19042"/>
                  </a:lnTo>
                  <a:lnTo>
                    <a:pt x="10076" y="18841"/>
                  </a:lnTo>
                  <a:lnTo>
                    <a:pt x="10316" y="18611"/>
                  </a:lnTo>
                  <a:lnTo>
                    <a:pt x="10574" y="18352"/>
                  </a:lnTo>
                  <a:lnTo>
                    <a:pt x="10862" y="18065"/>
                  </a:lnTo>
                  <a:lnTo>
                    <a:pt x="11149" y="17749"/>
                  </a:lnTo>
                  <a:lnTo>
                    <a:pt x="11465" y="17404"/>
                  </a:lnTo>
                  <a:lnTo>
                    <a:pt x="11781" y="17030"/>
                  </a:lnTo>
                  <a:lnTo>
                    <a:pt x="12097" y="16618"/>
                  </a:lnTo>
                  <a:lnTo>
                    <a:pt x="12423" y="16187"/>
                  </a:lnTo>
                  <a:lnTo>
                    <a:pt x="12749" y="15718"/>
                  </a:lnTo>
                  <a:lnTo>
                    <a:pt x="13074" y="15230"/>
                  </a:lnTo>
                  <a:lnTo>
                    <a:pt x="13400" y="14703"/>
                  </a:lnTo>
                  <a:lnTo>
                    <a:pt x="13706" y="14157"/>
                  </a:lnTo>
                  <a:lnTo>
                    <a:pt x="13860" y="13870"/>
                  </a:lnTo>
                  <a:lnTo>
                    <a:pt x="14003" y="13573"/>
                  </a:lnTo>
                  <a:lnTo>
                    <a:pt x="14157" y="13276"/>
                  </a:lnTo>
                  <a:lnTo>
                    <a:pt x="14300" y="12969"/>
                  </a:lnTo>
                  <a:lnTo>
                    <a:pt x="14434" y="12653"/>
                  </a:lnTo>
                  <a:lnTo>
                    <a:pt x="14569" y="12327"/>
                  </a:lnTo>
                  <a:lnTo>
                    <a:pt x="14693" y="12002"/>
                  </a:lnTo>
                  <a:lnTo>
                    <a:pt x="14818" y="11667"/>
                  </a:lnTo>
                  <a:lnTo>
                    <a:pt x="14932" y="11322"/>
                  </a:lnTo>
                  <a:lnTo>
                    <a:pt x="15047" y="10967"/>
                  </a:lnTo>
                  <a:lnTo>
                    <a:pt x="15153" y="10613"/>
                  </a:lnTo>
                  <a:lnTo>
                    <a:pt x="15258" y="10249"/>
                  </a:lnTo>
                  <a:lnTo>
                    <a:pt x="15344" y="9875"/>
                  </a:lnTo>
                  <a:lnTo>
                    <a:pt x="15431" y="9492"/>
                  </a:lnTo>
                  <a:lnTo>
                    <a:pt x="15507" y="9109"/>
                  </a:lnTo>
                  <a:lnTo>
                    <a:pt x="15584" y="8717"/>
                  </a:lnTo>
                  <a:lnTo>
                    <a:pt x="15641" y="8314"/>
                  </a:lnTo>
                  <a:lnTo>
                    <a:pt x="15699" y="7912"/>
                  </a:lnTo>
                  <a:lnTo>
                    <a:pt x="15737" y="7500"/>
                  </a:lnTo>
                  <a:lnTo>
                    <a:pt x="15775" y="7079"/>
                  </a:lnTo>
                  <a:lnTo>
                    <a:pt x="15804" y="6648"/>
                  </a:lnTo>
                  <a:lnTo>
                    <a:pt x="15814" y="6217"/>
                  </a:lnTo>
                  <a:lnTo>
                    <a:pt x="15823" y="5776"/>
                  </a:lnTo>
                  <a:lnTo>
                    <a:pt x="15814" y="5326"/>
                  </a:lnTo>
                  <a:lnTo>
                    <a:pt x="15795" y="4866"/>
                  </a:lnTo>
                  <a:lnTo>
                    <a:pt x="15766" y="4406"/>
                  </a:lnTo>
                  <a:lnTo>
                    <a:pt x="15756" y="4291"/>
                  </a:lnTo>
                  <a:lnTo>
                    <a:pt x="15737" y="4186"/>
                  </a:lnTo>
                  <a:lnTo>
                    <a:pt x="15708" y="4081"/>
                  </a:lnTo>
                  <a:lnTo>
                    <a:pt x="15670" y="3975"/>
                  </a:lnTo>
                  <a:lnTo>
                    <a:pt x="15622" y="3880"/>
                  </a:lnTo>
                  <a:lnTo>
                    <a:pt x="15565" y="3793"/>
                  </a:lnTo>
                  <a:lnTo>
                    <a:pt x="15488" y="3717"/>
                  </a:lnTo>
                  <a:lnTo>
                    <a:pt x="15402" y="3650"/>
                  </a:lnTo>
                  <a:lnTo>
                    <a:pt x="15124" y="3458"/>
                  </a:lnTo>
                  <a:lnTo>
                    <a:pt x="14760" y="3238"/>
                  </a:lnTo>
                  <a:lnTo>
                    <a:pt x="14319" y="2979"/>
                  </a:lnTo>
                  <a:lnTo>
                    <a:pt x="13802" y="2711"/>
                  </a:lnTo>
                  <a:lnTo>
                    <a:pt x="13505" y="2567"/>
                  </a:lnTo>
                  <a:lnTo>
                    <a:pt x="13189" y="2414"/>
                  </a:lnTo>
                  <a:lnTo>
                    <a:pt x="12854" y="2270"/>
                  </a:lnTo>
                  <a:lnTo>
                    <a:pt x="12500" y="2117"/>
                  </a:lnTo>
                  <a:lnTo>
                    <a:pt x="12126" y="1964"/>
                  </a:lnTo>
                  <a:lnTo>
                    <a:pt x="11724" y="1811"/>
                  </a:lnTo>
                  <a:lnTo>
                    <a:pt x="11302" y="1667"/>
                  </a:lnTo>
                  <a:lnTo>
                    <a:pt x="10862" y="1514"/>
                  </a:lnTo>
                  <a:lnTo>
                    <a:pt x="10392" y="1370"/>
                  </a:lnTo>
                  <a:lnTo>
                    <a:pt x="9904" y="1226"/>
                  </a:lnTo>
                  <a:lnTo>
                    <a:pt x="9387" y="1083"/>
                  </a:lnTo>
                  <a:lnTo>
                    <a:pt x="8850" y="949"/>
                  </a:lnTo>
                  <a:lnTo>
                    <a:pt x="8295" y="824"/>
                  </a:lnTo>
                  <a:lnTo>
                    <a:pt x="7711" y="700"/>
                  </a:lnTo>
                  <a:lnTo>
                    <a:pt x="7107" y="585"/>
                  </a:lnTo>
                  <a:lnTo>
                    <a:pt x="6475" y="479"/>
                  </a:lnTo>
                  <a:lnTo>
                    <a:pt x="5824" y="374"/>
                  </a:lnTo>
                  <a:lnTo>
                    <a:pt x="5144" y="288"/>
                  </a:lnTo>
                  <a:lnTo>
                    <a:pt x="4435" y="211"/>
                  </a:lnTo>
                  <a:lnTo>
                    <a:pt x="3707" y="144"/>
                  </a:lnTo>
                  <a:lnTo>
                    <a:pt x="2960" y="87"/>
                  </a:lnTo>
                  <a:lnTo>
                    <a:pt x="2174" y="39"/>
                  </a:lnTo>
                  <a:lnTo>
                    <a:pt x="1370" y="10"/>
                  </a:lnTo>
                  <a:lnTo>
                    <a:pt x="546" y="0"/>
                  </a:lnTo>
                  <a:close/>
                </a:path>
              </a:pathLst>
            </a:custGeom>
            <a:solidFill>
              <a:srgbClr val="FF8C4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951;p26"/>
            <p:cNvSpPr/>
            <p:nvPr/>
          </p:nvSpPr>
          <p:spPr>
            <a:xfrm>
              <a:off x="7069137" y="2926707"/>
              <a:ext cx="1213132" cy="381643"/>
            </a:xfrm>
            <a:custGeom>
              <a:avLst/>
              <a:gdLst/>
              <a:ahLst/>
              <a:cxnLst/>
              <a:rect l="l" t="t" r="r" b="b"/>
              <a:pathLst>
                <a:path w="30843" h="9703" extrusionOk="0">
                  <a:moveTo>
                    <a:pt x="5479" y="0"/>
                  </a:moveTo>
                  <a:lnTo>
                    <a:pt x="5163" y="19"/>
                  </a:lnTo>
                  <a:lnTo>
                    <a:pt x="4857" y="39"/>
                  </a:lnTo>
                  <a:lnTo>
                    <a:pt x="4560" y="67"/>
                  </a:lnTo>
                  <a:lnTo>
                    <a:pt x="4282" y="106"/>
                  </a:lnTo>
                  <a:lnTo>
                    <a:pt x="4004" y="144"/>
                  </a:lnTo>
                  <a:lnTo>
                    <a:pt x="3736" y="201"/>
                  </a:lnTo>
                  <a:lnTo>
                    <a:pt x="3478" y="249"/>
                  </a:lnTo>
                  <a:lnTo>
                    <a:pt x="3228" y="316"/>
                  </a:lnTo>
                  <a:lnTo>
                    <a:pt x="2989" y="383"/>
                  </a:lnTo>
                  <a:lnTo>
                    <a:pt x="2759" y="460"/>
                  </a:lnTo>
                  <a:lnTo>
                    <a:pt x="2539" y="537"/>
                  </a:lnTo>
                  <a:lnTo>
                    <a:pt x="2328" y="623"/>
                  </a:lnTo>
                  <a:lnTo>
                    <a:pt x="2127" y="719"/>
                  </a:lnTo>
                  <a:lnTo>
                    <a:pt x="1935" y="824"/>
                  </a:lnTo>
                  <a:lnTo>
                    <a:pt x="1744" y="929"/>
                  </a:lnTo>
                  <a:lnTo>
                    <a:pt x="1571" y="1044"/>
                  </a:lnTo>
                  <a:lnTo>
                    <a:pt x="1409" y="1159"/>
                  </a:lnTo>
                  <a:lnTo>
                    <a:pt x="1255" y="1284"/>
                  </a:lnTo>
                  <a:lnTo>
                    <a:pt x="1112" y="1418"/>
                  </a:lnTo>
                  <a:lnTo>
                    <a:pt x="968" y="1552"/>
                  </a:lnTo>
                  <a:lnTo>
                    <a:pt x="844" y="1696"/>
                  </a:lnTo>
                  <a:lnTo>
                    <a:pt x="729" y="1849"/>
                  </a:lnTo>
                  <a:lnTo>
                    <a:pt x="614" y="2002"/>
                  </a:lnTo>
                  <a:lnTo>
                    <a:pt x="518" y="2165"/>
                  </a:lnTo>
                  <a:lnTo>
                    <a:pt x="422" y="2328"/>
                  </a:lnTo>
                  <a:lnTo>
                    <a:pt x="336" y="2500"/>
                  </a:lnTo>
                  <a:lnTo>
                    <a:pt x="269" y="2682"/>
                  </a:lnTo>
                  <a:lnTo>
                    <a:pt x="202" y="2864"/>
                  </a:lnTo>
                  <a:lnTo>
                    <a:pt x="144" y="3046"/>
                  </a:lnTo>
                  <a:lnTo>
                    <a:pt x="96" y="3247"/>
                  </a:lnTo>
                  <a:lnTo>
                    <a:pt x="68" y="3448"/>
                  </a:lnTo>
                  <a:lnTo>
                    <a:pt x="39" y="3650"/>
                  </a:lnTo>
                  <a:lnTo>
                    <a:pt x="20" y="3860"/>
                  </a:lnTo>
                  <a:lnTo>
                    <a:pt x="1" y="4081"/>
                  </a:lnTo>
                  <a:lnTo>
                    <a:pt x="1" y="4301"/>
                  </a:lnTo>
                  <a:lnTo>
                    <a:pt x="10" y="4531"/>
                  </a:lnTo>
                  <a:lnTo>
                    <a:pt x="29" y="4761"/>
                  </a:lnTo>
                  <a:lnTo>
                    <a:pt x="49" y="5000"/>
                  </a:lnTo>
                  <a:lnTo>
                    <a:pt x="87" y="5240"/>
                  </a:lnTo>
                  <a:lnTo>
                    <a:pt x="125" y="5489"/>
                  </a:lnTo>
                  <a:lnTo>
                    <a:pt x="183" y="5738"/>
                  </a:lnTo>
                  <a:lnTo>
                    <a:pt x="211" y="5881"/>
                  </a:lnTo>
                  <a:lnTo>
                    <a:pt x="259" y="6025"/>
                  </a:lnTo>
                  <a:lnTo>
                    <a:pt x="317" y="6159"/>
                  </a:lnTo>
                  <a:lnTo>
                    <a:pt x="384" y="6293"/>
                  </a:lnTo>
                  <a:lnTo>
                    <a:pt x="460" y="6418"/>
                  </a:lnTo>
                  <a:lnTo>
                    <a:pt x="547" y="6542"/>
                  </a:lnTo>
                  <a:lnTo>
                    <a:pt x="642" y="6667"/>
                  </a:lnTo>
                  <a:lnTo>
                    <a:pt x="738" y="6791"/>
                  </a:lnTo>
                  <a:lnTo>
                    <a:pt x="844" y="6906"/>
                  </a:lnTo>
                  <a:lnTo>
                    <a:pt x="968" y="7011"/>
                  </a:lnTo>
                  <a:lnTo>
                    <a:pt x="1093" y="7126"/>
                  </a:lnTo>
                  <a:lnTo>
                    <a:pt x="1217" y="7232"/>
                  </a:lnTo>
                  <a:lnTo>
                    <a:pt x="1351" y="7328"/>
                  </a:lnTo>
                  <a:lnTo>
                    <a:pt x="1495" y="7433"/>
                  </a:lnTo>
                  <a:lnTo>
                    <a:pt x="1801" y="7615"/>
                  </a:lnTo>
                  <a:lnTo>
                    <a:pt x="2127" y="7797"/>
                  </a:lnTo>
                  <a:lnTo>
                    <a:pt x="2462" y="7960"/>
                  </a:lnTo>
                  <a:lnTo>
                    <a:pt x="2817" y="8113"/>
                  </a:lnTo>
                  <a:lnTo>
                    <a:pt x="3190" y="8257"/>
                  </a:lnTo>
                  <a:lnTo>
                    <a:pt x="3564" y="8391"/>
                  </a:lnTo>
                  <a:lnTo>
                    <a:pt x="3947" y="8515"/>
                  </a:lnTo>
                  <a:lnTo>
                    <a:pt x="4330" y="8630"/>
                  </a:lnTo>
                  <a:lnTo>
                    <a:pt x="4713" y="8736"/>
                  </a:lnTo>
                  <a:lnTo>
                    <a:pt x="5106" y="8831"/>
                  </a:lnTo>
                  <a:lnTo>
                    <a:pt x="5479" y="8918"/>
                  </a:lnTo>
                  <a:lnTo>
                    <a:pt x="5853" y="8994"/>
                  </a:lnTo>
                  <a:lnTo>
                    <a:pt x="6217" y="9061"/>
                  </a:lnTo>
                  <a:lnTo>
                    <a:pt x="6897" y="9176"/>
                  </a:lnTo>
                  <a:lnTo>
                    <a:pt x="7510" y="9272"/>
                  </a:lnTo>
                  <a:lnTo>
                    <a:pt x="8018" y="9329"/>
                  </a:lnTo>
                  <a:lnTo>
                    <a:pt x="8410" y="9377"/>
                  </a:lnTo>
                  <a:lnTo>
                    <a:pt x="8755" y="9406"/>
                  </a:lnTo>
                  <a:lnTo>
                    <a:pt x="29884" y="9703"/>
                  </a:lnTo>
                  <a:lnTo>
                    <a:pt x="30028" y="9588"/>
                  </a:lnTo>
                  <a:lnTo>
                    <a:pt x="30153" y="9463"/>
                  </a:lnTo>
                  <a:lnTo>
                    <a:pt x="30267" y="9329"/>
                  </a:lnTo>
                  <a:lnTo>
                    <a:pt x="30363" y="9195"/>
                  </a:lnTo>
                  <a:lnTo>
                    <a:pt x="30449" y="9052"/>
                  </a:lnTo>
                  <a:lnTo>
                    <a:pt x="30516" y="8908"/>
                  </a:lnTo>
                  <a:lnTo>
                    <a:pt x="30574" y="8755"/>
                  </a:lnTo>
                  <a:lnTo>
                    <a:pt x="30631" y="8611"/>
                  </a:lnTo>
                  <a:lnTo>
                    <a:pt x="30670" y="8458"/>
                  </a:lnTo>
                  <a:lnTo>
                    <a:pt x="30708" y="8314"/>
                  </a:lnTo>
                  <a:lnTo>
                    <a:pt x="30766" y="8027"/>
                  </a:lnTo>
                  <a:lnTo>
                    <a:pt x="30842" y="7529"/>
                  </a:lnTo>
                  <a:lnTo>
                    <a:pt x="30660" y="7414"/>
                  </a:lnTo>
                  <a:lnTo>
                    <a:pt x="30421" y="7280"/>
                  </a:lnTo>
                  <a:lnTo>
                    <a:pt x="30076" y="7088"/>
                  </a:lnTo>
                  <a:lnTo>
                    <a:pt x="29616" y="6849"/>
                  </a:lnTo>
                  <a:lnTo>
                    <a:pt x="29041" y="6561"/>
                  </a:lnTo>
                  <a:lnTo>
                    <a:pt x="28342" y="6236"/>
                  </a:lnTo>
                  <a:lnTo>
                    <a:pt x="27509" y="5862"/>
                  </a:lnTo>
                  <a:lnTo>
                    <a:pt x="26542" y="5450"/>
                  </a:lnTo>
                  <a:lnTo>
                    <a:pt x="25431" y="5000"/>
                  </a:lnTo>
                  <a:lnTo>
                    <a:pt x="24827" y="4761"/>
                  </a:lnTo>
                  <a:lnTo>
                    <a:pt x="24176" y="4521"/>
                  </a:lnTo>
                  <a:lnTo>
                    <a:pt x="23486" y="4263"/>
                  </a:lnTo>
                  <a:lnTo>
                    <a:pt x="22758" y="4004"/>
                  </a:lnTo>
                  <a:lnTo>
                    <a:pt x="21992" y="3736"/>
                  </a:lnTo>
                  <a:lnTo>
                    <a:pt x="21187" y="3458"/>
                  </a:lnTo>
                  <a:lnTo>
                    <a:pt x="20335" y="3171"/>
                  </a:lnTo>
                  <a:lnTo>
                    <a:pt x="19444" y="2883"/>
                  </a:lnTo>
                  <a:lnTo>
                    <a:pt x="18506" y="2577"/>
                  </a:lnTo>
                  <a:lnTo>
                    <a:pt x="17529" y="2280"/>
                  </a:lnTo>
                  <a:lnTo>
                    <a:pt x="16504" y="1964"/>
                  </a:lnTo>
                  <a:lnTo>
                    <a:pt x="15431" y="1657"/>
                  </a:lnTo>
                  <a:lnTo>
                    <a:pt x="14358" y="1351"/>
                  </a:lnTo>
                  <a:lnTo>
                    <a:pt x="13324" y="1083"/>
                  </a:lnTo>
                  <a:lnTo>
                    <a:pt x="12328" y="843"/>
                  </a:lnTo>
                  <a:lnTo>
                    <a:pt x="11379" y="632"/>
                  </a:lnTo>
                  <a:lnTo>
                    <a:pt x="10460" y="450"/>
                  </a:lnTo>
                  <a:lnTo>
                    <a:pt x="9588" y="307"/>
                  </a:lnTo>
                  <a:lnTo>
                    <a:pt x="9167" y="240"/>
                  </a:lnTo>
                  <a:lnTo>
                    <a:pt x="8755" y="182"/>
                  </a:lnTo>
                  <a:lnTo>
                    <a:pt x="8353" y="134"/>
                  </a:lnTo>
                  <a:lnTo>
                    <a:pt x="7960" y="96"/>
                  </a:lnTo>
                  <a:lnTo>
                    <a:pt x="7577" y="58"/>
                  </a:lnTo>
                  <a:lnTo>
                    <a:pt x="7203" y="39"/>
                  </a:lnTo>
                  <a:lnTo>
                    <a:pt x="6839" y="10"/>
                  </a:lnTo>
                  <a:lnTo>
                    <a:pt x="6485" y="0"/>
                  </a:lnTo>
                  <a:close/>
                </a:path>
              </a:pathLst>
            </a:custGeom>
            <a:solidFill>
              <a:srgbClr val="0A58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p26"/>
            <p:cNvSpPr/>
            <p:nvPr/>
          </p:nvSpPr>
          <p:spPr>
            <a:xfrm>
              <a:off x="6683374" y="4178898"/>
              <a:ext cx="242642" cy="241148"/>
            </a:xfrm>
            <a:custGeom>
              <a:avLst/>
              <a:gdLst/>
              <a:ahLst/>
              <a:cxnLst/>
              <a:rect l="l" t="t" r="r" b="b"/>
              <a:pathLst>
                <a:path w="6169" h="6131" extrusionOk="0">
                  <a:moveTo>
                    <a:pt x="5173" y="1"/>
                  </a:moveTo>
                  <a:lnTo>
                    <a:pt x="4761" y="346"/>
                  </a:lnTo>
                  <a:lnTo>
                    <a:pt x="4330" y="719"/>
                  </a:lnTo>
                  <a:lnTo>
                    <a:pt x="3899" y="1122"/>
                  </a:lnTo>
                  <a:lnTo>
                    <a:pt x="3478" y="1543"/>
                  </a:lnTo>
                  <a:lnTo>
                    <a:pt x="3047" y="1974"/>
                  </a:lnTo>
                  <a:lnTo>
                    <a:pt x="2635" y="2415"/>
                  </a:lnTo>
                  <a:lnTo>
                    <a:pt x="2242" y="2855"/>
                  </a:lnTo>
                  <a:lnTo>
                    <a:pt x="1859" y="3286"/>
                  </a:lnTo>
                  <a:lnTo>
                    <a:pt x="1504" y="3717"/>
                  </a:lnTo>
                  <a:lnTo>
                    <a:pt x="1169" y="4120"/>
                  </a:lnTo>
                  <a:lnTo>
                    <a:pt x="872" y="4503"/>
                  </a:lnTo>
                  <a:lnTo>
                    <a:pt x="614" y="4857"/>
                  </a:lnTo>
                  <a:lnTo>
                    <a:pt x="393" y="5183"/>
                  </a:lnTo>
                  <a:lnTo>
                    <a:pt x="221" y="5451"/>
                  </a:lnTo>
                  <a:lnTo>
                    <a:pt x="96" y="5681"/>
                  </a:lnTo>
                  <a:lnTo>
                    <a:pt x="58" y="5777"/>
                  </a:lnTo>
                  <a:lnTo>
                    <a:pt x="29" y="5863"/>
                  </a:lnTo>
                  <a:lnTo>
                    <a:pt x="10" y="5930"/>
                  </a:lnTo>
                  <a:lnTo>
                    <a:pt x="1" y="5978"/>
                  </a:lnTo>
                  <a:lnTo>
                    <a:pt x="1" y="6026"/>
                  </a:lnTo>
                  <a:lnTo>
                    <a:pt x="10" y="6064"/>
                  </a:lnTo>
                  <a:lnTo>
                    <a:pt x="20" y="6093"/>
                  </a:lnTo>
                  <a:lnTo>
                    <a:pt x="39" y="6112"/>
                  </a:lnTo>
                  <a:lnTo>
                    <a:pt x="68" y="6131"/>
                  </a:lnTo>
                  <a:lnTo>
                    <a:pt x="135" y="6131"/>
                  </a:lnTo>
                  <a:lnTo>
                    <a:pt x="173" y="6121"/>
                  </a:lnTo>
                  <a:lnTo>
                    <a:pt x="269" y="6083"/>
                  </a:lnTo>
                  <a:lnTo>
                    <a:pt x="384" y="6035"/>
                  </a:lnTo>
                  <a:lnTo>
                    <a:pt x="508" y="5959"/>
                  </a:lnTo>
                  <a:lnTo>
                    <a:pt x="777" y="5786"/>
                  </a:lnTo>
                  <a:lnTo>
                    <a:pt x="1045" y="5595"/>
                  </a:lnTo>
                  <a:lnTo>
                    <a:pt x="1303" y="5422"/>
                  </a:lnTo>
                  <a:lnTo>
                    <a:pt x="1409" y="5346"/>
                  </a:lnTo>
                  <a:lnTo>
                    <a:pt x="1514" y="5288"/>
                  </a:lnTo>
                  <a:lnTo>
                    <a:pt x="1974" y="5020"/>
                  </a:lnTo>
                  <a:lnTo>
                    <a:pt x="2424" y="4742"/>
                  </a:lnTo>
                  <a:lnTo>
                    <a:pt x="2865" y="4464"/>
                  </a:lnTo>
                  <a:lnTo>
                    <a:pt x="3267" y="4187"/>
                  </a:lnTo>
                  <a:lnTo>
                    <a:pt x="3631" y="3928"/>
                  </a:lnTo>
                  <a:lnTo>
                    <a:pt x="3947" y="3689"/>
                  </a:lnTo>
                  <a:lnTo>
                    <a:pt x="4196" y="3487"/>
                  </a:lnTo>
                  <a:lnTo>
                    <a:pt x="4387" y="3334"/>
                  </a:lnTo>
                  <a:lnTo>
                    <a:pt x="4474" y="3248"/>
                  </a:lnTo>
                  <a:lnTo>
                    <a:pt x="4579" y="3123"/>
                  </a:lnTo>
                  <a:lnTo>
                    <a:pt x="4694" y="2951"/>
                  </a:lnTo>
                  <a:lnTo>
                    <a:pt x="4828" y="2759"/>
                  </a:lnTo>
                  <a:lnTo>
                    <a:pt x="5125" y="2309"/>
                  </a:lnTo>
                  <a:lnTo>
                    <a:pt x="5422" y="1830"/>
                  </a:lnTo>
                  <a:lnTo>
                    <a:pt x="5949" y="959"/>
                  </a:lnTo>
                  <a:lnTo>
                    <a:pt x="6169" y="576"/>
                  </a:lnTo>
                  <a:lnTo>
                    <a:pt x="5173" y="1"/>
                  </a:lnTo>
                  <a:close/>
                </a:path>
              </a:pathLst>
            </a:custGeom>
            <a:solidFill>
              <a:srgbClr val="EDC1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26"/>
            <p:cNvSpPr/>
            <p:nvPr/>
          </p:nvSpPr>
          <p:spPr>
            <a:xfrm>
              <a:off x="6660798" y="4200373"/>
              <a:ext cx="265219" cy="235877"/>
            </a:xfrm>
            <a:custGeom>
              <a:avLst/>
              <a:gdLst/>
              <a:ahLst/>
              <a:cxnLst/>
              <a:rect l="l" t="t" r="r" b="b"/>
              <a:pathLst>
                <a:path w="6743" h="5997" extrusionOk="0">
                  <a:moveTo>
                    <a:pt x="6695" y="1"/>
                  </a:moveTo>
                  <a:lnTo>
                    <a:pt x="6523" y="183"/>
                  </a:lnTo>
                  <a:lnTo>
                    <a:pt x="6350" y="355"/>
                  </a:lnTo>
                  <a:lnTo>
                    <a:pt x="6168" y="518"/>
                  </a:lnTo>
                  <a:lnTo>
                    <a:pt x="5986" y="662"/>
                  </a:lnTo>
                  <a:lnTo>
                    <a:pt x="5804" y="796"/>
                  </a:lnTo>
                  <a:lnTo>
                    <a:pt x="5613" y="911"/>
                  </a:lnTo>
                  <a:lnTo>
                    <a:pt x="5421" y="1026"/>
                  </a:lnTo>
                  <a:lnTo>
                    <a:pt x="5230" y="1112"/>
                  </a:lnTo>
                  <a:lnTo>
                    <a:pt x="5029" y="1189"/>
                  </a:lnTo>
                  <a:lnTo>
                    <a:pt x="4827" y="1256"/>
                  </a:lnTo>
                  <a:lnTo>
                    <a:pt x="4617" y="1304"/>
                  </a:lnTo>
                  <a:lnTo>
                    <a:pt x="4406" y="1342"/>
                  </a:lnTo>
                  <a:lnTo>
                    <a:pt x="4195" y="1351"/>
                  </a:lnTo>
                  <a:lnTo>
                    <a:pt x="3985" y="1351"/>
                  </a:lnTo>
                  <a:lnTo>
                    <a:pt x="3764" y="1342"/>
                  </a:lnTo>
                  <a:lnTo>
                    <a:pt x="3544" y="1304"/>
                  </a:lnTo>
                  <a:lnTo>
                    <a:pt x="2663" y="2280"/>
                  </a:lnTo>
                  <a:lnTo>
                    <a:pt x="2280" y="2692"/>
                  </a:lnTo>
                  <a:lnTo>
                    <a:pt x="1906" y="3123"/>
                  </a:lnTo>
                  <a:lnTo>
                    <a:pt x="1628" y="3439"/>
                  </a:lnTo>
                  <a:lnTo>
                    <a:pt x="1341" y="3794"/>
                  </a:lnTo>
                  <a:lnTo>
                    <a:pt x="1034" y="4167"/>
                  </a:lnTo>
                  <a:lnTo>
                    <a:pt x="747" y="4531"/>
                  </a:lnTo>
                  <a:lnTo>
                    <a:pt x="479" y="4867"/>
                  </a:lnTo>
                  <a:lnTo>
                    <a:pt x="268" y="5164"/>
                  </a:lnTo>
                  <a:lnTo>
                    <a:pt x="115" y="5393"/>
                  </a:lnTo>
                  <a:lnTo>
                    <a:pt x="67" y="5470"/>
                  </a:lnTo>
                  <a:lnTo>
                    <a:pt x="38" y="5527"/>
                  </a:lnTo>
                  <a:lnTo>
                    <a:pt x="10" y="5662"/>
                  </a:lnTo>
                  <a:lnTo>
                    <a:pt x="0" y="5777"/>
                  </a:lnTo>
                  <a:lnTo>
                    <a:pt x="10" y="5824"/>
                  </a:lnTo>
                  <a:lnTo>
                    <a:pt x="19" y="5863"/>
                  </a:lnTo>
                  <a:lnTo>
                    <a:pt x="38" y="5901"/>
                  </a:lnTo>
                  <a:lnTo>
                    <a:pt x="57" y="5930"/>
                  </a:lnTo>
                  <a:lnTo>
                    <a:pt x="86" y="5958"/>
                  </a:lnTo>
                  <a:lnTo>
                    <a:pt x="115" y="5968"/>
                  </a:lnTo>
                  <a:lnTo>
                    <a:pt x="163" y="5987"/>
                  </a:lnTo>
                  <a:lnTo>
                    <a:pt x="201" y="5997"/>
                  </a:lnTo>
                  <a:lnTo>
                    <a:pt x="316" y="5987"/>
                  </a:lnTo>
                  <a:lnTo>
                    <a:pt x="441" y="5968"/>
                  </a:lnTo>
                  <a:lnTo>
                    <a:pt x="603" y="5920"/>
                  </a:lnTo>
                  <a:lnTo>
                    <a:pt x="785" y="5844"/>
                  </a:lnTo>
                  <a:lnTo>
                    <a:pt x="987" y="5757"/>
                  </a:lnTo>
                  <a:lnTo>
                    <a:pt x="1216" y="5642"/>
                  </a:lnTo>
                  <a:lnTo>
                    <a:pt x="1465" y="5499"/>
                  </a:lnTo>
                  <a:lnTo>
                    <a:pt x="1743" y="5336"/>
                  </a:lnTo>
                  <a:lnTo>
                    <a:pt x="2050" y="5154"/>
                  </a:lnTo>
                  <a:lnTo>
                    <a:pt x="2375" y="4953"/>
                  </a:lnTo>
                  <a:lnTo>
                    <a:pt x="2806" y="4665"/>
                  </a:lnTo>
                  <a:lnTo>
                    <a:pt x="3228" y="4359"/>
                  </a:lnTo>
                  <a:lnTo>
                    <a:pt x="3640" y="4062"/>
                  </a:lnTo>
                  <a:lnTo>
                    <a:pt x="4013" y="3765"/>
                  </a:lnTo>
                  <a:lnTo>
                    <a:pt x="4358" y="3497"/>
                  </a:lnTo>
                  <a:lnTo>
                    <a:pt x="4655" y="3248"/>
                  </a:lnTo>
                  <a:lnTo>
                    <a:pt x="5086" y="2884"/>
                  </a:lnTo>
                  <a:lnTo>
                    <a:pt x="5172" y="2798"/>
                  </a:lnTo>
                  <a:lnTo>
                    <a:pt x="5268" y="2664"/>
                  </a:lnTo>
                  <a:lnTo>
                    <a:pt x="5383" y="2501"/>
                  </a:lnTo>
                  <a:lnTo>
                    <a:pt x="5507" y="2300"/>
                  </a:lnTo>
                  <a:lnTo>
                    <a:pt x="5785" y="1830"/>
                  </a:lnTo>
                  <a:lnTo>
                    <a:pt x="6063" y="1332"/>
                  </a:lnTo>
                  <a:lnTo>
                    <a:pt x="6322" y="844"/>
                  </a:lnTo>
                  <a:lnTo>
                    <a:pt x="6542" y="422"/>
                  </a:lnTo>
                  <a:lnTo>
                    <a:pt x="6743" y="30"/>
                  </a:lnTo>
                  <a:lnTo>
                    <a:pt x="6695"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26"/>
            <p:cNvSpPr/>
            <p:nvPr/>
          </p:nvSpPr>
          <p:spPr>
            <a:xfrm>
              <a:off x="7608607" y="1993179"/>
              <a:ext cx="739176" cy="1192404"/>
            </a:xfrm>
            <a:custGeom>
              <a:avLst/>
              <a:gdLst/>
              <a:ahLst/>
              <a:cxnLst/>
              <a:rect l="l" t="t" r="r" b="b"/>
              <a:pathLst>
                <a:path w="18793" h="30316" extrusionOk="0">
                  <a:moveTo>
                    <a:pt x="9310" y="1"/>
                  </a:moveTo>
                  <a:lnTo>
                    <a:pt x="9081" y="10"/>
                  </a:lnTo>
                  <a:lnTo>
                    <a:pt x="8870" y="20"/>
                  </a:lnTo>
                  <a:lnTo>
                    <a:pt x="8669" y="49"/>
                  </a:lnTo>
                  <a:lnTo>
                    <a:pt x="8496" y="68"/>
                  </a:lnTo>
                  <a:lnTo>
                    <a:pt x="8190" y="125"/>
                  </a:lnTo>
                  <a:lnTo>
                    <a:pt x="7960" y="183"/>
                  </a:lnTo>
                  <a:lnTo>
                    <a:pt x="7816" y="231"/>
                  </a:lnTo>
                  <a:lnTo>
                    <a:pt x="7768" y="250"/>
                  </a:lnTo>
                  <a:lnTo>
                    <a:pt x="7653" y="355"/>
                  </a:lnTo>
                  <a:lnTo>
                    <a:pt x="7500" y="460"/>
                  </a:lnTo>
                  <a:lnTo>
                    <a:pt x="7318" y="566"/>
                  </a:lnTo>
                  <a:lnTo>
                    <a:pt x="7117" y="681"/>
                  </a:lnTo>
                  <a:lnTo>
                    <a:pt x="6887" y="796"/>
                  </a:lnTo>
                  <a:lnTo>
                    <a:pt x="6629" y="901"/>
                  </a:lnTo>
                  <a:lnTo>
                    <a:pt x="6351" y="1016"/>
                  </a:lnTo>
                  <a:lnTo>
                    <a:pt x="6044" y="1121"/>
                  </a:lnTo>
                  <a:lnTo>
                    <a:pt x="5719" y="1227"/>
                  </a:lnTo>
                  <a:lnTo>
                    <a:pt x="5383" y="1322"/>
                  </a:lnTo>
                  <a:lnTo>
                    <a:pt x="5019" y="1418"/>
                  </a:lnTo>
                  <a:lnTo>
                    <a:pt x="4646" y="1504"/>
                  </a:lnTo>
                  <a:lnTo>
                    <a:pt x="4253" y="1581"/>
                  </a:lnTo>
                  <a:lnTo>
                    <a:pt x="3851" y="1658"/>
                  </a:lnTo>
                  <a:lnTo>
                    <a:pt x="3439" y="1715"/>
                  </a:lnTo>
                  <a:lnTo>
                    <a:pt x="3008" y="1773"/>
                  </a:lnTo>
                  <a:lnTo>
                    <a:pt x="2807" y="1801"/>
                  </a:lnTo>
                  <a:lnTo>
                    <a:pt x="2615" y="1849"/>
                  </a:lnTo>
                  <a:lnTo>
                    <a:pt x="2520" y="1878"/>
                  </a:lnTo>
                  <a:lnTo>
                    <a:pt x="2433" y="1907"/>
                  </a:lnTo>
                  <a:lnTo>
                    <a:pt x="2357" y="1955"/>
                  </a:lnTo>
                  <a:lnTo>
                    <a:pt x="2280" y="1993"/>
                  </a:lnTo>
                  <a:lnTo>
                    <a:pt x="2203" y="2041"/>
                  </a:lnTo>
                  <a:lnTo>
                    <a:pt x="2136" y="2098"/>
                  </a:lnTo>
                  <a:lnTo>
                    <a:pt x="2069" y="2156"/>
                  </a:lnTo>
                  <a:lnTo>
                    <a:pt x="2002" y="2223"/>
                  </a:lnTo>
                  <a:lnTo>
                    <a:pt x="1945" y="2299"/>
                  </a:lnTo>
                  <a:lnTo>
                    <a:pt x="1887" y="2376"/>
                  </a:lnTo>
                  <a:lnTo>
                    <a:pt x="1840" y="2462"/>
                  </a:lnTo>
                  <a:lnTo>
                    <a:pt x="1782" y="2548"/>
                  </a:lnTo>
                  <a:lnTo>
                    <a:pt x="1696" y="2759"/>
                  </a:lnTo>
                  <a:lnTo>
                    <a:pt x="1619" y="2989"/>
                  </a:lnTo>
                  <a:lnTo>
                    <a:pt x="1552" y="3248"/>
                  </a:lnTo>
                  <a:lnTo>
                    <a:pt x="1495" y="3545"/>
                  </a:lnTo>
                  <a:lnTo>
                    <a:pt x="1447" y="3861"/>
                  </a:lnTo>
                  <a:lnTo>
                    <a:pt x="1418" y="4225"/>
                  </a:lnTo>
                  <a:lnTo>
                    <a:pt x="1389" y="4617"/>
                  </a:lnTo>
                  <a:lnTo>
                    <a:pt x="1370" y="5048"/>
                  </a:lnTo>
                  <a:lnTo>
                    <a:pt x="1361" y="5527"/>
                  </a:lnTo>
                  <a:lnTo>
                    <a:pt x="1361" y="6035"/>
                  </a:lnTo>
                  <a:lnTo>
                    <a:pt x="1370" y="6590"/>
                  </a:lnTo>
                  <a:lnTo>
                    <a:pt x="1380" y="7184"/>
                  </a:lnTo>
                  <a:lnTo>
                    <a:pt x="1418" y="8516"/>
                  </a:lnTo>
                  <a:lnTo>
                    <a:pt x="1476" y="10039"/>
                  </a:lnTo>
                  <a:lnTo>
                    <a:pt x="1638" y="13697"/>
                  </a:lnTo>
                  <a:lnTo>
                    <a:pt x="1725" y="15862"/>
                  </a:lnTo>
                  <a:lnTo>
                    <a:pt x="1820" y="18266"/>
                  </a:lnTo>
                  <a:lnTo>
                    <a:pt x="1820" y="18716"/>
                  </a:lnTo>
                  <a:lnTo>
                    <a:pt x="1811" y="19157"/>
                  </a:lnTo>
                  <a:lnTo>
                    <a:pt x="1782" y="19598"/>
                  </a:lnTo>
                  <a:lnTo>
                    <a:pt x="1744" y="20029"/>
                  </a:lnTo>
                  <a:lnTo>
                    <a:pt x="1686" y="20469"/>
                  </a:lnTo>
                  <a:lnTo>
                    <a:pt x="1619" y="20900"/>
                  </a:lnTo>
                  <a:lnTo>
                    <a:pt x="1543" y="21322"/>
                  </a:lnTo>
                  <a:lnTo>
                    <a:pt x="1456" y="21743"/>
                  </a:lnTo>
                  <a:lnTo>
                    <a:pt x="1361" y="22164"/>
                  </a:lnTo>
                  <a:lnTo>
                    <a:pt x="1265" y="22586"/>
                  </a:lnTo>
                  <a:lnTo>
                    <a:pt x="1054" y="23410"/>
                  </a:lnTo>
                  <a:lnTo>
                    <a:pt x="614" y="24990"/>
                  </a:lnTo>
                  <a:lnTo>
                    <a:pt x="412" y="25747"/>
                  </a:lnTo>
                  <a:lnTo>
                    <a:pt x="326" y="26120"/>
                  </a:lnTo>
                  <a:lnTo>
                    <a:pt x="240" y="26484"/>
                  </a:lnTo>
                  <a:lnTo>
                    <a:pt x="173" y="26848"/>
                  </a:lnTo>
                  <a:lnTo>
                    <a:pt x="106" y="27203"/>
                  </a:lnTo>
                  <a:lnTo>
                    <a:pt x="58" y="27547"/>
                  </a:lnTo>
                  <a:lnTo>
                    <a:pt x="29" y="27883"/>
                  </a:lnTo>
                  <a:lnTo>
                    <a:pt x="10" y="28218"/>
                  </a:lnTo>
                  <a:lnTo>
                    <a:pt x="1" y="28544"/>
                  </a:lnTo>
                  <a:lnTo>
                    <a:pt x="20" y="28860"/>
                  </a:lnTo>
                  <a:lnTo>
                    <a:pt x="58" y="29166"/>
                  </a:lnTo>
                  <a:lnTo>
                    <a:pt x="77" y="29319"/>
                  </a:lnTo>
                  <a:lnTo>
                    <a:pt x="115" y="29463"/>
                  </a:lnTo>
                  <a:lnTo>
                    <a:pt x="154" y="29616"/>
                  </a:lnTo>
                  <a:lnTo>
                    <a:pt x="192" y="29760"/>
                  </a:lnTo>
                  <a:lnTo>
                    <a:pt x="240" y="29904"/>
                  </a:lnTo>
                  <a:lnTo>
                    <a:pt x="297" y="30047"/>
                  </a:lnTo>
                  <a:lnTo>
                    <a:pt x="355" y="30181"/>
                  </a:lnTo>
                  <a:lnTo>
                    <a:pt x="422" y="30315"/>
                  </a:lnTo>
                  <a:lnTo>
                    <a:pt x="15881" y="27394"/>
                  </a:lnTo>
                  <a:lnTo>
                    <a:pt x="16015" y="27318"/>
                  </a:lnTo>
                  <a:lnTo>
                    <a:pt x="16149" y="27222"/>
                  </a:lnTo>
                  <a:lnTo>
                    <a:pt x="16283" y="27107"/>
                  </a:lnTo>
                  <a:lnTo>
                    <a:pt x="16417" y="26973"/>
                  </a:lnTo>
                  <a:lnTo>
                    <a:pt x="16551" y="26819"/>
                  </a:lnTo>
                  <a:lnTo>
                    <a:pt x="16676" y="26647"/>
                  </a:lnTo>
                  <a:lnTo>
                    <a:pt x="16800" y="26465"/>
                  </a:lnTo>
                  <a:lnTo>
                    <a:pt x="16925" y="26254"/>
                  </a:lnTo>
                  <a:lnTo>
                    <a:pt x="17040" y="26034"/>
                  </a:lnTo>
                  <a:lnTo>
                    <a:pt x="17155" y="25804"/>
                  </a:lnTo>
                  <a:lnTo>
                    <a:pt x="17270" y="25555"/>
                  </a:lnTo>
                  <a:lnTo>
                    <a:pt x="17385" y="25287"/>
                  </a:lnTo>
                  <a:lnTo>
                    <a:pt x="17490" y="25000"/>
                  </a:lnTo>
                  <a:lnTo>
                    <a:pt x="17595" y="24712"/>
                  </a:lnTo>
                  <a:lnTo>
                    <a:pt x="17701" y="24406"/>
                  </a:lnTo>
                  <a:lnTo>
                    <a:pt x="17797" y="24080"/>
                  </a:lnTo>
                  <a:lnTo>
                    <a:pt x="17892" y="23745"/>
                  </a:lnTo>
                  <a:lnTo>
                    <a:pt x="17979" y="23410"/>
                  </a:lnTo>
                  <a:lnTo>
                    <a:pt x="18065" y="23046"/>
                  </a:lnTo>
                  <a:lnTo>
                    <a:pt x="18151" y="22682"/>
                  </a:lnTo>
                  <a:lnTo>
                    <a:pt x="18228" y="22308"/>
                  </a:lnTo>
                  <a:lnTo>
                    <a:pt x="18295" y="21925"/>
                  </a:lnTo>
                  <a:lnTo>
                    <a:pt x="18371" y="21523"/>
                  </a:lnTo>
                  <a:lnTo>
                    <a:pt x="18429" y="21120"/>
                  </a:lnTo>
                  <a:lnTo>
                    <a:pt x="18496" y="20709"/>
                  </a:lnTo>
                  <a:lnTo>
                    <a:pt x="18544" y="20287"/>
                  </a:lnTo>
                  <a:lnTo>
                    <a:pt x="18592" y="19866"/>
                  </a:lnTo>
                  <a:lnTo>
                    <a:pt x="18639" y="19425"/>
                  </a:lnTo>
                  <a:lnTo>
                    <a:pt x="18678" y="18985"/>
                  </a:lnTo>
                  <a:lnTo>
                    <a:pt x="18716" y="18544"/>
                  </a:lnTo>
                  <a:lnTo>
                    <a:pt x="18745" y="18094"/>
                  </a:lnTo>
                  <a:lnTo>
                    <a:pt x="18764" y="17634"/>
                  </a:lnTo>
                  <a:lnTo>
                    <a:pt x="18783" y="17174"/>
                  </a:lnTo>
                  <a:lnTo>
                    <a:pt x="18793" y="16715"/>
                  </a:lnTo>
                  <a:lnTo>
                    <a:pt x="18793" y="16245"/>
                  </a:lnTo>
                  <a:lnTo>
                    <a:pt x="18793" y="15776"/>
                  </a:lnTo>
                  <a:lnTo>
                    <a:pt x="18783" y="15307"/>
                  </a:lnTo>
                  <a:lnTo>
                    <a:pt x="18774" y="14837"/>
                  </a:lnTo>
                  <a:lnTo>
                    <a:pt x="18754" y="14368"/>
                  </a:lnTo>
                  <a:lnTo>
                    <a:pt x="18726" y="13889"/>
                  </a:lnTo>
                  <a:lnTo>
                    <a:pt x="18687" y="13420"/>
                  </a:lnTo>
                  <a:lnTo>
                    <a:pt x="18649" y="12941"/>
                  </a:lnTo>
                  <a:lnTo>
                    <a:pt x="18592" y="12471"/>
                  </a:lnTo>
                  <a:lnTo>
                    <a:pt x="18534" y="12002"/>
                  </a:lnTo>
                  <a:lnTo>
                    <a:pt x="18477" y="11533"/>
                  </a:lnTo>
                  <a:lnTo>
                    <a:pt x="18400" y="11063"/>
                  </a:lnTo>
                  <a:lnTo>
                    <a:pt x="18323" y="10594"/>
                  </a:lnTo>
                  <a:lnTo>
                    <a:pt x="18237" y="10134"/>
                  </a:lnTo>
                  <a:lnTo>
                    <a:pt x="18141" y="9684"/>
                  </a:lnTo>
                  <a:lnTo>
                    <a:pt x="18036" y="9234"/>
                  </a:lnTo>
                  <a:lnTo>
                    <a:pt x="17921" y="8784"/>
                  </a:lnTo>
                  <a:lnTo>
                    <a:pt x="17806" y="8343"/>
                  </a:lnTo>
                  <a:lnTo>
                    <a:pt x="17672" y="7903"/>
                  </a:lnTo>
                  <a:lnTo>
                    <a:pt x="17538" y="7481"/>
                  </a:lnTo>
                  <a:lnTo>
                    <a:pt x="17394" y="7060"/>
                  </a:lnTo>
                  <a:lnTo>
                    <a:pt x="17231" y="6638"/>
                  </a:lnTo>
                  <a:lnTo>
                    <a:pt x="17069" y="6236"/>
                  </a:lnTo>
                  <a:lnTo>
                    <a:pt x="16896" y="5834"/>
                  </a:lnTo>
                  <a:lnTo>
                    <a:pt x="16714" y="5451"/>
                  </a:lnTo>
                  <a:lnTo>
                    <a:pt x="16523" y="5068"/>
                  </a:lnTo>
                  <a:lnTo>
                    <a:pt x="16322" y="4704"/>
                  </a:lnTo>
                  <a:lnTo>
                    <a:pt x="16101" y="4349"/>
                  </a:lnTo>
                  <a:lnTo>
                    <a:pt x="15881" y="3995"/>
                  </a:lnTo>
                  <a:lnTo>
                    <a:pt x="15651" y="3660"/>
                  </a:lnTo>
                  <a:lnTo>
                    <a:pt x="15479" y="3430"/>
                  </a:lnTo>
                  <a:lnTo>
                    <a:pt x="15306" y="3209"/>
                  </a:lnTo>
                  <a:lnTo>
                    <a:pt x="15134" y="2999"/>
                  </a:lnTo>
                  <a:lnTo>
                    <a:pt x="14961" y="2798"/>
                  </a:lnTo>
                  <a:lnTo>
                    <a:pt x="14789" y="2596"/>
                  </a:lnTo>
                  <a:lnTo>
                    <a:pt x="14617" y="2414"/>
                  </a:lnTo>
                  <a:lnTo>
                    <a:pt x="14444" y="2232"/>
                  </a:lnTo>
                  <a:lnTo>
                    <a:pt x="14272" y="2070"/>
                  </a:lnTo>
                  <a:lnTo>
                    <a:pt x="14099" y="1907"/>
                  </a:lnTo>
                  <a:lnTo>
                    <a:pt x="13927" y="1754"/>
                  </a:lnTo>
                  <a:lnTo>
                    <a:pt x="13745" y="1610"/>
                  </a:lnTo>
                  <a:lnTo>
                    <a:pt x="13573" y="1476"/>
                  </a:lnTo>
                  <a:lnTo>
                    <a:pt x="13228" y="1227"/>
                  </a:lnTo>
                  <a:lnTo>
                    <a:pt x="12893" y="1006"/>
                  </a:lnTo>
                  <a:lnTo>
                    <a:pt x="12548" y="805"/>
                  </a:lnTo>
                  <a:lnTo>
                    <a:pt x="12213" y="633"/>
                  </a:lnTo>
                  <a:lnTo>
                    <a:pt x="11887" y="489"/>
                  </a:lnTo>
                  <a:lnTo>
                    <a:pt x="11561" y="365"/>
                  </a:lnTo>
                  <a:lnTo>
                    <a:pt x="11245" y="259"/>
                  </a:lnTo>
                  <a:lnTo>
                    <a:pt x="10939" y="183"/>
                  </a:lnTo>
                  <a:lnTo>
                    <a:pt x="10642" y="116"/>
                  </a:lnTo>
                  <a:lnTo>
                    <a:pt x="10345" y="68"/>
                  </a:lnTo>
                  <a:lnTo>
                    <a:pt x="10067" y="29"/>
                  </a:lnTo>
                  <a:lnTo>
                    <a:pt x="9799" y="10"/>
                  </a:lnTo>
                  <a:lnTo>
                    <a:pt x="9550"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26"/>
            <p:cNvSpPr/>
            <p:nvPr/>
          </p:nvSpPr>
          <p:spPr>
            <a:xfrm>
              <a:off x="7525342" y="3053669"/>
              <a:ext cx="716599" cy="360561"/>
            </a:xfrm>
            <a:custGeom>
              <a:avLst/>
              <a:gdLst/>
              <a:ahLst/>
              <a:cxnLst/>
              <a:rect l="l" t="t" r="r" b="b"/>
              <a:pathLst>
                <a:path w="18219" h="9167" extrusionOk="0">
                  <a:moveTo>
                    <a:pt x="1265" y="0"/>
                  </a:moveTo>
                  <a:lnTo>
                    <a:pt x="1208" y="163"/>
                  </a:lnTo>
                  <a:lnTo>
                    <a:pt x="1141" y="355"/>
                  </a:lnTo>
                  <a:lnTo>
                    <a:pt x="1016" y="805"/>
                  </a:lnTo>
                  <a:lnTo>
                    <a:pt x="882" y="1341"/>
                  </a:lnTo>
                  <a:lnTo>
                    <a:pt x="748" y="1954"/>
                  </a:lnTo>
                  <a:lnTo>
                    <a:pt x="623" y="2615"/>
                  </a:lnTo>
                  <a:lnTo>
                    <a:pt x="489" y="3314"/>
                  </a:lnTo>
                  <a:lnTo>
                    <a:pt x="374" y="4033"/>
                  </a:lnTo>
                  <a:lnTo>
                    <a:pt x="269" y="4770"/>
                  </a:lnTo>
                  <a:lnTo>
                    <a:pt x="173" y="5498"/>
                  </a:lnTo>
                  <a:lnTo>
                    <a:pt x="97" y="6207"/>
                  </a:lnTo>
                  <a:lnTo>
                    <a:pt x="39" y="6877"/>
                  </a:lnTo>
                  <a:lnTo>
                    <a:pt x="10" y="7490"/>
                  </a:lnTo>
                  <a:lnTo>
                    <a:pt x="1" y="7778"/>
                  </a:lnTo>
                  <a:lnTo>
                    <a:pt x="1" y="8046"/>
                  </a:lnTo>
                  <a:lnTo>
                    <a:pt x="10" y="8295"/>
                  </a:lnTo>
                  <a:lnTo>
                    <a:pt x="29" y="8525"/>
                  </a:lnTo>
                  <a:lnTo>
                    <a:pt x="49" y="8726"/>
                  </a:lnTo>
                  <a:lnTo>
                    <a:pt x="77" y="8898"/>
                  </a:lnTo>
                  <a:lnTo>
                    <a:pt x="125" y="9051"/>
                  </a:lnTo>
                  <a:lnTo>
                    <a:pt x="173" y="9166"/>
                  </a:lnTo>
                  <a:lnTo>
                    <a:pt x="10795" y="7318"/>
                  </a:lnTo>
                  <a:lnTo>
                    <a:pt x="11130" y="7251"/>
                  </a:lnTo>
                  <a:lnTo>
                    <a:pt x="11466" y="7174"/>
                  </a:lnTo>
                  <a:lnTo>
                    <a:pt x="11801" y="7078"/>
                  </a:lnTo>
                  <a:lnTo>
                    <a:pt x="12127" y="6983"/>
                  </a:lnTo>
                  <a:lnTo>
                    <a:pt x="12452" y="6868"/>
                  </a:lnTo>
                  <a:lnTo>
                    <a:pt x="12768" y="6743"/>
                  </a:lnTo>
                  <a:lnTo>
                    <a:pt x="13084" y="6609"/>
                  </a:lnTo>
                  <a:lnTo>
                    <a:pt x="13391" y="6456"/>
                  </a:lnTo>
                  <a:lnTo>
                    <a:pt x="13688" y="6303"/>
                  </a:lnTo>
                  <a:lnTo>
                    <a:pt x="13985" y="6130"/>
                  </a:lnTo>
                  <a:lnTo>
                    <a:pt x="14263" y="5958"/>
                  </a:lnTo>
                  <a:lnTo>
                    <a:pt x="14550" y="5766"/>
                  </a:lnTo>
                  <a:lnTo>
                    <a:pt x="14818" y="5575"/>
                  </a:lnTo>
                  <a:lnTo>
                    <a:pt x="15086" y="5364"/>
                  </a:lnTo>
                  <a:lnTo>
                    <a:pt x="15335" y="5144"/>
                  </a:lnTo>
                  <a:lnTo>
                    <a:pt x="15584" y="4923"/>
                  </a:lnTo>
                  <a:lnTo>
                    <a:pt x="15824" y="4693"/>
                  </a:lnTo>
                  <a:lnTo>
                    <a:pt x="16054" y="4444"/>
                  </a:lnTo>
                  <a:lnTo>
                    <a:pt x="16274" y="4195"/>
                  </a:lnTo>
                  <a:lnTo>
                    <a:pt x="16494" y="3937"/>
                  </a:lnTo>
                  <a:lnTo>
                    <a:pt x="16695" y="3669"/>
                  </a:lnTo>
                  <a:lnTo>
                    <a:pt x="16887" y="3400"/>
                  </a:lnTo>
                  <a:lnTo>
                    <a:pt x="17069" y="3113"/>
                  </a:lnTo>
                  <a:lnTo>
                    <a:pt x="17241" y="2826"/>
                  </a:lnTo>
                  <a:lnTo>
                    <a:pt x="17404" y="2529"/>
                  </a:lnTo>
                  <a:lnTo>
                    <a:pt x="17548" y="2222"/>
                  </a:lnTo>
                  <a:lnTo>
                    <a:pt x="17691" y="1916"/>
                  </a:lnTo>
                  <a:lnTo>
                    <a:pt x="17816" y="1600"/>
                  </a:lnTo>
                  <a:lnTo>
                    <a:pt x="17931" y="1284"/>
                  </a:lnTo>
                  <a:lnTo>
                    <a:pt x="18036" y="948"/>
                  </a:lnTo>
                  <a:lnTo>
                    <a:pt x="18123" y="623"/>
                  </a:lnTo>
                  <a:lnTo>
                    <a:pt x="18199" y="278"/>
                  </a:lnTo>
                  <a:lnTo>
                    <a:pt x="18218" y="211"/>
                  </a:lnTo>
                  <a:lnTo>
                    <a:pt x="17749" y="182"/>
                  </a:lnTo>
                  <a:lnTo>
                    <a:pt x="17136" y="163"/>
                  </a:lnTo>
                  <a:lnTo>
                    <a:pt x="15575" y="125"/>
                  </a:lnTo>
                  <a:lnTo>
                    <a:pt x="13611" y="86"/>
                  </a:lnTo>
                  <a:lnTo>
                    <a:pt x="11351" y="58"/>
                  </a:lnTo>
                  <a:lnTo>
                    <a:pt x="8889" y="29"/>
                  </a:lnTo>
                  <a:lnTo>
                    <a:pt x="6322" y="10"/>
                  </a:lnTo>
                  <a:lnTo>
                    <a:pt x="3755"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26"/>
            <p:cNvSpPr/>
            <p:nvPr/>
          </p:nvSpPr>
          <p:spPr>
            <a:xfrm>
              <a:off x="7773602" y="1679393"/>
              <a:ext cx="218925" cy="431399"/>
            </a:xfrm>
            <a:custGeom>
              <a:avLst/>
              <a:gdLst/>
              <a:ahLst/>
              <a:cxnLst/>
              <a:rect l="l" t="t" r="r" b="b"/>
              <a:pathLst>
                <a:path w="5566" h="10968" extrusionOk="0">
                  <a:moveTo>
                    <a:pt x="2204" y="0"/>
                  </a:moveTo>
                  <a:lnTo>
                    <a:pt x="1" y="3314"/>
                  </a:lnTo>
                  <a:lnTo>
                    <a:pt x="96" y="3669"/>
                  </a:lnTo>
                  <a:lnTo>
                    <a:pt x="173" y="4004"/>
                  </a:lnTo>
                  <a:lnTo>
                    <a:pt x="250" y="4339"/>
                  </a:lnTo>
                  <a:lnTo>
                    <a:pt x="317" y="4665"/>
                  </a:lnTo>
                  <a:lnTo>
                    <a:pt x="374" y="4981"/>
                  </a:lnTo>
                  <a:lnTo>
                    <a:pt x="422" y="5297"/>
                  </a:lnTo>
                  <a:lnTo>
                    <a:pt x="499" y="5881"/>
                  </a:lnTo>
                  <a:lnTo>
                    <a:pt x="556" y="6437"/>
                  </a:lnTo>
                  <a:lnTo>
                    <a:pt x="585" y="6954"/>
                  </a:lnTo>
                  <a:lnTo>
                    <a:pt x="595" y="7433"/>
                  </a:lnTo>
                  <a:lnTo>
                    <a:pt x="595" y="7864"/>
                  </a:lnTo>
                  <a:lnTo>
                    <a:pt x="575" y="8247"/>
                  </a:lnTo>
                  <a:lnTo>
                    <a:pt x="556" y="8592"/>
                  </a:lnTo>
                  <a:lnTo>
                    <a:pt x="528" y="8889"/>
                  </a:lnTo>
                  <a:lnTo>
                    <a:pt x="499" y="9128"/>
                  </a:lnTo>
                  <a:lnTo>
                    <a:pt x="441" y="9463"/>
                  </a:lnTo>
                  <a:lnTo>
                    <a:pt x="413" y="9578"/>
                  </a:lnTo>
                  <a:lnTo>
                    <a:pt x="413" y="9770"/>
                  </a:lnTo>
                  <a:lnTo>
                    <a:pt x="422" y="9952"/>
                  </a:lnTo>
                  <a:lnTo>
                    <a:pt x="451" y="10115"/>
                  </a:lnTo>
                  <a:lnTo>
                    <a:pt x="489" y="10258"/>
                  </a:lnTo>
                  <a:lnTo>
                    <a:pt x="528" y="10392"/>
                  </a:lnTo>
                  <a:lnTo>
                    <a:pt x="585" y="10507"/>
                  </a:lnTo>
                  <a:lnTo>
                    <a:pt x="652" y="10603"/>
                  </a:lnTo>
                  <a:lnTo>
                    <a:pt x="729" y="10699"/>
                  </a:lnTo>
                  <a:lnTo>
                    <a:pt x="815" y="10766"/>
                  </a:lnTo>
                  <a:lnTo>
                    <a:pt x="911" y="10833"/>
                  </a:lnTo>
                  <a:lnTo>
                    <a:pt x="1006" y="10881"/>
                  </a:lnTo>
                  <a:lnTo>
                    <a:pt x="1112" y="10919"/>
                  </a:lnTo>
                  <a:lnTo>
                    <a:pt x="1227" y="10948"/>
                  </a:lnTo>
                  <a:lnTo>
                    <a:pt x="1351" y="10958"/>
                  </a:lnTo>
                  <a:lnTo>
                    <a:pt x="1476" y="10967"/>
                  </a:lnTo>
                  <a:lnTo>
                    <a:pt x="1610" y="10958"/>
                  </a:lnTo>
                  <a:lnTo>
                    <a:pt x="1744" y="10948"/>
                  </a:lnTo>
                  <a:lnTo>
                    <a:pt x="1888" y="10919"/>
                  </a:lnTo>
                  <a:lnTo>
                    <a:pt x="2031" y="10890"/>
                  </a:lnTo>
                  <a:lnTo>
                    <a:pt x="2175" y="10852"/>
                  </a:lnTo>
                  <a:lnTo>
                    <a:pt x="2328" y="10804"/>
                  </a:lnTo>
                  <a:lnTo>
                    <a:pt x="2481" y="10747"/>
                  </a:lnTo>
                  <a:lnTo>
                    <a:pt x="2788" y="10622"/>
                  </a:lnTo>
                  <a:lnTo>
                    <a:pt x="3094" y="10469"/>
                  </a:lnTo>
                  <a:lnTo>
                    <a:pt x="3401" y="10297"/>
                  </a:lnTo>
                  <a:lnTo>
                    <a:pt x="3707" y="10105"/>
                  </a:lnTo>
                  <a:lnTo>
                    <a:pt x="3995" y="9904"/>
                  </a:lnTo>
                  <a:lnTo>
                    <a:pt x="4177" y="9770"/>
                  </a:lnTo>
                  <a:lnTo>
                    <a:pt x="4349" y="9636"/>
                  </a:lnTo>
                  <a:lnTo>
                    <a:pt x="4512" y="9492"/>
                  </a:lnTo>
                  <a:lnTo>
                    <a:pt x="4656" y="9348"/>
                  </a:lnTo>
                  <a:lnTo>
                    <a:pt x="4799" y="9205"/>
                  </a:lnTo>
                  <a:lnTo>
                    <a:pt x="4924" y="9071"/>
                  </a:lnTo>
                  <a:lnTo>
                    <a:pt x="5154" y="8802"/>
                  </a:lnTo>
                  <a:lnTo>
                    <a:pt x="5336" y="8573"/>
                  </a:lnTo>
                  <a:lnTo>
                    <a:pt x="5460" y="8391"/>
                  </a:lnTo>
                  <a:lnTo>
                    <a:pt x="5566" y="8237"/>
                  </a:lnTo>
                  <a:lnTo>
                    <a:pt x="5336" y="7998"/>
                  </a:lnTo>
                  <a:lnTo>
                    <a:pt x="5115" y="7739"/>
                  </a:lnTo>
                  <a:lnTo>
                    <a:pt x="4895" y="7471"/>
                  </a:lnTo>
                  <a:lnTo>
                    <a:pt x="4694" y="7184"/>
                  </a:lnTo>
                  <a:lnTo>
                    <a:pt x="4502" y="6887"/>
                  </a:lnTo>
                  <a:lnTo>
                    <a:pt x="4311" y="6571"/>
                  </a:lnTo>
                  <a:lnTo>
                    <a:pt x="4138" y="6255"/>
                  </a:lnTo>
                  <a:lnTo>
                    <a:pt x="3966" y="5919"/>
                  </a:lnTo>
                  <a:lnTo>
                    <a:pt x="3813" y="5584"/>
                  </a:lnTo>
                  <a:lnTo>
                    <a:pt x="3660" y="5249"/>
                  </a:lnTo>
                  <a:lnTo>
                    <a:pt x="3516" y="4904"/>
                  </a:lnTo>
                  <a:lnTo>
                    <a:pt x="3382" y="4559"/>
                  </a:lnTo>
                  <a:lnTo>
                    <a:pt x="3257" y="4215"/>
                  </a:lnTo>
                  <a:lnTo>
                    <a:pt x="3142" y="3879"/>
                  </a:lnTo>
                  <a:lnTo>
                    <a:pt x="3037" y="3544"/>
                  </a:lnTo>
                  <a:lnTo>
                    <a:pt x="2932" y="3209"/>
                  </a:lnTo>
                  <a:lnTo>
                    <a:pt x="2750" y="2567"/>
                  </a:lnTo>
                  <a:lnTo>
                    <a:pt x="2596" y="1964"/>
                  </a:lnTo>
                  <a:lnTo>
                    <a:pt x="2472" y="1427"/>
                  </a:lnTo>
                  <a:lnTo>
                    <a:pt x="2376" y="948"/>
                  </a:lnTo>
                  <a:lnTo>
                    <a:pt x="2299" y="556"/>
                  </a:lnTo>
                  <a:lnTo>
                    <a:pt x="2242" y="259"/>
                  </a:lnTo>
                  <a:lnTo>
                    <a:pt x="2204" y="0"/>
                  </a:lnTo>
                  <a:close/>
                </a:path>
              </a:pathLst>
            </a:custGeom>
            <a:solidFill>
              <a:srgbClr val="FF96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26"/>
            <p:cNvSpPr/>
            <p:nvPr/>
          </p:nvSpPr>
          <p:spPr>
            <a:xfrm>
              <a:off x="7603337" y="1639826"/>
              <a:ext cx="309350" cy="325516"/>
            </a:xfrm>
            <a:custGeom>
              <a:avLst/>
              <a:gdLst/>
              <a:ahLst/>
              <a:cxnLst/>
              <a:rect l="l" t="t" r="r" b="b"/>
              <a:pathLst>
                <a:path w="7865" h="8276" extrusionOk="0">
                  <a:moveTo>
                    <a:pt x="6169" y="0"/>
                  </a:moveTo>
                  <a:lnTo>
                    <a:pt x="6015" y="29"/>
                  </a:lnTo>
                  <a:lnTo>
                    <a:pt x="5853" y="58"/>
                  </a:lnTo>
                  <a:lnTo>
                    <a:pt x="5517" y="154"/>
                  </a:lnTo>
                  <a:lnTo>
                    <a:pt x="5335" y="192"/>
                  </a:lnTo>
                  <a:lnTo>
                    <a:pt x="5153" y="230"/>
                  </a:lnTo>
                  <a:lnTo>
                    <a:pt x="4962" y="259"/>
                  </a:lnTo>
                  <a:lnTo>
                    <a:pt x="4761" y="278"/>
                  </a:lnTo>
                  <a:lnTo>
                    <a:pt x="4358" y="297"/>
                  </a:lnTo>
                  <a:lnTo>
                    <a:pt x="3947" y="326"/>
                  </a:lnTo>
                  <a:lnTo>
                    <a:pt x="3535" y="364"/>
                  </a:lnTo>
                  <a:lnTo>
                    <a:pt x="3123" y="412"/>
                  </a:lnTo>
                  <a:lnTo>
                    <a:pt x="2721" y="470"/>
                  </a:lnTo>
                  <a:lnTo>
                    <a:pt x="2328" y="527"/>
                  </a:lnTo>
                  <a:lnTo>
                    <a:pt x="1590" y="652"/>
                  </a:lnTo>
                  <a:lnTo>
                    <a:pt x="949" y="767"/>
                  </a:lnTo>
                  <a:lnTo>
                    <a:pt x="451" y="872"/>
                  </a:lnTo>
                  <a:lnTo>
                    <a:pt x="0" y="968"/>
                  </a:lnTo>
                  <a:lnTo>
                    <a:pt x="144" y="1408"/>
                  </a:lnTo>
                  <a:lnTo>
                    <a:pt x="508" y="2510"/>
                  </a:lnTo>
                  <a:lnTo>
                    <a:pt x="738" y="3190"/>
                  </a:lnTo>
                  <a:lnTo>
                    <a:pt x="997" y="3908"/>
                  </a:lnTo>
                  <a:lnTo>
                    <a:pt x="1265" y="4617"/>
                  </a:lnTo>
                  <a:lnTo>
                    <a:pt x="1533" y="5268"/>
                  </a:lnTo>
                  <a:lnTo>
                    <a:pt x="1638" y="5508"/>
                  </a:lnTo>
                  <a:lnTo>
                    <a:pt x="1763" y="5757"/>
                  </a:lnTo>
                  <a:lnTo>
                    <a:pt x="1916" y="5996"/>
                  </a:lnTo>
                  <a:lnTo>
                    <a:pt x="2079" y="6255"/>
                  </a:lnTo>
                  <a:lnTo>
                    <a:pt x="2261" y="6494"/>
                  </a:lnTo>
                  <a:lnTo>
                    <a:pt x="2452" y="6743"/>
                  </a:lnTo>
                  <a:lnTo>
                    <a:pt x="2654" y="6983"/>
                  </a:lnTo>
                  <a:lnTo>
                    <a:pt x="2874" y="7203"/>
                  </a:lnTo>
                  <a:lnTo>
                    <a:pt x="3094" y="7414"/>
                  </a:lnTo>
                  <a:lnTo>
                    <a:pt x="3324" y="7615"/>
                  </a:lnTo>
                  <a:lnTo>
                    <a:pt x="3563" y="7787"/>
                  </a:lnTo>
                  <a:lnTo>
                    <a:pt x="3803" y="7941"/>
                  </a:lnTo>
                  <a:lnTo>
                    <a:pt x="3927" y="8008"/>
                  </a:lnTo>
                  <a:lnTo>
                    <a:pt x="4052" y="8075"/>
                  </a:lnTo>
                  <a:lnTo>
                    <a:pt x="4176" y="8123"/>
                  </a:lnTo>
                  <a:lnTo>
                    <a:pt x="4291" y="8171"/>
                  </a:lnTo>
                  <a:lnTo>
                    <a:pt x="4416" y="8209"/>
                  </a:lnTo>
                  <a:lnTo>
                    <a:pt x="4540" y="8238"/>
                  </a:lnTo>
                  <a:lnTo>
                    <a:pt x="4665" y="8257"/>
                  </a:lnTo>
                  <a:lnTo>
                    <a:pt x="4780" y="8276"/>
                  </a:lnTo>
                  <a:lnTo>
                    <a:pt x="4943" y="8276"/>
                  </a:lnTo>
                  <a:lnTo>
                    <a:pt x="5106" y="8257"/>
                  </a:lnTo>
                  <a:lnTo>
                    <a:pt x="5259" y="8218"/>
                  </a:lnTo>
                  <a:lnTo>
                    <a:pt x="5412" y="8171"/>
                  </a:lnTo>
                  <a:lnTo>
                    <a:pt x="5556" y="8113"/>
                  </a:lnTo>
                  <a:lnTo>
                    <a:pt x="5709" y="8036"/>
                  </a:lnTo>
                  <a:lnTo>
                    <a:pt x="5843" y="7950"/>
                  </a:lnTo>
                  <a:lnTo>
                    <a:pt x="5987" y="7855"/>
                  </a:lnTo>
                  <a:lnTo>
                    <a:pt x="6111" y="7749"/>
                  </a:lnTo>
                  <a:lnTo>
                    <a:pt x="6236" y="7634"/>
                  </a:lnTo>
                  <a:lnTo>
                    <a:pt x="6360" y="7519"/>
                  </a:lnTo>
                  <a:lnTo>
                    <a:pt x="6475" y="7395"/>
                  </a:lnTo>
                  <a:lnTo>
                    <a:pt x="6581" y="7280"/>
                  </a:lnTo>
                  <a:lnTo>
                    <a:pt x="6676" y="7155"/>
                  </a:lnTo>
                  <a:lnTo>
                    <a:pt x="6849" y="6906"/>
                  </a:lnTo>
                  <a:lnTo>
                    <a:pt x="7021" y="6629"/>
                  </a:lnTo>
                  <a:lnTo>
                    <a:pt x="7174" y="6360"/>
                  </a:lnTo>
                  <a:lnTo>
                    <a:pt x="7308" y="6083"/>
                  </a:lnTo>
                  <a:lnTo>
                    <a:pt x="7423" y="5814"/>
                  </a:lnTo>
                  <a:lnTo>
                    <a:pt x="7529" y="5556"/>
                  </a:lnTo>
                  <a:lnTo>
                    <a:pt x="7615" y="5288"/>
                  </a:lnTo>
                  <a:lnTo>
                    <a:pt x="7682" y="5029"/>
                  </a:lnTo>
                  <a:lnTo>
                    <a:pt x="7749" y="4780"/>
                  </a:lnTo>
                  <a:lnTo>
                    <a:pt x="7787" y="4531"/>
                  </a:lnTo>
                  <a:lnTo>
                    <a:pt x="7826" y="4282"/>
                  </a:lnTo>
                  <a:lnTo>
                    <a:pt x="7845" y="4042"/>
                  </a:lnTo>
                  <a:lnTo>
                    <a:pt x="7854" y="3813"/>
                  </a:lnTo>
                  <a:lnTo>
                    <a:pt x="7864" y="3583"/>
                  </a:lnTo>
                  <a:lnTo>
                    <a:pt x="7854" y="3372"/>
                  </a:lnTo>
                  <a:lnTo>
                    <a:pt x="7845" y="3161"/>
                  </a:lnTo>
                  <a:lnTo>
                    <a:pt x="7826" y="2960"/>
                  </a:lnTo>
                  <a:lnTo>
                    <a:pt x="7797" y="2759"/>
                  </a:lnTo>
                  <a:lnTo>
                    <a:pt x="7768" y="2577"/>
                  </a:lnTo>
                  <a:lnTo>
                    <a:pt x="7701" y="2242"/>
                  </a:lnTo>
                  <a:lnTo>
                    <a:pt x="7625" y="1945"/>
                  </a:lnTo>
                  <a:lnTo>
                    <a:pt x="7548" y="1686"/>
                  </a:lnTo>
                  <a:lnTo>
                    <a:pt x="7471" y="1485"/>
                  </a:lnTo>
                  <a:lnTo>
                    <a:pt x="7404" y="1341"/>
                  </a:lnTo>
                  <a:lnTo>
                    <a:pt x="7347" y="1217"/>
                  </a:lnTo>
                  <a:lnTo>
                    <a:pt x="7270" y="987"/>
                  </a:lnTo>
                  <a:lnTo>
                    <a:pt x="7194" y="776"/>
                  </a:lnTo>
                  <a:lnTo>
                    <a:pt x="7136" y="661"/>
                  </a:lnTo>
                  <a:lnTo>
                    <a:pt x="7079" y="546"/>
                  </a:lnTo>
                  <a:lnTo>
                    <a:pt x="7031" y="451"/>
                  </a:lnTo>
                  <a:lnTo>
                    <a:pt x="6964" y="364"/>
                  </a:lnTo>
                  <a:lnTo>
                    <a:pt x="6906" y="288"/>
                  </a:lnTo>
                  <a:lnTo>
                    <a:pt x="6849" y="221"/>
                  </a:lnTo>
                  <a:lnTo>
                    <a:pt x="6782" y="173"/>
                  </a:lnTo>
                  <a:lnTo>
                    <a:pt x="6724" y="125"/>
                  </a:lnTo>
                  <a:lnTo>
                    <a:pt x="6657" y="87"/>
                  </a:lnTo>
                  <a:lnTo>
                    <a:pt x="6590" y="48"/>
                  </a:lnTo>
                  <a:lnTo>
                    <a:pt x="6523" y="29"/>
                  </a:lnTo>
                  <a:lnTo>
                    <a:pt x="6456" y="10"/>
                  </a:lnTo>
                  <a:lnTo>
                    <a:pt x="6389"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26"/>
            <p:cNvSpPr/>
            <p:nvPr/>
          </p:nvSpPr>
          <p:spPr>
            <a:xfrm>
              <a:off x="7868902" y="1648479"/>
              <a:ext cx="64112" cy="110052"/>
            </a:xfrm>
            <a:custGeom>
              <a:avLst/>
              <a:gdLst/>
              <a:ahLst/>
              <a:cxnLst/>
              <a:rect l="l" t="t" r="r" b="b"/>
              <a:pathLst>
                <a:path w="1630" h="2798" extrusionOk="0">
                  <a:moveTo>
                    <a:pt x="624" y="1"/>
                  </a:moveTo>
                  <a:lnTo>
                    <a:pt x="547" y="10"/>
                  </a:lnTo>
                  <a:lnTo>
                    <a:pt x="470" y="29"/>
                  </a:lnTo>
                  <a:lnTo>
                    <a:pt x="394" y="68"/>
                  </a:lnTo>
                  <a:lnTo>
                    <a:pt x="327" y="116"/>
                  </a:lnTo>
                  <a:lnTo>
                    <a:pt x="269" y="173"/>
                  </a:lnTo>
                  <a:lnTo>
                    <a:pt x="212" y="240"/>
                  </a:lnTo>
                  <a:lnTo>
                    <a:pt x="164" y="326"/>
                  </a:lnTo>
                  <a:lnTo>
                    <a:pt x="116" y="422"/>
                  </a:lnTo>
                  <a:lnTo>
                    <a:pt x="78" y="518"/>
                  </a:lnTo>
                  <a:lnTo>
                    <a:pt x="49" y="623"/>
                  </a:lnTo>
                  <a:lnTo>
                    <a:pt x="20" y="738"/>
                  </a:lnTo>
                  <a:lnTo>
                    <a:pt x="11" y="863"/>
                  </a:lnTo>
                  <a:lnTo>
                    <a:pt x="1" y="997"/>
                  </a:lnTo>
                  <a:lnTo>
                    <a:pt x="1" y="1121"/>
                  </a:lnTo>
                  <a:lnTo>
                    <a:pt x="1" y="1265"/>
                  </a:lnTo>
                  <a:lnTo>
                    <a:pt x="20" y="1399"/>
                  </a:lnTo>
                  <a:lnTo>
                    <a:pt x="39" y="1543"/>
                  </a:lnTo>
                  <a:lnTo>
                    <a:pt x="68" y="1686"/>
                  </a:lnTo>
                  <a:lnTo>
                    <a:pt x="106" y="1821"/>
                  </a:lnTo>
                  <a:lnTo>
                    <a:pt x="154" y="1955"/>
                  </a:lnTo>
                  <a:lnTo>
                    <a:pt x="202" y="2079"/>
                  </a:lnTo>
                  <a:lnTo>
                    <a:pt x="260" y="2194"/>
                  </a:lnTo>
                  <a:lnTo>
                    <a:pt x="327" y="2299"/>
                  </a:lnTo>
                  <a:lnTo>
                    <a:pt x="384" y="2395"/>
                  </a:lnTo>
                  <a:lnTo>
                    <a:pt x="461" y="2491"/>
                  </a:lnTo>
                  <a:lnTo>
                    <a:pt x="528" y="2568"/>
                  </a:lnTo>
                  <a:lnTo>
                    <a:pt x="604" y="2635"/>
                  </a:lnTo>
                  <a:lnTo>
                    <a:pt x="681" y="2692"/>
                  </a:lnTo>
                  <a:lnTo>
                    <a:pt x="758" y="2740"/>
                  </a:lnTo>
                  <a:lnTo>
                    <a:pt x="844" y="2769"/>
                  </a:lnTo>
                  <a:lnTo>
                    <a:pt x="920" y="2798"/>
                  </a:lnTo>
                  <a:lnTo>
                    <a:pt x="997" y="2798"/>
                  </a:lnTo>
                  <a:lnTo>
                    <a:pt x="1083" y="2788"/>
                  </a:lnTo>
                  <a:lnTo>
                    <a:pt x="1160" y="2769"/>
                  </a:lnTo>
                  <a:lnTo>
                    <a:pt x="1237" y="2731"/>
                  </a:lnTo>
                  <a:lnTo>
                    <a:pt x="1304" y="2683"/>
                  </a:lnTo>
                  <a:lnTo>
                    <a:pt x="1361" y="2625"/>
                  </a:lnTo>
                  <a:lnTo>
                    <a:pt x="1419" y="2549"/>
                  </a:lnTo>
                  <a:lnTo>
                    <a:pt x="1466" y="2472"/>
                  </a:lnTo>
                  <a:lnTo>
                    <a:pt x="1514" y="2376"/>
                  </a:lnTo>
                  <a:lnTo>
                    <a:pt x="1553" y="2280"/>
                  </a:lnTo>
                  <a:lnTo>
                    <a:pt x="1581" y="2175"/>
                  </a:lnTo>
                  <a:lnTo>
                    <a:pt x="1601" y="2050"/>
                  </a:lnTo>
                  <a:lnTo>
                    <a:pt x="1620" y="1936"/>
                  </a:lnTo>
                  <a:lnTo>
                    <a:pt x="1629" y="1801"/>
                  </a:lnTo>
                  <a:lnTo>
                    <a:pt x="1629" y="1667"/>
                  </a:lnTo>
                  <a:lnTo>
                    <a:pt x="1629" y="1533"/>
                  </a:lnTo>
                  <a:lnTo>
                    <a:pt x="1610" y="1390"/>
                  </a:lnTo>
                  <a:lnTo>
                    <a:pt x="1591" y="1246"/>
                  </a:lnTo>
                  <a:lnTo>
                    <a:pt x="1553" y="1112"/>
                  </a:lnTo>
                  <a:lnTo>
                    <a:pt x="1514" y="968"/>
                  </a:lnTo>
                  <a:lnTo>
                    <a:pt x="1476" y="844"/>
                  </a:lnTo>
                  <a:lnTo>
                    <a:pt x="1419" y="719"/>
                  </a:lnTo>
                  <a:lnTo>
                    <a:pt x="1371" y="604"/>
                  </a:lnTo>
                  <a:lnTo>
                    <a:pt x="1304" y="499"/>
                  </a:lnTo>
                  <a:lnTo>
                    <a:pt x="1237" y="393"/>
                  </a:lnTo>
                  <a:lnTo>
                    <a:pt x="1169" y="307"/>
                  </a:lnTo>
                  <a:lnTo>
                    <a:pt x="1102" y="231"/>
                  </a:lnTo>
                  <a:lnTo>
                    <a:pt x="1026" y="164"/>
                  </a:lnTo>
                  <a:lnTo>
                    <a:pt x="949" y="106"/>
                  </a:lnTo>
                  <a:lnTo>
                    <a:pt x="873" y="58"/>
                  </a:lnTo>
                  <a:lnTo>
                    <a:pt x="786" y="20"/>
                  </a:lnTo>
                  <a:lnTo>
                    <a:pt x="710" y="1"/>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26"/>
            <p:cNvSpPr/>
            <p:nvPr/>
          </p:nvSpPr>
          <p:spPr>
            <a:xfrm>
              <a:off x="7730652" y="1771311"/>
              <a:ext cx="42243" cy="79884"/>
            </a:xfrm>
            <a:custGeom>
              <a:avLst/>
              <a:gdLst/>
              <a:ahLst/>
              <a:cxnLst/>
              <a:rect l="l" t="t" r="r" b="b"/>
              <a:pathLst>
                <a:path w="1074" h="2031" extrusionOk="0">
                  <a:moveTo>
                    <a:pt x="1" y="0"/>
                  </a:moveTo>
                  <a:lnTo>
                    <a:pt x="77" y="211"/>
                  </a:lnTo>
                  <a:lnTo>
                    <a:pt x="144" y="422"/>
                  </a:lnTo>
                  <a:lnTo>
                    <a:pt x="192" y="632"/>
                  </a:lnTo>
                  <a:lnTo>
                    <a:pt x="231" y="843"/>
                  </a:lnTo>
                  <a:lnTo>
                    <a:pt x="259" y="1063"/>
                  </a:lnTo>
                  <a:lnTo>
                    <a:pt x="269" y="1274"/>
                  </a:lnTo>
                  <a:lnTo>
                    <a:pt x="279" y="1494"/>
                  </a:lnTo>
                  <a:lnTo>
                    <a:pt x="269" y="1705"/>
                  </a:lnTo>
                  <a:lnTo>
                    <a:pt x="298" y="1791"/>
                  </a:lnTo>
                  <a:lnTo>
                    <a:pt x="336" y="1868"/>
                  </a:lnTo>
                  <a:lnTo>
                    <a:pt x="394" y="1935"/>
                  </a:lnTo>
                  <a:lnTo>
                    <a:pt x="461" y="1983"/>
                  </a:lnTo>
                  <a:lnTo>
                    <a:pt x="537" y="2021"/>
                  </a:lnTo>
                  <a:lnTo>
                    <a:pt x="623" y="2031"/>
                  </a:lnTo>
                  <a:lnTo>
                    <a:pt x="710" y="2031"/>
                  </a:lnTo>
                  <a:lnTo>
                    <a:pt x="796" y="2012"/>
                  </a:lnTo>
                  <a:lnTo>
                    <a:pt x="882" y="1973"/>
                  </a:lnTo>
                  <a:lnTo>
                    <a:pt x="959" y="1916"/>
                  </a:lnTo>
                  <a:lnTo>
                    <a:pt x="1016" y="1849"/>
                  </a:lnTo>
                  <a:lnTo>
                    <a:pt x="1054" y="1772"/>
                  </a:lnTo>
                  <a:lnTo>
                    <a:pt x="1074" y="1686"/>
                  </a:lnTo>
                  <a:lnTo>
                    <a:pt x="1074" y="1590"/>
                  </a:lnTo>
                  <a:lnTo>
                    <a:pt x="1054" y="1504"/>
                  </a:lnTo>
                  <a:lnTo>
                    <a:pt x="1016" y="1418"/>
                  </a:lnTo>
                  <a:lnTo>
                    <a:pt x="1" y="0"/>
                  </a:lnTo>
                  <a:close/>
                </a:path>
              </a:pathLst>
            </a:custGeom>
            <a:solidFill>
              <a:srgbClr val="FF640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26"/>
            <p:cNvSpPr/>
            <p:nvPr/>
          </p:nvSpPr>
          <p:spPr>
            <a:xfrm>
              <a:off x="7484280" y="1425864"/>
              <a:ext cx="326656" cy="355644"/>
            </a:xfrm>
            <a:custGeom>
              <a:avLst/>
              <a:gdLst/>
              <a:ahLst/>
              <a:cxnLst/>
              <a:rect l="l" t="t" r="r" b="b"/>
              <a:pathLst>
                <a:path w="8305" h="9042" extrusionOk="0">
                  <a:moveTo>
                    <a:pt x="4502" y="0"/>
                  </a:moveTo>
                  <a:lnTo>
                    <a:pt x="4225" y="29"/>
                  </a:lnTo>
                  <a:lnTo>
                    <a:pt x="3937" y="58"/>
                  </a:lnTo>
                  <a:lnTo>
                    <a:pt x="3640" y="115"/>
                  </a:lnTo>
                  <a:lnTo>
                    <a:pt x="3487" y="153"/>
                  </a:lnTo>
                  <a:lnTo>
                    <a:pt x="3343" y="192"/>
                  </a:lnTo>
                  <a:lnTo>
                    <a:pt x="3200" y="249"/>
                  </a:lnTo>
                  <a:lnTo>
                    <a:pt x="3056" y="307"/>
                  </a:lnTo>
                  <a:lnTo>
                    <a:pt x="2912" y="374"/>
                  </a:lnTo>
                  <a:lnTo>
                    <a:pt x="2769" y="450"/>
                  </a:lnTo>
                  <a:lnTo>
                    <a:pt x="2635" y="527"/>
                  </a:lnTo>
                  <a:lnTo>
                    <a:pt x="2501" y="623"/>
                  </a:lnTo>
                  <a:lnTo>
                    <a:pt x="2367" y="718"/>
                  </a:lnTo>
                  <a:lnTo>
                    <a:pt x="2232" y="824"/>
                  </a:lnTo>
                  <a:lnTo>
                    <a:pt x="2108" y="929"/>
                  </a:lnTo>
                  <a:lnTo>
                    <a:pt x="1983" y="1044"/>
                  </a:lnTo>
                  <a:lnTo>
                    <a:pt x="1859" y="1159"/>
                  </a:lnTo>
                  <a:lnTo>
                    <a:pt x="1734" y="1284"/>
                  </a:lnTo>
                  <a:lnTo>
                    <a:pt x="1504" y="1552"/>
                  </a:lnTo>
                  <a:lnTo>
                    <a:pt x="1284" y="1839"/>
                  </a:lnTo>
                  <a:lnTo>
                    <a:pt x="1083" y="2136"/>
                  </a:lnTo>
                  <a:lnTo>
                    <a:pt x="892" y="2452"/>
                  </a:lnTo>
                  <a:lnTo>
                    <a:pt x="719" y="2787"/>
                  </a:lnTo>
                  <a:lnTo>
                    <a:pt x="566" y="3123"/>
                  </a:lnTo>
                  <a:lnTo>
                    <a:pt x="422" y="3467"/>
                  </a:lnTo>
                  <a:lnTo>
                    <a:pt x="298" y="3822"/>
                  </a:lnTo>
                  <a:lnTo>
                    <a:pt x="202" y="4176"/>
                  </a:lnTo>
                  <a:lnTo>
                    <a:pt x="116" y="4531"/>
                  </a:lnTo>
                  <a:lnTo>
                    <a:pt x="58" y="4894"/>
                  </a:lnTo>
                  <a:lnTo>
                    <a:pt x="10" y="5249"/>
                  </a:lnTo>
                  <a:lnTo>
                    <a:pt x="1" y="5603"/>
                  </a:lnTo>
                  <a:lnTo>
                    <a:pt x="1" y="5776"/>
                  </a:lnTo>
                  <a:lnTo>
                    <a:pt x="1" y="5948"/>
                  </a:lnTo>
                  <a:lnTo>
                    <a:pt x="10" y="6120"/>
                  </a:lnTo>
                  <a:lnTo>
                    <a:pt x="29" y="6283"/>
                  </a:lnTo>
                  <a:lnTo>
                    <a:pt x="58" y="6446"/>
                  </a:lnTo>
                  <a:lnTo>
                    <a:pt x="87" y="6609"/>
                  </a:lnTo>
                  <a:lnTo>
                    <a:pt x="125" y="6772"/>
                  </a:lnTo>
                  <a:lnTo>
                    <a:pt x="173" y="6925"/>
                  </a:lnTo>
                  <a:lnTo>
                    <a:pt x="221" y="7078"/>
                  </a:lnTo>
                  <a:lnTo>
                    <a:pt x="279" y="7222"/>
                  </a:lnTo>
                  <a:lnTo>
                    <a:pt x="346" y="7366"/>
                  </a:lnTo>
                  <a:lnTo>
                    <a:pt x="413" y="7509"/>
                  </a:lnTo>
                  <a:lnTo>
                    <a:pt x="499" y="7643"/>
                  </a:lnTo>
                  <a:lnTo>
                    <a:pt x="585" y="7778"/>
                  </a:lnTo>
                  <a:lnTo>
                    <a:pt x="671" y="7902"/>
                  </a:lnTo>
                  <a:lnTo>
                    <a:pt x="777" y="8017"/>
                  </a:lnTo>
                  <a:lnTo>
                    <a:pt x="882" y="8132"/>
                  </a:lnTo>
                  <a:lnTo>
                    <a:pt x="1006" y="8237"/>
                  </a:lnTo>
                  <a:lnTo>
                    <a:pt x="1131" y="8343"/>
                  </a:lnTo>
                  <a:lnTo>
                    <a:pt x="1255" y="8438"/>
                  </a:lnTo>
                  <a:lnTo>
                    <a:pt x="1399" y="8525"/>
                  </a:lnTo>
                  <a:lnTo>
                    <a:pt x="1552" y="8601"/>
                  </a:lnTo>
                  <a:lnTo>
                    <a:pt x="1706" y="8678"/>
                  </a:lnTo>
                  <a:lnTo>
                    <a:pt x="1868" y="8745"/>
                  </a:lnTo>
                  <a:lnTo>
                    <a:pt x="2041" y="8802"/>
                  </a:lnTo>
                  <a:lnTo>
                    <a:pt x="2204" y="8860"/>
                  </a:lnTo>
                  <a:lnTo>
                    <a:pt x="2367" y="8908"/>
                  </a:lnTo>
                  <a:lnTo>
                    <a:pt x="2529" y="8946"/>
                  </a:lnTo>
                  <a:lnTo>
                    <a:pt x="2692" y="8975"/>
                  </a:lnTo>
                  <a:lnTo>
                    <a:pt x="2855" y="9004"/>
                  </a:lnTo>
                  <a:lnTo>
                    <a:pt x="3008" y="9023"/>
                  </a:lnTo>
                  <a:lnTo>
                    <a:pt x="3162" y="9032"/>
                  </a:lnTo>
                  <a:lnTo>
                    <a:pt x="3315" y="9042"/>
                  </a:lnTo>
                  <a:lnTo>
                    <a:pt x="3621" y="9042"/>
                  </a:lnTo>
                  <a:lnTo>
                    <a:pt x="3765" y="9032"/>
                  </a:lnTo>
                  <a:lnTo>
                    <a:pt x="4052" y="8994"/>
                  </a:lnTo>
                  <a:lnTo>
                    <a:pt x="4330" y="8936"/>
                  </a:lnTo>
                  <a:lnTo>
                    <a:pt x="4598" y="8860"/>
                  </a:lnTo>
                  <a:lnTo>
                    <a:pt x="4857" y="8754"/>
                  </a:lnTo>
                  <a:lnTo>
                    <a:pt x="5115" y="8640"/>
                  </a:lnTo>
                  <a:lnTo>
                    <a:pt x="5355" y="8505"/>
                  </a:lnTo>
                  <a:lnTo>
                    <a:pt x="5594" y="8362"/>
                  </a:lnTo>
                  <a:lnTo>
                    <a:pt x="5824" y="8189"/>
                  </a:lnTo>
                  <a:lnTo>
                    <a:pt x="6035" y="8007"/>
                  </a:lnTo>
                  <a:lnTo>
                    <a:pt x="6246" y="7816"/>
                  </a:lnTo>
                  <a:lnTo>
                    <a:pt x="6447" y="7605"/>
                  </a:lnTo>
                  <a:lnTo>
                    <a:pt x="6638" y="7394"/>
                  </a:lnTo>
                  <a:lnTo>
                    <a:pt x="6811" y="7165"/>
                  </a:lnTo>
                  <a:lnTo>
                    <a:pt x="6983" y="6925"/>
                  </a:lnTo>
                  <a:lnTo>
                    <a:pt x="7146" y="6676"/>
                  </a:lnTo>
                  <a:lnTo>
                    <a:pt x="7299" y="6417"/>
                  </a:lnTo>
                  <a:lnTo>
                    <a:pt x="7443" y="6149"/>
                  </a:lnTo>
                  <a:lnTo>
                    <a:pt x="7577" y="5881"/>
                  </a:lnTo>
                  <a:lnTo>
                    <a:pt x="7702" y="5613"/>
                  </a:lnTo>
                  <a:lnTo>
                    <a:pt x="7807" y="5335"/>
                  </a:lnTo>
                  <a:lnTo>
                    <a:pt x="7912" y="5048"/>
                  </a:lnTo>
                  <a:lnTo>
                    <a:pt x="8008" y="4770"/>
                  </a:lnTo>
                  <a:lnTo>
                    <a:pt x="8085" y="4483"/>
                  </a:lnTo>
                  <a:lnTo>
                    <a:pt x="8161" y="4195"/>
                  </a:lnTo>
                  <a:lnTo>
                    <a:pt x="8219" y="3908"/>
                  </a:lnTo>
                  <a:lnTo>
                    <a:pt x="8276" y="3630"/>
                  </a:lnTo>
                  <a:lnTo>
                    <a:pt x="8295" y="3458"/>
                  </a:lnTo>
                  <a:lnTo>
                    <a:pt x="8305" y="3285"/>
                  </a:lnTo>
                  <a:lnTo>
                    <a:pt x="8305" y="3103"/>
                  </a:lnTo>
                  <a:lnTo>
                    <a:pt x="8286" y="2921"/>
                  </a:lnTo>
                  <a:lnTo>
                    <a:pt x="8267" y="2749"/>
                  </a:lnTo>
                  <a:lnTo>
                    <a:pt x="8228" y="2567"/>
                  </a:lnTo>
                  <a:lnTo>
                    <a:pt x="8180" y="2395"/>
                  </a:lnTo>
                  <a:lnTo>
                    <a:pt x="8123" y="2213"/>
                  </a:lnTo>
                  <a:lnTo>
                    <a:pt x="8056" y="2040"/>
                  </a:lnTo>
                  <a:lnTo>
                    <a:pt x="7970" y="1868"/>
                  </a:lnTo>
                  <a:lnTo>
                    <a:pt x="7884" y="1705"/>
                  </a:lnTo>
                  <a:lnTo>
                    <a:pt x="7778" y="1542"/>
                  </a:lnTo>
                  <a:lnTo>
                    <a:pt x="7673" y="1379"/>
                  </a:lnTo>
                  <a:lnTo>
                    <a:pt x="7548" y="1226"/>
                  </a:lnTo>
                  <a:lnTo>
                    <a:pt x="7414" y="1073"/>
                  </a:lnTo>
                  <a:lnTo>
                    <a:pt x="7271" y="939"/>
                  </a:lnTo>
                  <a:lnTo>
                    <a:pt x="7117" y="805"/>
                  </a:lnTo>
                  <a:lnTo>
                    <a:pt x="6954" y="680"/>
                  </a:lnTo>
                  <a:lnTo>
                    <a:pt x="6772" y="556"/>
                  </a:lnTo>
                  <a:lnTo>
                    <a:pt x="6590" y="450"/>
                  </a:lnTo>
                  <a:lnTo>
                    <a:pt x="6399" y="354"/>
                  </a:lnTo>
                  <a:lnTo>
                    <a:pt x="6198" y="268"/>
                  </a:lnTo>
                  <a:lnTo>
                    <a:pt x="5977" y="192"/>
                  </a:lnTo>
                  <a:lnTo>
                    <a:pt x="5757" y="125"/>
                  </a:lnTo>
                  <a:lnTo>
                    <a:pt x="5527" y="77"/>
                  </a:lnTo>
                  <a:lnTo>
                    <a:pt x="5278" y="38"/>
                  </a:lnTo>
                  <a:lnTo>
                    <a:pt x="5029" y="10"/>
                  </a:lnTo>
                  <a:lnTo>
                    <a:pt x="477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26"/>
            <p:cNvSpPr/>
            <p:nvPr/>
          </p:nvSpPr>
          <p:spPr>
            <a:xfrm>
              <a:off x="7748352" y="1861340"/>
              <a:ext cx="54672" cy="30168"/>
            </a:xfrm>
            <a:custGeom>
              <a:avLst/>
              <a:gdLst/>
              <a:ahLst/>
              <a:cxnLst/>
              <a:rect l="l" t="t" r="r" b="b"/>
              <a:pathLst>
                <a:path w="1390" h="767" extrusionOk="0">
                  <a:moveTo>
                    <a:pt x="796" y="0"/>
                  </a:moveTo>
                  <a:lnTo>
                    <a:pt x="700" y="10"/>
                  </a:lnTo>
                  <a:lnTo>
                    <a:pt x="595" y="29"/>
                  </a:lnTo>
                  <a:lnTo>
                    <a:pt x="489" y="58"/>
                  </a:lnTo>
                  <a:lnTo>
                    <a:pt x="394" y="115"/>
                  </a:lnTo>
                  <a:lnTo>
                    <a:pt x="298" y="173"/>
                  </a:lnTo>
                  <a:lnTo>
                    <a:pt x="221" y="249"/>
                  </a:lnTo>
                  <a:lnTo>
                    <a:pt x="145" y="326"/>
                  </a:lnTo>
                  <a:lnTo>
                    <a:pt x="87" y="422"/>
                  </a:lnTo>
                  <a:lnTo>
                    <a:pt x="39" y="518"/>
                  </a:lnTo>
                  <a:lnTo>
                    <a:pt x="1" y="633"/>
                  </a:lnTo>
                  <a:lnTo>
                    <a:pt x="1" y="671"/>
                  </a:lnTo>
                  <a:lnTo>
                    <a:pt x="20" y="709"/>
                  </a:lnTo>
                  <a:lnTo>
                    <a:pt x="49" y="747"/>
                  </a:lnTo>
                  <a:lnTo>
                    <a:pt x="87" y="767"/>
                  </a:lnTo>
                  <a:lnTo>
                    <a:pt x="116" y="767"/>
                  </a:lnTo>
                  <a:lnTo>
                    <a:pt x="145" y="757"/>
                  </a:lnTo>
                  <a:lnTo>
                    <a:pt x="183" y="747"/>
                  </a:lnTo>
                  <a:lnTo>
                    <a:pt x="202" y="719"/>
                  </a:lnTo>
                  <a:lnTo>
                    <a:pt x="221" y="680"/>
                  </a:lnTo>
                  <a:lnTo>
                    <a:pt x="250" y="604"/>
                  </a:lnTo>
                  <a:lnTo>
                    <a:pt x="279" y="527"/>
                  </a:lnTo>
                  <a:lnTo>
                    <a:pt x="327" y="460"/>
                  </a:lnTo>
                  <a:lnTo>
                    <a:pt x="375" y="403"/>
                  </a:lnTo>
                  <a:lnTo>
                    <a:pt x="442" y="345"/>
                  </a:lnTo>
                  <a:lnTo>
                    <a:pt x="499" y="307"/>
                  </a:lnTo>
                  <a:lnTo>
                    <a:pt x="576" y="269"/>
                  </a:lnTo>
                  <a:lnTo>
                    <a:pt x="652" y="240"/>
                  </a:lnTo>
                  <a:lnTo>
                    <a:pt x="729" y="230"/>
                  </a:lnTo>
                  <a:lnTo>
                    <a:pt x="806" y="221"/>
                  </a:lnTo>
                  <a:lnTo>
                    <a:pt x="873" y="230"/>
                  </a:lnTo>
                  <a:lnTo>
                    <a:pt x="949" y="240"/>
                  </a:lnTo>
                  <a:lnTo>
                    <a:pt x="1016" y="259"/>
                  </a:lnTo>
                  <a:lnTo>
                    <a:pt x="1083" y="288"/>
                  </a:lnTo>
                  <a:lnTo>
                    <a:pt x="1150" y="326"/>
                  </a:lnTo>
                  <a:lnTo>
                    <a:pt x="1208" y="374"/>
                  </a:lnTo>
                  <a:lnTo>
                    <a:pt x="1246" y="393"/>
                  </a:lnTo>
                  <a:lnTo>
                    <a:pt x="1284" y="403"/>
                  </a:lnTo>
                  <a:lnTo>
                    <a:pt x="1323" y="393"/>
                  </a:lnTo>
                  <a:lnTo>
                    <a:pt x="1361" y="364"/>
                  </a:lnTo>
                  <a:lnTo>
                    <a:pt x="1380" y="326"/>
                  </a:lnTo>
                  <a:lnTo>
                    <a:pt x="1390" y="288"/>
                  </a:lnTo>
                  <a:lnTo>
                    <a:pt x="1380" y="240"/>
                  </a:lnTo>
                  <a:lnTo>
                    <a:pt x="1351" y="211"/>
                  </a:lnTo>
                  <a:lnTo>
                    <a:pt x="1275" y="144"/>
                  </a:lnTo>
                  <a:lnTo>
                    <a:pt x="1189" y="96"/>
                  </a:lnTo>
                  <a:lnTo>
                    <a:pt x="1093" y="48"/>
                  </a:lnTo>
                  <a:lnTo>
                    <a:pt x="997" y="20"/>
                  </a:lnTo>
                  <a:lnTo>
                    <a:pt x="901" y="10"/>
                  </a:lnTo>
                  <a:lnTo>
                    <a:pt x="796" y="0"/>
                  </a:lnTo>
                  <a:close/>
                </a:path>
              </a:pathLst>
            </a:custGeom>
            <a:solidFill>
              <a:srgbClr val="A569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26"/>
            <p:cNvSpPr/>
            <p:nvPr/>
          </p:nvSpPr>
          <p:spPr>
            <a:xfrm>
              <a:off x="7754763" y="1746060"/>
              <a:ext cx="51290" cy="29027"/>
            </a:xfrm>
            <a:custGeom>
              <a:avLst/>
              <a:gdLst/>
              <a:ahLst/>
              <a:cxnLst/>
              <a:rect l="l" t="t" r="r" b="b"/>
              <a:pathLst>
                <a:path w="1304" h="738" extrusionOk="0">
                  <a:moveTo>
                    <a:pt x="1198" y="0"/>
                  </a:moveTo>
                  <a:lnTo>
                    <a:pt x="1160" y="10"/>
                  </a:lnTo>
                  <a:lnTo>
                    <a:pt x="1121" y="29"/>
                  </a:lnTo>
                  <a:lnTo>
                    <a:pt x="1093" y="58"/>
                  </a:lnTo>
                  <a:lnTo>
                    <a:pt x="1007" y="192"/>
                  </a:lnTo>
                  <a:lnTo>
                    <a:pt x="911" y="297"/>
                  </a:lnTo>
                  <a:lnTo>
                    <a:pt x="815" y="384"/>
                  </a:lnTo>
                  <a:lnTo>
                    <a:pt x="757" y="412"/>
                  </a:lnTo>
                  <a:lnTo>
                    <a:pt x="700" y="441"/>
                  </a:lnTo>
                  <a:lnTo>
                    <a:pt x="643" y="470"/>
                  </a:lnTo>
                  <a:lnTo>
                    <a:pt x="575" y="489"/>
                  </a:lnTo>
                  <a:lnTo>
                    <a:pt x="441" y="508"/>
                  </a:lnTo>
                  <a:lnTo>
                    <a:pt x="298" y="508"/>
                  </a:lnTo>
                  <a:lnTo>
                    <a:pt x="135" y="489"/>
                  </a:lnTo>
                  <a:lnTo>
                    <a:pt x="87" y="489"/>
                  </a:lnTo>
                  <a:lnTo>
                    <a:pt x="49" y="508"/>
                  </a:lnTo>
                  <a:lnTo>
                    <a:pt x="20" y="537"/>
                  </a:lnTo>
                  <a:lnTo>
                    <a:pt x="1" y="585"/>
                  </a:lnTo>
                  <a:lnTo>
                    <a:pt x="1" y="623"/>
                  </a:lnTo>
                  <a:lnTo>
                    <a:pt x="20" y="661"/>
                  </a:lnTo>
                  <a:lnTo>
                    <a:pt x="58" y="700"/>
                  </a:lnTo>
                  <a:lnTo>
                    <a:pt x="97" y="709"/>
                  </a:lnTo>
                  <a:lnTo>
                    <a:pt x="231" y="728"/>
                  </a:lnTo>
                  <a:lnTo>
                    <a:pt x="355" y="738"/>
                  </a:lnTo>
                  <a:lnTo>
                    <a:pt x="499" y="728"/>
                  </a:lnTo>
                  <a:lnTo>
                    <a:pt x="643" y="700"/>
                  </a:lnTo>
                  <a:lnTo>
                    <a:pt x="767" y="652"/>
                  </a:lnTo>
                  <a:lnTo>
                    <a:pt x="892" y="594"/>
                  </a:lnTo>
                  <a:lnTo>
                    <a:pt x="1007" y="518"/>
                  </a:lnTo>
                  <a:lnTo>
                    <a:pt x="1102" y="412"/>
                  </a:lnTo>
                  <a:lnTo>
                    <a:pt x="1198" y="297"/>
                  </a:lnTo>
                  <a:lnTo>
                    <a:pt x="1284" y="173"/>
                  </a:lnTo>
                  <a:lnTo>
                    <a:pt x="1303" y="125"/>
                  </a:lnTo>
                  <a:lnTo>
                    <a:pt x="1294" y="87"/>
                  </a:lnTo>
                  <a:lnTo>
                    <a:pt x="1275" y="48"/>
                  </a:lnTo>
                  <a:lnTo>
                    <a:pt x="1246" y="20"/>
                  </a:lnTo>
                  <a:lnTo>
                    <a:pt x="1198" y="0"/>
                  </a:lnTo>
                  <a:close/>
                </a:path>
              </a:pathLst>
            </a:custGeom>
            <a:solidFill>
              <a:srgbClr val="A569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26"/>
            <p:cNvSpPr/>
            <p:nvPr/>
          </p:nvSpPr>
          <p:spPr>
            <a:xfrm>
              <a:off x="7744222" y="1708027"/>
              <a:ext cx="46373" cy="40316"/>
            </a:xfrm>
            <a:custGeom>
              <a:avLst/>
              <a:gdLst/>
              <a:ahLst/>
              <a:cxnLst/>
              <a:rect l="l" t="t" r="r" b="b"/>
              <a:pathLst>
                <a:path w="1179" h="1025" extrusionOk="0">
                  <a:moveTo>
                    <a:pt x="1035" y="0"/>
                  </a:moveTo>
                  <a:lnTo>
                    <a:pt x="997" y="19"/>
                  </a:lnTo>
                  <a:lnTo>
                    <a:pt x="39" y="833"/>
                  </a:lnTo>
                  <a:lnTo>
                    <a:pt x="10" y="862"/>
                  </a:lnTo>
                  <a:lnTo>
                    <a:pt x="1" y="910"/>
                  </a:lnTo>
                  <a:lnTo>
                    <a:pt x="1" y="948"/>
                  </a:lnTo>
                  <a:lnTo>
                    <a:pt x="29" y="987"/>
                  </a:lnTo>
                  <a:lnTo>
                    <a:pt x="68" y="1015"/>
                  </a:lnTo>
                  <a:lnTo>
                    <a:pt x="106" y="1025"/>
                  </a:lnTo>
                  <a:lnTo>
                    <a:pt x="144" y="1025"/>
                  </a:lnTo>
                  <a:lnTo>
                    <a:pt x="183" y="1006"/>
                  </a:lnTo>
                  <a:lnTo>
                    <a:pt x="1140" y="192"/>
                  </a:lnTo>
                  <a:lnTo>
                    <a:pt x="1169" y="163"/>
                  </a:lnTo>
                  <a:lnTo>
                    <a:pt x="1179" y="115"/>
                  </a:lnTo>
                  <a:lnTo>
                    <a:pt x="1179" y="77"/>
                  </a:lnTo>
                  <a:lnTo>
                    <a:pt x="1160" y="38"/>
                  </a:lnTo>
                  <a:lnTo>
                    <a:pt x="1121" y="10"/>
                  </a:lnTo>
                  <a:lnTo>
                    <a:pt x="1083" y="0"/>
                  </a:lnTo>
                  <a:close/>
                </a:path>
              </a:pathLst>
            </a:custGeom>
            <a:solidFill>
              <a:srgbClr val="9650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26"/>
            <p:cNvSpPr/>
            <p:nvPr/>
          </p:nvSpPr>
          <p:spPr>
            <a:xfrm>
              <a:off x="7671891" y="1787122"/>
              <a:ext cx="51290" cy="29067"/>
            </a:xfrm>
            <a:custGeom>
              <a:avLst/>
              <a:gdLst/>
              <a:ahLst/>
              <a:cxnLst/>
              <a:rect l="l" t="t" r="r" b="b"/>
              <a:pathLst>
                <a:path w="1304" h="739" extrusionOk="0">
                  <a:moveTo>
                    <a:pt x="1198" y="0"/>
                  </a:moveTo>
                  <a:lnTo>
                    <a:pt x="1160" y="10"/>
                  </a:lnTo>
                  <a:lnTo>
                    <a:pt x="1121" y="29"/>
                  </a:lnTo>
                  <a:lnTo>
                    <a:pt x="1093" y="58"/>
                  </a:lnTo>
                  <a:lnTo>
                    <a:pt x="1006" y="192"/>
                  </a:lnTo>
                  <a:lnTo>
                    <a:pt x="911" y="297"/>
                  </a:lnTo>
                  <a:lnTo>
                    <a:pt x="815" y="384"/>
                  </a:lnTo>
                  <a:lnTo>
                    <a:pt x="757" y="412"/>
                  </a:lnTo>
                  <a:lnTo>
                    <a:pt x="700" y="441"/>
                  </a:lnTo>
                  <a:lnTo>
                    <a:pt x="642" y="470"/>
                  </a:lnTo>
                  <a:lnTo>
                    <a:pt x="575" y="489"/>
                  </a:lnTo>
                  <a:lnTo>
                    <a:pt x="441" y="508"/>
                  </a:lnTo>
                  <a:lnTo>
                    <a:pt x="298" y="508"/>
                  </a:lnTo>
                  <a:lnTo>
                    <a:pt x="135" y="489"/>
                  </a:lnTo>
                  <a:lnTo>
                    <a:pt x="87" y="499"/>
                  </a:lnTo>
                  <a:lnTo>
                    <a:pt x="49" y="508"/>
                  </a:lnTo>
                  <a:lnTo>
                    <a:pt x="20" y="546"/>
                  </a:lnTo>
                  <a:lnTo>
                    <a:pt x="1" y="585"/>
                  </a:lnTo>
                  <a:lnTo>
                    <a:pt x="1" y="623"/>
                  </a:lnTo>
                  <a:lnTo>
                    <a:pt x="20" y="671"/>
                  </a:lnTo>
                  <a:lnTo>
                    <a:pt x="58" y="700"/>
                  </a:lnTo>
                  <a:lnTo>
                    <a:pt x="96" y="709"/>
                  </a:lnTo>
                  <a:lnTo>
                    <a:pt x="231" y="728"/>
                  </a:lnTo>
                  <a:lnTo>
                    <a:pt x="355" y="738"/>
                  </a:lnTo>
                  <a:lnTo>
                    <a:pt x="499" y="728"/>
                  </a:lnTo>
                  <a:lnTo>
                    <a:pt x="642" y="700"/>
                  </a:lnTo>
                  <a:lnTo>
                    <a:pt x="767" y="661"/>
                  </a:lnTo>
                  <a:lnTo>
                    <a:pt x="891" y="594"/>
                  </a:lnTo>
                  <a:lnTo>
                    <a:pt x="1006" y="518"/>
                  </a:lnTo>
                  <a:lnTo>
                    <a:pt x="1102" y="422"/>
                  </a:lnTo>
                  <a:lnTo>
                    <a:pt x="1198" y="307"/>
                  </a:lnTo>
                  <a:lnTo>
                    <a:pt x="1284" y="173"/>
                  </a:lnTo>
                  <a:lnTo>
                    <a:pt x="1303" y="125"/>
                  </a:lnTo>
                  <a:lnTo>
                    <a:pt x="1294" y="87"/>
                  </a:lnTo>
                  <a:lnTo>
                    <a:pt x="1275" y="48"/>
                  </a:lnTo>
                  <a:lnTo>
                    <a:pt x="1246" y="20"/>
                  </a:lnTo>
                  <a:lnTo>
                    <a:pt x="1198" y="0"/>
                  </a:lnTo>
                  <a:close/>
                </a:path>
              </a:pathLst>
            </a:custGeom>
            <a:solidFill>
              <a:srgbClr val="A5694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26"/>
            <p:cNvSpPr/>
            <p:nvPr/>
          </p:nvSpPr>
          <p:spPr>
            <a:xfrm>
              <a:off x="7651557" y="1763012"/>
              <a:ext cx="61831" cy="18132"/>
            </a:xfrm>
            <a:custGeom>
              <a:avLst/>
              <a:gdLst/>
              <a:ahLst/>
              <a:cxnLst/>
              <a:rect l="l" t="t" r="r" b="b"/>
              <a:pathLst>
                <a:path w="1572" h="461" extrusionOk="0">
                  <a:moveTo>
                    <a:pt x="1447" y="0"/>
                  </a:moveTo>
                  <a:lnTo>
                    <a:pt x="96" y="240"/>
                  </a:lnTo>
                  <a:lnTo>
                    <a:pt x="48" y="259"/>
                  </a:lnTo>
                  <a:lnTo>
                    <a:pt x="20" y="288"/>
                  </a:lnTo>
                  <a:lnTo>
                    <a:pt x="0" y="326"/>
                  </a:lnTo>
                  <a:lnTo>
                    <a:pt x="0" y="374"/>
                  </a:lnTo>
                  <a:lnTo>
                    <a:pt x="20" y="412"/>
                  </a:lnTo>
                  <a:lnTo>
                    <a:pt x="39" y="441"/>
                  </a:lnTo>
                  <a:lnTo>
                    <a:pt x="77" y="460"/>
                  </a:lnTo>
                  <a:lnTo>
                    <a:pt x="135" y="460"/>
                  </a:lnTo>
                  <a:lnTo>
                    <a:pt x="1485" y="221"/>
                  </a:lnTo>
                  <a:lnTo>
                    <a:pt x="1523" y="211"/>
                  </a:lnTo>
                  <a:lnTo>
                    <a:pt x="1552" y="182"/>
                  </a:lnTo>
                  <a:lnTo>
                    <a:pt x="1571" y="135"/>
                  </a:lnTo>
                  <a:lnTo>
                    <a:pt x="1571" y="96"/>
                  </a:lnTo>
                  <a:lnTo>
                    <a:pt x="1562" y="58"/>
                  </a:lnTo>
                  <a:lnTo>
                    <a:pt x="1533" y="20"/>
                  </a:lnTo>
                  <a:lnTo>
                    <a:pt x="1495" y="10"/>
                  </a:lnTo>
                  <a:lnTo>
                    <a:pt x="1447" y="0"/>
                  </a:lnTo>
                  <a:close/>
                </a:path>
              </a:pathLst>
            </a:custGeom>
            <a:solidFill>
              <a:srgbClr val="9650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26"/>
            <p:cNvSpPr/>
            <p:nvPr/>
          </p:nvSpPr>
          <p:spPr>
            <a:xfrm>
              <a:off x="6851005" y="3053669"/>
              <a:ext cx="875974" cy="1164871"/>
            </a:xfrm>
            <a:custGeom>
              <a:avLst/>
              <a:gdLst/>
              <a:ahLst/>
              <a:cxnLst/>
              <a:rect l="l" t="t" r="r" b="b"/>
              <a:pathLst>
                <a:path w="22271" h="29616" extrusionOk="0">
                  <a:moveTo>
                    <a:pt x="17807" y="0"/>
                  </a:moveTo>
                  <a:lnTo>
                    <a:pt x="17615" y="19"/>
                  </a:lnTo>
                  <a:lnTo>
                    <a:pt x="17424" y="48"/>
                  </a:lnTo>
                  <a:lnTo>
                    <a:pt x="17242" y="96"/>
                  </a:lnTo>
                  <a:lnTo>
                    <a:pt x="17050" y="144"/>
                  </a:lnTo>
                  <a:lnTo>
                    <a:pt x="16858" y="201"/>
                  </a:lnTo>
                  <a:lnTo>
                    <a:pt x="16676" y="278"/>
                  </a:lnTo>
                  <a:lnTo>
                    <a:pt x="16485" y="364"/>
                  </a:lnTo>
                  <a:lnTo>
                    <a:pt x="16303" y="450"/>
                  </a:lnTo>
                  <a:lnTo>
                    <a:pt x="16111" y="556"/>
                  </a:lnTo>
                  <a:lnTo>
                    <a:pt x="15929" y="671"/>
                  </a:lnTo>
                  <a:lnTo>
                    <a:pt x="15738" y="805"/>
                  </a:lnTo>
                  <a:lnTo>
                    <a:pt x="15546" y="939"/>
                  </a:lnTo>
                  <a:lnTo>
                    <a:pt x="15364" y="1082"/>
                  </a:lnTo>
                  <a:lnTo>
                    <a:pt x="15173" y="1245"/>
                  </a:lnTo>
                  <a:lnTo>
                    <a:pt x="14981" y="1408"/>
                  </a:lnTo>
                  <a:lnTo>
                    <a:pt x="14799" y="1590"/>
                  </a:lnTo>
                  <a:lnTo>
                    <a:pt x="14608" y="1782"/>
                  </a:lnTo>
                  <a:lnTo>
                    <a:pt x="14416" y="1983"/>
                  </a:lnTo>
                  <a:lnTo>
                    <a:pt x="14224" y="2184"/>
                  </a:lnTo>
                  <a:lnTo>
                    <a:pt x="14033" y="2404"/>
                  </a:lnTo>
                  <a:lnTo>
                    <a:pt x="13841" y="2644"/>
                  </a:lnTo>
                  <a:lnTo>
                    <a:pt x="13449" y="3132"/>
                  </a:lnTo>
                  <a:lnTo>
                    <a:pt x="13046" y="3659"/>
                  </a:lnTo>
                  <a:lnTo>
                    <a:pt x="12654" y="4234"/>
                  </a:lnTo>
                  <a:lnTo>
                    <a:pt x="12242" y="4847"/>
                  </a:lnTo>
                  <a:lnTo>
                    <a:pt x="11830" y="5498"/>
                  </a:lnTo>
                  <a:lnTo>
                    <a:pt x="11399" y="6188"/>
                  </a:lnTo>
                  <a:lnTo>
                    <a:pt x="10968" y="6925"/>
                  </a:lnTo>
                  <a:lnTo>
                    <a:pt x="10537" y="7691"/>
                  </a:lnTo>
                  <a:lnTo>
                    <a:pt x="10087" y="8496"/>
                  </a:lnTo>
                  <a:lnTo>
                    <a:pt x="9617" y="9348"/>
                  </a:lnTo>
                  <a:lnTo>
                    <a:pt x="9148" y="10230"/>
                  </a:lnTo>
                  <a:lnTo>
                    <a:pt x="8669" y="11149"/>
                  </a:lnTo>
                  <a:lnTo>
                    <a:pt x="7663" y="13113"/>
                  </a:lnTo>
                  <a:lnTo>
                    <a:pt x="6208" y="15976"/>
                  </a:lnTo>
                  <a:lnTo>
                    <a:pt x="4819" y="18764"/>
                  </a:lnTo>
                  <a:lnTo>
                    <a:pt x="3526" y="21369"/>
                  </a:lnTo>
                  <a:lnTo>
                    <a:pt x="2367" y="23716"/>
                  </a:lnTo>
                  <a:lnTo>
                    <a:pt x="652" y="27231"/>
                  </a:lnTo>
                  <a:lnTo>
                    <a:pt x="1" y="28572"/>
                  </a:lnTo>
                  <a:lnTo>
                    <a:pt x="365" y="28907"/>
                  </a:lnTo>
                  <a:lnTo>
                    <a:pt x="585" y="29079"/>
                  </a:lnTo>
                  <a:lnTo>
                    <a:pt x="700" y="29165"/>
                  </a:lnTo>
                  <a:lnTo>
                    <a:pt x="815" y="29252"/>
                  </a:lnTo>
                  <a:lnTo>
                    <a:pt x="949" y="29328"/>
                  </a:lnTo>
                  <a:lnTo>
                    <a:pt x="1083" y="29405"/>
                  </a:lnTo>
                  <a:lnTo>
                    <a:pt x="1217" y="29472"/>
                  </a:lnTo>
                  <a:lnTo>
                    <a:pt x="1371" y="29520"/>
                  </a:lnTo>
                  <a:lnTo>
                    <a:pt x="1524" y="29568"/>
                  </a:lnTo>
                  <a:lnTo>
                    <a:pt x="1696" y="29596"/>
                  </a:lnTo>
                  <a:lnTo>
                    <a:pt x="1869" y="29616"/>
                  </a:lnTo>
                  <a:lnTo>
                    <a:pt x="2051" y="29616"/>
                  </a:lnTo>
                  <a:lnTo>
                    <a:pt x="18333" y="11034"/>
                  </a:lnTo>
                  <a:lnTo>
                    <a:pt x="18410" y="10957"/>
                  </a:lnTo>
                  <a:lnTo>
                    <a:pt x="18621" y="10747"/>
                  </a:lnTo>
                  <a:lnTo>
                    <a:pt x="18937" y="10402"/>
                  </a:lnTo>
                  <a:lnTo>
                    <a:pt x="19339" y="9942"/>
                  </a:lnTo>
                  <a:lnTo>
                    <a:pt x="19559" y="9674"/>
                  </a:lnTo>
                  <a:lnTo>
                    <a:pt x="19789" y="9387"/>
                  </a:lnTo>
                  <a:lnTo>
                    <a:pt x="20029" y="9080"/>
                  </a:lnTo>
                  <a:lnTo>
                    <a:pt x="20268" y="8745"/>
                  </a:lnTo>
                  <a:lnTo>
                    <a:pt x="20517" y="8400"/>
                  </a:lnTo>
                  <a:lnTo>
                    <a:pt x="20757" y="8046"/>
                  </a:lnTo>
                  <a:lnTo>
                    <a:pt x="20987" y="7672"/>
                  </a:lnTo>
                  <a:lnTo>
                    <a:pt x="21216" y="7279"/>
                  </a:lnTo>
                  <a:lnTo>
                    <a:pt x="21427" y="6887"/>
                  </a:lnTo>
                  <a:lnTo>
                    <a:pt x="21619" y="6484"/>
                  </a:lnTo>
                  <a:lnTo>
                    <a:pt x="21801" y="6073"/>
                  </a:lnTo>
                  <a:lnTo>
                    <a:pt x="21877" y="5871"/>
                  </a:lnTo>
                  <a:lnTo>
                    <a:pt x="21954" y="5661"/>
                  </a:lnTo>
                  <a:lnTo>
                    <a:pt x="22021" y="5460"/>
                  </a:lnTo>
                  <a:lnTo>
                    <a:pt x="22078" y="5249"/>
                  </a:lnTo>
                  <a:lnTo>
                    <a:pt x="22126" y="5038"/>
                  </a:lnTo>
                  <a:lnTo>
                    <a:pt x="22174" y="4837"/>
                  </a:lnTo>
                  <a:lnTo>
                    <a:pt x="22213" y="4626"/>
                  </a:lnTo>
                  <a:lnTo>
                    <a:pt x="22241" y="4416"/>
                  </a:lnTo>
                  <a:lnTo>
                    <a:pt x="22260" y="4214"/>
                  </a:lnTo>
                  <a:lnTo>
                    <a:pt x="22270" y="4004"/>
                  </a:lnTo>
                  <a:lnTo>
                    <a:pt x="22270" y="3803"/>
                  </a:lnTo>
                  <a:lnTo>
                    <a:pt x="22251" y="3601"/>
                  </a:lnTo>
                  <a:lnTo>
                    <a:pt x="22232" y="3400"/>
                  </a:lnTo>
                  <a:lnTo>
                    <a:pt x="22203" y="3209"/>
                  </a:lnTo>
                  <a:lnTo>
                    <a:pt x="22155" y="3008"/>
                  </a:lnTo>
                  <a:lnTo>
                    <a:pt x="22098" y="2816"/>
                  </a:lnTo>
                  <a:lnTo>
                    <a:pt x="22031" y="2625"/>
                  </a:lnTo>
                  <a:lnTo>
                    <a:pt x="21944" y="2433"/>
                  </a:lnTo>
                  <a:lnTo>
                    <a:pt x="21849" y="2251"/>
                  </a:lnTo>
                  <a:lnTo>
                    <a:pt x="21743" y="2069"/>
                  </a:lnTo>
                  <a:lnTo>
                    <a:pt x="21619" y="1887"/>
                  </a:lnTo>
                  <a:lnTo>
                    <a:pt x="21485" y="1715"/>
                  </a:lnTo>
                  <a:lnTo>
                    <a:pt x="21331" y="1552"/>
                  </a:lnTo>
                  <a:lnTo>
                    <a:pt x="21159" y="1379"/>
                  </a:lnTo>
                  <a:lnTo>
                    <a:pt x="20977" y="1217"/>
                  </a:lnTo>
                  <a:lnTo>
                    <a:pt x="20785" y="1063"/>
                  </a:lnTo>
                  <a:lnTo>
                    <a:pt x="20575" y="910"/>
                  </a:lnTo>
                  <a:lnTo>
                    <a:pt x="20364" y="776"/>
                  </a:lnTo>
                  <a:lnTo>
                    <a:pt x="20163" y="651"/>
                  </a:lnTo>
                  <a:lnTo>
                    <a:pt x="19952" y="536"/>
                  </a:lnTo>
                  <a:lnTo>
                    <a:pt x="19751" y="431"/>
                  </a:lnTo>
                  <a:lnTo>
                    <a:pt x="19550" y="335"/>
                  </a:lnTo>
                  <a:lnTo>
                    <a:pt x="19358" y="259"/>
                  </a:lnTo>
                  <a:lnTo>
                    <a:pt x="19157" y="182"/>
                  </a:lnTo>
                  <a:lnTo>
                    <a:pt x="18966" y="125"/>
                  </a:lnTo>
                  <a:lnTo>
                    <a:pt x="18764" y="77"/>
                  </a:lnTo>
                  <a:lnTo>
                    <a:pt x="18573" y="38"/>
                  </a:lnTo>
                  <a:lnTo>
                    <a:pt x="18381" y="10"/>
                  </a:lnTo>
                  <a:lnTo>
                    <a:pt x="1819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26"/>
            <p:cNvSpPr/>
            <p:nvPr/>
          </p:nvSpPr>
          <p:spPr>
            <a:xfrm>
              <a:off x="7694507" y="1602894"/>
              <a:ext cx="201579" cy="123976"/>
            </a:xfrm>
            <a:custGeom>
              <a:avLst/>
              <a:gdLst/>
              <a:ahLst/>
              <a:cxnLst/>
              <a:rect l="l" t="t" r="r" b="b"/>
              <a:pathLst>
                <a:path w="5125" h="3152" extrusionOk="0">
                  <a:moveTo>
                    <a:pt x="3190" y="1"/>
                  </a:moveTo>
                  <a:lnTo>
                    <a:pt x="2998" y="10"/>
                  </a:lnTo>
                  <a:lnTo>
                    <a:pt x="2797" y="20"/>
                  </a:lnTo>
                  <a:lnTo>
                    <a:pt x="2596" y="39"/>
                  </a:lnTo>
                  <a:lnTo>
                    <a:pt x="2395" y="58"/>
                  </a:lnTo>
                  <a:lnTo>
                    <a:pt x="2203" y="87"/>
                  </a:lnTo>
                  <a:lnTo>
                    <a:pt x="2002" y="116"/>
                  </a:lnTo>
                  <a:lnTo>
                    <a:pt x="1820" y="154"/>
                  </a:lnTo>
                  <a:lnTo>
                    <a:pt x="1629" y="202"/>
                  </a:lnTo>
                  <a:lnTo>
                    <a:pt x="1456" y="250"/>
                  </a:lnTo>
                  <a:lnTo>
                    <a:pt x="1284" y="298"/>
                  </a:lnTo>
                  <a:lnTo>
                    <a:pt x="1121" y="355"/>
                  </a:lnTo>
                  <a:lnTo>
                    <a:pt x="977" y="413"/>
                  </a:lnTo>
                  <a:lnTo>
                    <a:pt x="834" y="480"/>
                  </a:lnTo>
                  <a:lnTo>
                    <a:pt x="709" y="547"/>
                  </a:lnTo>
                  <a:lnTo>
                    <a:pt x="604" y="614"/>
                  </a:lnTo>
                  <a:lnTo>
                    <a:pt x="422" y="757"/>
                  </a:lnTo>
                  <a:lnTo>
                    <a:pt x="269" y="872"/>
                  </a:lnTo>
                  <a:lnTo>
                    <a:pt x="163" y="978"/>
                  </a:lnTo>
                  <a:lnTo>
                    <a:pt x="87" y="1074"/>
                  </a:lnTo>
                  <a:lnTo>
                    <a:pt x="39" y="1150"/>
                  </a:lnTo>
                  <a:lnTo>
                    <a:pt x="10" y="1208"/>
                  </a:lnTo>
                  <a:lnTo>
                    <a:pt x="0" y="1265"/>
                  </a:lnTo>
                  <a:lnTo>
                    <a:pt x="19" y="1313"/>
                  </a:lnTo>
                  <a:lnTo>
                    <a:pt x="39" y="1342"/>
                  </a:lnTo>
                  <a:lnTo>
                    <a:pt x="77" y="1370"/>
                  </a:lnTo>
                  <a:lnTo>
                    <a:pt x="115" y="1390"/>
                  </a:lnTo>
                  <a:lnTo>
                    <a:pt x="154" y="1409"/>
                  </a:lnTo>
                  <a:lnTo>
                    <a:pt x="221" y="1428"/>
                  </a:lnTo>
                  <a:lnTo>
                    <a:pt x="259" y="1428"/>
                  </a:lnTo>
                  <a:lnTo>
                    <a:pt x="527" y="1409"/>
                  </a:lnTo>
                  <a:lnTo>
                    <a:pt x="1044" y="1409"/>
                  </a:lnTo>
                  <a:lnTo>
                    <a:pt x="1284" y="1428"/>
                  </a:lnTo>
                  <a:lnTo>
                    <a:pt x="1514" y="1457"/>
                  </a:lnTo>
                  <a:lnTo>
                    <a:pt x="1724" y="1495"/>
                  </a:lnTo>
                  <a:lnTo>
                    <a:pt x="1935" y="1533"/>
                  </a:lnTo>
                  <a:lnTo>
                    <a:pt x="2127" y="1591"/>
                  </a:lnTo>
                  <a:lnTo>
                    <a:pt x="2309" y="1648"/>
                  </a:lnTo>
                  <a:lnTo>
                    <a:pt x="2481" y="1715"/>
                  </a:lnTo>
                  <a:lnTo>
                    <a:pt x="2644" y="1782"/>
                  </a:lnTo>
                  <a:lnTo>
                    <a:pt x="2797" y="1859"/>
                  </a:lnTo>
                  <a:lnTo>
                    <a:pt x="2941" y="1936"/>
                  </a:lnTo>
                  <a:lnTo>
                    <a:pt x="3075" y="2022"/>
                  </a:lnTo>
                  <a:lnTo>
                    <a:pt x="3199" y="2108"/>
                  </a:lnTo>
                  <a:lnTo>
                    <a:pt x="3324" y="2194"/>
                  </a:lnTo>
                  <a:lnTo>
                    <a:pt x="3525" y="2367"/>
                  </a:lnTo>
                  <a:lnTo>
                    <a:pt x="3697" y="2539"/>
                  </a:lnTo>
                  <a:lnTo>
                    <a:pt x="3841" y="2702"/>
                  </a:lnTo>
                  <a:lnTo>
                    <a:pt x="3956" y="2845"/>
                  </a:lnTo>
                  <a:lnTo>
                    <a:pt x="4033" y="2970"/>
                  </a:lnTo>
                  <a:lnTo>
                    <a:pt x="4090" y="3066"/>
                  </a:lnTo>
                  <a:lnTo>
                    <a:pt x="4138" y="3152"/>
                  </a:lnTo>
                  <a:lnTo>
                    <a:pt x="4464" y="3123"/>
                  </a:lnTo>
                  <a:lnTo>
                    <a:pt x="4502" y="2750"/>
                  </a:lnTo>
                  <a:lnTo>
                    <a:pt x="4550" y="2434"/>
                  </a:lnTo>
                  <a:lnTo>
                    <a:pt x="4607" y="2156"/>
                  </a:lnTo>
                  <a:lnTo>
                    <a:pt x="4655" y="1926"/>
                  </a:lnTo>
                  <a:lnTo>
                    <a:pt x="4713" y="1734"/>
                  </a:lnTo>
                  <a:lnTo>
                    <a:pt x="4770" y="1572"/>
                  </a:lnTo>
                  <a:lnTo>
                    <a:pt x="4818" y="1447"/>
                  </a:lnTo>
                  <a:lnTo>
                    <a:pt x="4866" y="1342"/>
                  </a:lnTo>
                  <a:lnTo>
                    <a:pt x="4914" y="1265"/>
                  </a:lnTo>
                  <a:lnTo>
                    <a:pt x="4962" y="1217"/>
                  </a:lnTo>
                  <a:lnTo>
                    <a:pt x="5000" y="1179"/>
                  </a:lnTo>
                  <a:lnTo>
                    <a:pt x="5038" y="1150"/>
                  </a:lnTo>
                  <a:lnTo>
                    <a:pt x="5067" y="1141"/>
                  </a:lnTo>
                  <a:lnTo>
                    <a:pt x="5105" y="1141"/>
                  </a:lnTo>
                  <a:lnTo>
                    <a:pt x="5125" y="997"/>
                  </a:lnTo>
                  <a:lnTo>
                    <a:pt x="5125" y="872"/>
                  </a:lnTo>
                  <a:lnTo>
                    <a:pt x="5096" y="748"/>
                  </a:lnTo>
                  <a:lnTo>
                    <a:pt x="5048" y="643"/>
                  </a:lnTo>
                  <a:lnTo>
                    <a:pt x="4990" y="537"/>
                  </a:lnTo>
                  <a:lnTo>
                    <a:pt x="4904" y="451"/>
                  </a:lnTo>
                  <a:lnTo>
                    <a:pt x="4809" y="365"/>
                  </a:lnTo>
                  <a:lnTo>
                    <a:pt x="4694" y="298"/>
                  </a:lnTo>
                  <a:lnTo>
                    <a:pt x="4569" y="231"/>
                  </a:lnTo>
                  <a:lnTo>
                    <a:pt x="4425" y="173"/>
                  </a:lnTo>
                  <a:lnTo>
                    <a:pt x="4272" y="125"/>
                  </a:lnTo>
                  <a:lnTo>
                    <a:pt x="4109" y="87"/>
                  </a:lnTo>
                  <a:lnTo>
                    <a:pt x="3946" y="58"/>
                  </a:lnTo>
                  <a:lnTo>
                    <a:pt x="3765" y="30"/>
                  </a:lnTo>
                  <a:lnTo>
                    <a:pt x="3583" y="20"/>
                  </a:lnTo>
                  <a:lnTo>
                    <a:pt x="3391" y="10"/>
                  </a:lnTo>
                  <a:lnTo>
                    <a:pt x="3190"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26"/>
            <p:cNvSpPr/>
            <p:nvPr/>
          </p:nvSpPr>
          <p:spPr>
            <a:xfrm>
              <a:off x="7778519" y="1446945"/>
              <a:ext cx="622397" cy="789679"/>
            </a:xfrm>
            <a:custGeom>
              <a:avLst/>
              <a:gdLst/>
              <a:ahLst/>
              <a:cxnLst/>
              <a:rect l="l" t="t" r="r" b="b"/>
              <a:pathLst>
                <a:path w="15824" h="20077" extrusionOk="0">
                  <a:moveTo>
                    <a:pt x="546" y="0"/>
                  </a:moveTo>
                  <a:lnTo>
                    <a:pt x="412" y="163"/>
                  </a:lnTo>
                  <a:lnTo>
                    <a:pt x="307" y="336"/>
                  </a:lnTo>
                  <a:lnTo>
                    <a:pt x="211" y="508"/>
                  </a:lnTo>
                  <a:lnTo>
                    <a:pt x="144" y="690"/>
                  </a:lnTo>
                  <a:lnTo>
                    <a:pt x="86" y="882"/>
                  </a:lnTo>
                  <a:lnTo>
                    <a:pt x="39" y="1073"/>
                  </a:lnTo>
                  <a:lnTo>
                    <a:pt x="19" y="1274"/>
                  </a:lnTo>
                  <a:lnTo>
                    <a:pt x="0" y="1475"/>
                  </a:lnTo>
                  <a:lnTo>
                    <a:pt x="11475" y="6629"/>
                  </a:lnTo>
                  <a:lnTo>
                    <a:pt x="10900" y="7328"/>
                  </a:lnTo>
                  <a:lnTo>
                    <a:pt x="10249" y="8123"/>
                  </a:lnTo>
                  <a:lnTo>
                    <a:pt x="9444" y="9148"/>
                  </a:lnTo>
                  <a:lnTo>
                    <a:pt x="8515" y="10345"/>
                  </a:lnTo>
                  <a:lnTo>
                    <a:pt x="8036" y="10987"/>
                  </a:lnTo>
                  <a:lnTo>
                    <a:pt x="7538" y="11657"/>
                  </a:lnTo>
                  <a:lnTo>
                    <a:pt x="7040" y="12337"/>
                  </a:lnTo>
                  <a:lnTo>
                    <a:pt x="6542" y="13036"/>
                  </a:lnTo>
                  <a:lnTo>
                    <a:pt x="6063" y="13735"/>
                  </a:lnTo>
                  <a:lnTo>
                    <a:pt x="5603" y="14425"/>
                  </a:lnTo>
                  <a:lnTo>
                    <a:pt x="5498" y="14597"/>
                  </a:lnTo>
                  <a:lnTo>
                    <a:pt x="5393" y="14770"/>
                  </a:lnTo>
                  <a:lnTo>
                    <a:pt x="5297" y="14942"/>
                  </a:lnTo>
                  <a:lnTo>
                    <a:pt x="5211" y="15115"/>
                  </a:lnTo>
                  <a:lnTo>
                    <a:pt x="5134" y="15278"/>
                  </a:lnTo>
                  <a:lnTo>
                    <a:pt x="5057" y="15450"/>
                  </a:lnTo>
                  <a:lnTo>
                    <a:pt x="4990" y="15613"/>
                  </a:lnTo>
                  <a:lnTo>
                    <a:pt x="4933" y="15776"/>
                  </a:lnTo>
                  <a:lnTo>
                    <a:pt x="4875" y="15938"/>
                  </a:lnTo>
                  <a:lnTo>
                    <a:pt x="4837" y="16101"/>
                  </a:lnTo>
                  <a:lnTo>
                    <a:pt x="4789" y="16264"/>
                  </a:lnTo>
                  <a:lnTo>
                    <a:pt x="4761" y="16417"/>
                  </a:lnTo>
                  <a:lnTo>
                    <a:pt x="4732" y="16580"/>
                  </a:lnTo>
                  <a:lnTo>
                    <a:pt x="4713" y="16733"/>
                  </a:lnTo>
                  <a:lnTo>
                    <a:pt x="4703" y="16887"/>
                  </a:lnTo>
                  <a:lnTo>
                    <a:pt x="4693" y="17030"/>
                  </a:lnTo>
                  <a:lnTo>
                    <a:pt x="4684" y="17184"/>
                  </a:lnTo>
                  <a:lnTo>
                    <a:pt x="4693" y="17327"/>
                  </a:lnTo>
                  <a:lnTo>
                    <a:pt x="4703" y="17471"/>
                  </a:lnTo>
                  <a:lnTo>
                    <a:pt x="4713" y="17605"/>
                  </a:lnTo>
                  <a:lnTo>
                    <a:pt x="4761" y="17883"/>
                  </a:lnTo>
                  <a:lnTo>
                    <a:pt x="4818" y="18141"/>
                  </a:lnTo>
                  <a:lnTo>
                    <a:pt x="4904" y="18381"/>
                  </a:lnTo>
                  <a:lnTo>
                    <a:pt x="5010" y="18620"/>
                  </a:lnTo>
                  <a:lnTo>
                    <a:pt x="5134" y="18841"/>
                  </a:lnTo>
                  <a:lnTo>
                    <a:pt x="5278" y="19042"/>
                  </a:lnTo>
                  <a:lnTo>
                    <a:pt x="5431" y="19233"/>
                  </a:lnTo>
                  <a:lnTo>
                    <a:pt x="5603" y="19396"/>
                  </a:lnTo>
                  <a:lnTo>
                    <a:pt x="5690" y="19482"/>
                  </a:lnTo>
                  <a:lnTo>
                    <a:pt x="5785" y="19549"/>
                  </a:lnTo>
                  <a:lnTo>
                    <a:pt x="5891" y="19626"/>
                  </a:lnTo>
                  <a:lnTo>
                    <a:pt x="5987" y="19693"/>
                  </a:lnTo>
                  <a:lnTo>
                    <a:pt x="6092" y="19751"/>
                  </a:lnTo>
                  <a:lnTo>
                    <a:pt x="6207" y="19808"/>
                  </a:lnTo>
                  <a:lnTo>
                    <a:pt x="6312" y="19856"/>
                  </a:lnTo>
                  <a:lnTo>
                    <a:pt x="6427" y="19904"/>
                  </a:lnTo>
                  <a:lnTo>
                    <a:pt x="6552" y="19942"/>
                  </a:lnTo>
                  <a:lnTo>
                    <a:pt x="6667" y="19980"/>
                  </a:lnTo>
                  <a:lnTo>
                    <a:pt x="6791" y="20009"/>
                  </a:lnTo>
                  <a:lnTo>
                    <a:pt x="6916" y="20028"/>
                  </a:lnTo>
                  <a:lnTo>
                    <a:pt x="7040" y="20047"/>
                  </a:lnTo>
                  <a:lnTo>
                    <a:pt x="7174" y="20067"/>
                  </a:lnTo>
                  <a:lnTo>
                    <a:pt x="7308" y="20067"/>
                  </a:lnTo>
                  <a:lnTo>
                    <a:pt x="7442" y="20076"/>
                  </a:lnTo>
                  <a:lnTo>
                    <a:pt x="7576" y="20067"/>
                  </a:lnTo>
                  <a:lnTo>
                    <a:pt x="7720" y="20057"/>
                  </a:lnTo>
                  <a:lnTo>
                    <a:pt x="7854" y="20038"/>
                  </a:lnTo>
                  <a:lnTo>
                    <a:pt x="7998" y="20019"/>
                  </a:lnTo>
                  <a:lnTo>
                    <a:pt x="8142" y="19990"/>
                  </a:lnTo>
                  <a:lnTo>
                    <a:pt x="8285" y="19952"/>
                  </a:lnTo>
                  <a:lnTo>
                    <a:pt x="8429" y="19904"/>
                  </a:lnTo>
                  <a:lnTo>
                    <a:pt x="8582" y="19856"/>
                  </a:lnTo>
                  <a:lnTo>
                    <a:pt x="8726" y="19798"/>
                  </a:lnTo>
                  <a:lnTo>
                    <a:pt x="8879" y="19741"/>
                  </a:lnTo>
                  <a:lnTo>
                    <a:pt x="9032" y="19664"/>
                  </a:lnTo>
                  <a:lnTo>
                    <a:pt x="9186" y="19588"/>
                  </a:lnTo>
                  <a:lnTo>
                    <a:pt x="9262" y="19530"/>
                  </a:lnTo>
                  <a:lnTo>
                    <a:pt x="9492" y="19348"/>
                  </a:lnTo>
                  <a:lnTo>
                    <a:pt x="9856" y="19042"/>
                  </a:lnTo>
                  <a:lnTo>
                    <a:pt x="10076" y="18841"/>
                  </a:lnTo>
                  <a:lnTo>
                    <a:pt x="10316" y="18611"/>
                  </a:lnTo>
                  <a:lnTo>
                    <a:pt x="10574" y="18352"/>
                  </a:lnTo>
                  <a:lnTo>
                    <a:pt x="10862" y="18065"/>
                  </a:lnTo>
                  <a:lnTo>
                    <a:pt x="11149" y="17749"/>
                  </a:lnTo>
                  <a:lnTo>
                    <a:pt x="11465" y="17404"/>
                  </a:lnTo>
                  <a:lnTo>
                    <a:pt x="11781" y="17030"/>
                  </a:lnTo>
                  <a:lnTo>
                    <a:pt x="12097" y="16618"/>
                  </a:lnTo>
                  <a:lnTo>
                    <a:pt x="12423" y="16187"/>
                  </a:lnTo>
                  <a:lnTo>
                    <a:pt x="12749" y="15718"/>
                  </a:lnTo>
                  <a:lnTo>
                    <a:pt x="13074" y="15230"/>
                  </a:lnTo>
                  <a:lnTo>
                    <a:pt x="13400" y="14703"/>
                  </a:lnTo>
                  <a:lnTo>
                    <a:pt x="13706" y="14157"/>
                  </a:lnTo>
                  <a:lnTo>
                    <a:pt x="13860" y="13870"/>
                  </a:lnTo>
                  <a:lnTo>
                    <a:pt x="14003" y="13573"/>
                  </a:lnTo>
                  <a:lnTo>
                    <a:pt x="14157" y="13276"/>
                  </a:lnTo>
                  <a:lnTo>
                    <a:pt x="14300" y="12969"/>
                  </a:lnTo>
                  <a:lnTo>
                    <a:pt x="14434" y="12653"/>
                  </a:lnTo>
                  <a:lnTo>
                    <a:pt x="14569" y="12327"/>
                  </a:lnTo>
                  <a:lnTo>
                    <a:pt x="14693" y="12002"/>
                  </a:lnTo>
                  <a:lnTo>
                    <a:pt x="14818" y="11667"/>
                  </a:lnTo>
                  <a:lnTo>
                    <a:pt x="14932" y="11322"/>
                  </a:lnTo>
                  <a:lnTo>
                    <a:pt x="15047" y="10967"/>
                  </a:lnTo>
                  <a:lnTo>
                    <a:pt x="15153" y="10613"/>
                  </a:lnTo>
                  <a:lnTo>
                    <a:pt x="15258" y="10249"/>
                  </a:lnTo>
                  <a:lnTo>
                    <a:pt x="15344" y="9875"/>
                  </a:lnTo>
                  <a:lnTo>
                    <a:pt x="15431" y="9492"/>
                  </a:lnTo>
                  <a:lnTo>
                    <a:pt x="15507" y="9109"/>
                  </a:lnTo>
                  <a:lnTo>
                    <a:pt x="15584" y="8717"/>
                  </a:lnTo>
                  <a:lnTo>
                    <a:pt x="15641" y="8314"/>
                  </a:lnTo>
                  <a:lnTo>
                    <a:pt x="15699" y="7912"/>
                  </a:lnTo>
                  <a:lnTo>
                    <a:pt x="15737" y="7500"/>
                  </a:lnTo>
                  <a:lnTo>
                    <a:pt x="15775" y="7079"/>
                  </a:lnTo>
                  <a:lnTo>
                    <a:pt x="15804" y="6648"/>
                  </a:lnTo>
                  <a:lnTo>
                    <a:pt x="15814" y="6217"/>
                  </a:lnTo>
                  <a:lnTo>
                    <a:pt x="15823" y="5776"/>
                  </a:lnTo>
                  <a:lnTo>
                    <a:pt x="15814" y="5326"/>
                  </a:lnTo>
                  <a:lnTo>
                    <a:pt x="15795" y="4866"/>
                  </a:lnTo>
                  <a:lnTo>
                    <a:pt x="15766" y="4406"/>
                  </a:lnTo>
                  <a:lnTo>
                    <a:pt x="15756" y="4291"/>
                  </a:lnTo>
                  <a:lnTo>
                    <a:pt x="15737" y="4186"/>
                  </a:lnTo>
                  <a:lnTo>
                    <a:pt x="15708" y="4081"/>
                  </a:lnTo>
                  <a:lnTo>
                    <a:pt x="15670" y="3975"/>
                  </a:lnTo>
                  <a:lnTo>
                    <a:pt x="15622" y="3880"/>
                  </a:lnTo>
                  <a:lnTo>
                    <a:pt x="15565" y="3793"/>
                  </a:lnTo>
                  <a:lnTo>
                    <a:pt x="15488" y="3717"/>
                  </a:lnTo>
                  <a:lnTo>
                    <a:pt x="15402" y="3650"/>
                  </a:lnTo>
                  <a:lnTo>
                    <a:pt x="15124" y="3458"/>
                  </a:lnTo>
                  <a:lnTo>
                    <a:pt x="14760" y="3238"/>
                  </a:lnTo>
                  <a:lnTo>
                    <a:pt x="14319" y="2979"/>
                  </a:lnTo>
                  <a:lnTo>
                    <a:pt x="13802" y="2711"/>
                  </a:lnTo>
                  <a:lnTo>
                    <a:pt x="13505" y="2567"/>
                  </a:lnTo>
                  <a:lnTo>
                    <a:pt x="13189" y="2414"/>
                  </a:lnTo>
                  <a:lnTo>
                    <a:pt x="12854" y="2270"/>
                  </a:lnTo>
                  <a:lnTo>
                    <a:pt x="12500" y="2117"/>
                  </a:lnTo>
                  <a:lnTo>
                    <a:pt x="12126" y="1964"/>
                  </a:lnTo>
                  <a:lnTo>
                    <a:pt x="11724" y="1811"/>
                  </a:lnTo>
                  <a:lnTo>
                    <a:pt x="11302" y="1667"/>
                  </a:lnTo>
                  <a:lnTo>
                    <a:pt x="10862" y="1514"/>
                  </a:lnTo>
                  <a:lnTo>
                    <a:pt x="10392" y="1370"/>
                  </a:lnTo>
                  <a:lnTo>
                    <a:pt x="9904" y="1226"/>
                  </a:lnTo>
                  <a:lnTo>
                    <a:pt x="9387" y="1083"/>
                  </a:lnTo>
                  <a:lnTo>
                    <a:pt x="8850" y="949"/>
                  </a:lnTo>
                  <a:lnTo>
                    <a:pt x="8295" y="824"/>
                  </a:lnTo>
                  <a:lnTo>
                    <a:pt x="7711" y="700"/>
                  </a:lnTo>
                  <a:lnTo>
                    <a:pt x="7107" y="585"/>
                  </a:lnTo>
                  <a:lnTo>
                    <a:pt x="6475" y="479"/>
                  </a:lnTo>
                  <a:lnTo>
                    <a:pt x="5824" y="374"/>
                  </a:lnTo>
                  <a:lnTo>
                    <a:pt x="5144" y="288"/>
                  </a:lnTo>
                  <a:lnTo>
                    <a:pt x="4435" y="211"/>
                  </a:lnTo>
                  <a:lnTo>
                    <a:pt x="3707" y="144"/>
                  </a:lnTo>
                  <a:lnTo>
                    <a:pt x="2960" y="87"/>
                  </a:lnTo>
                  <a:lnTo>
                    <a:pt x="2174" y="39"/>
                  </a:lnTo>
                  <a:lnTo>
                    <a:pt x="1370" y="10"/>
                  </a:lnTo>
                  <a:lnTo>
                    <a:pt x="546"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26"/>
            <p:cNvSpPr/>
            <p:nvPr/>
          </p:nvSpPr>
          <p:spPr>
            <a:xfrm>
              <a:off x="7951420" y="1776188"/>
              <a:ext cx="441586" cy="528983"/>
            </a:xfrm>
            <a:custGeom>
              <a:avLst/>
              <a:gdLst/>
              <a:ahLst/>
              <a:cxnLst/>
              <a:rect l="l" t="t" r="r" b="b"/>
              <a:pathLst>
                <a:path w="11227" h="13449" extrusionOk="0">
                  <a:moveTo>
                    <a:pt x="5067" y="1"/>
                  </a:moveTo>
                  <a:lnTo>
                    <a:pt x="4818" y="355"/>
                  </a:lnTo>
                  <a:lnTo>
                    <a:pt x="4445" y="891"/>
                  </a:lnTo>
                  <a:lnTo>
                    <a:pt x="3468" y="2367"/>
                  </a:lnTo>
                  <a:lnTo>
                    <a:pt x="2884" y="3219"/>
                  </a:lnTo>
                  <a:lnTo>
                    <a:pt x="2280" y="4100"/>
                  </a:lnTo>
                  <a:lnTo>
                    <a:pt x="1658" y="4962"/>
                  </a:lnTo>
                  <a:lnTo>
                    <a:pt x="1351" y="5374"/>
                  </a:lnTo>
                  <a:lnTo>
                    <a:pt x="1045" y="5776"/>
                  </a:lnTo>
                  <a:lnTo>
                    <a:pt x="901" y="5968"/>
                  </a:lnTo>
                  <a:lnTo>
                    <a:pt x="767" y="6169"/>
                  </a:lnTo>
                  <a:lnTo>
                    <a:pt x="652" y="6361"/>
                  </a:lnTo>
                  <a:lnTo>
                    <a:pt x="537" y="6562"/>
                  </a:lnTo>
                  <a:lnTo>
                    <a:pt x="441" y="6763"/>
                  </a:lnTo>
                  <a:lnTo>
                    <a:pt x="355" y="6964"/>
                  </a:lnTo>
                  <a:lnTo>
                    <a:pt x="269" y="7175"/>
                  </a:lnTo>
                  <a:lnTo>
                    <a:pt x="202" y="7376"/>
                  </a:lnTo>
                  <a:lnTo>
                    <a:pt x="144" y="7577"/>
                  </a:lnTo>
                  <a:lnTo>
                    <a:pt x="96" y="7778"/>
                  </a:lnTo>
                  <a:lnTo>
                    <a:pt x="58" y="7989"/>
                  </a:lnTo>
                  <a:lnTo>
                    <a:pt x="29" y="8190"/>
                  </a:lnTo>
                  <a:lnTo>
                    <a:pt x="10" y="8391"/>
                  </a:lnTo>
                  <a:lnTo>
                    <a:pt x="1" y="8592"/>
                  </a:lnTo>
                  <a:lnTo>
                    <a:pt x="1" y="8793"/>
                  </a:lnTo>
                  <a:lnTo>
                    <a:pt x="10" y="8995"/>
                  </a:lnTo>
                  <a:lnTo>
                    <a:pt x="20" y="9196"/>
                  </a:lnTo>
                  <a:lnTo>
                    <a:pt x="39" y="9387"/>
                  </a:lnTo>
                  <a:lnTo>
                    <a:pt x="77" y="9588"/>
                  </a:lnTo>
                  <a:lnTo>
                    <a:pt x="116" y="9780"/>
                  </a:lnTo>
                  <a:lnTo>
                    <a:pt x="154" y="9972"/>
                  </a:lnTo>
                  <a:lnTo>
                    <a:pt x="211" y="10154"/>
                  </a:lnTo>
                  <a:lnTo>
                    <a:pt x="269" y="10345"/>
                  </a:lnTo>
                  <a:lnTo>
                    <a:pt x="336" y="10527"/>
                  </a:lnTo>
                  <a:lnTo>
                    <a:pt x="412" y="10699"/>
                  </a:lnTo>
                  <a:lnTo>
                    <a:pt x="489" y="10881"/>
                  </a:lnTo>
                  <a:lnTo>
                    <a:pt x="575" y="11044"/>
                  </a:lnTo>
                  <a:lnTo>
                    <a:pt x="661" y="11217"/>
                  </a:lnTo>
                  <a:lnTo>
                    <a:pt x="757" y="11380"/>
                  </a:lnTo>
                  <a:lnTo>
                    <a:pt x="863" y="11533"/>
                  </a:lnTo>
                  <a:lnTo>
                    <a:pt x="968" y="11696"/>
                  </a:lnTo>
                  <a:lnTo>
                    <a:pt x="1083" y="11839"/>
                  </a:lnTo>
                  <a:lnTo>
                    <a:pt x="1198" y="11983"/>
                  </a:lnTo>
                  <a:lnTo>
                    <a:pt x="1313" y="12127"/>
                  </a:lnTo>
                  <a:lnTo>
                    <a:pt x="1437" y="12261"/>
                  </a:lnTo>
                  <a:lnTo>
                    <a:pt x="1571" y="12385"/>
                  </a:lnTo>
                  <a:lnTo>
                    <a:pt x="1705" y="12500"/>
                  </a:lnTo>
                  <a:lnTo>
                    <a:pt x="1840" y="12615"/>
                  </a:lnTo>
                  <a:lnTo>
                    <a:pt x="1983" y="12730"/>
                  </a:lnTo>
                  <a:lnTo>
                    <a:pt x="2127" y="12826"/>
                  </a:lnTo>
                  <a:lnTo>
                    <a:pt x="2271" y="12922"/>
                  </a:lnTo>
                  <a:lnTo>
                    <a:pt x="2414" y="13017"/>
                  </a:lnTo>
                  <a:lnTo>
                    <a:pt x="2568" y="13094"/>
                  </a:lnTo>
                  <a:lnTo>
                    <a:pt x="2721" y="13171"/>
                  </a:lnTo>
                  <a:lnTo>
                    <a:pt x="2874" y="13228"/>
                  </a:lnTo>
                  <a:lnTo>
                    <a:pt x="3037" y="13286"/>
                  </a:lnTo>
                  <a:lnTo>
                    <a:pt x="3190" y="13343"/>
                  </a:lnTo>
                  <a:lnTo>
                    <a:pt x="3353" y="13381"/>
                  </a:lnTo>
                  <a:lnTo>
                    <a:pt x="3516" y="13410"/>
                  </a:lnTo>
                  <a:lnTo>
                    <a:pt x="3679" y="13429"/>
                  </a:lnTo>
                  <a:lnTo>
                    <a:pt x="3841" y="13448"/>
                  </a:lnTo>
                  <a:lnTo>
                    <a:pt x="4167" y="13448"/>
                  </a:lnTo>
                  <a:lnTo>
                    <a:pt x="4330" y="13429"/>
                  </a:lnTo>
                  <a:lnTo>
                    <a:pt x="4493" y="13401"/>
                  </a:lnTo>
                  <a:lnTo>
                    <a:pt x="4656" y="13372"/>
                  </a:lnTo>
                  <a:lnTo>
                    <a:pt x="4818" y="13324"/>
                  </a:lnTo>
                  <a:lnTo>
                    <a:pt x="4981" y="13266"/>
                  </a:lnTo>
                  <a:lnTo>
                    <a:pt x="5144" y="13199"/>
                  </a:lnTo>
                  <a:lnTo>
                    <a:pt x="5297" y="13123"/>
                  </a:lnTo>
                  <a:lnTo>
                    <a:pt x="5460" y="13027"/>
                  </a:lnTo>
                  <a:lnTo>
                    <a:pt x="5613" y="12931"/>
                  </a:lnTo>
                  <a:lnTo>
                    <a:pt x="5767" y="12816"/>
                  </a:lnTo>
                  <a:lnTo>
                    <a:pt x="5920" y="12692"/>
                  </a:lnTo>
                  <a:lnTo>
                    <a:pt x="6111" y="12500"/>
                  </a:lnTo>
                  <a:lnTo>
                    <a:pt x="6332" y="12261"/>
                  </a:lnTo>
                  <a:lnTo>
                    <a:pt x="6619" y="11945"/>
                  </a:lnTo>
                  <a:lnTo>
                    <a:pt x="6964" y="11542"/>
                  </a:lnTo>
                  <a:lnTo>
                    <a:pt x="7357" y="11054"/>
                  </a:lnTo>
                  <a:lnTo>
                    <a:pt x="7567" y="10786"/>
                  </a:lnTo>
                  <a:lnTo>
                    <a:pt x="7778" y="10498"/>
                  </a:lnTo>
                  <a:lnTo>
                    <a:pt x="7998" y="10192"/>
                  </a:lnTo>
                  <a:lnTo>
                    <a:pt x="8228" y="9866"/>
                  </a:lnTo>
                  <a:lnTo>
                    <a:pt x="8458" y="9521"/>
                  </a:lnTo>
                  <a:lnTo>
                    <a:pt x="8688" y="9167"/>
                  </a:lnTo>
                  <a:lnTo>
                    <a:pt x="8918" y="8793"/>
                  </a:lnTo>
                  <a:lnTo>
                    <a:pt x="9148" y="8401"/>
                  </a:lnTo>
                  <a:lnTo>
                    <a:pt x="9368" y="7998"/>
                  </a:lnTo>
                  <a:lnTo>
                    <a:pt x="9588" y="7577"/>
                  </a:lnTo>
                  <a:lnTo>
                    <a:pt x="9809" y="7146"/>
                  </a:lnTo>
                  <a:lnTo>
                    <a:pt x="10010" y="6696"/>
                  </a:lnTo>
                  <a:lnTo>
                    <a:pt x="10211" y="6236"/>
                  </a:lnTo>
                  <a:lnTo>
                    <a:pt x="10402" y="5767"/>
                  </a:lnTo>
                  <a:lnTo>
                    <a:pt x="10575" y="5278"/>
                  </a:lnTo>
                  <a:lnTo>
                    <a:pt x="10738" y="4780"/>
                  </a:lnTo>
                  <a:lnTo>
                    <a:pt x="10891" y="4273"/>
                  </a:lnTo>
                  <a:lnTo>
                    <a:pt x="11015" y="3746"/>
                  </a:lnTo>
                  <a:lnTo>
                    <a:pt x="11130" y="3219"/>
                  </a:lnTo>
                  <a:lnTo>
                    <a:pt x="11226" y="2673"/>
                  </a:lnTo>
                  <a:lnTo>
                    <a:pt x="5067"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26"/>
            <p:cNvSpPr/>
            <p:nvPr/>
          </p:nvSpPr>
          <p:spPr>
            <a:xfrm>
              <a:off x="7534389" y="1389325"/>
              <a:ext cx="265652" cy="115677"/>
            </a:xfrm>
            <a:custGeom>
              <a:avLst/>
              <a:gdLst/>
              <a:ahLst/>
              <a:cxnLst/>
              <a:rect l="l" t="t" r="r" b="b"/>
              <a:pathLst>
                <a:path w="6754" h="2941" extrusionOk="0">
                  <a:moveTo>
                    <a:pt x="3123" y="0"/>
                  </a:moveTo>
                  <a:lnTo>
                    <a:pt x="2970" y="10"/>
                  </a:lnTo>
                  <a:lnTo>
                    <a:pt x="2817" y="38"/>
                  </a:lnTo>
                  <a:lnTo>
                    <a:pt x="2673" y="67"/>
                  </a:lnTo>
                  <a:lnTo>
                    <a:pt x="2520" y="115"/>
                  </a:lnTo>
                  <a:lnTo>
                    <a:pt x="2376" y="172"/>
                  </a:lnTo>
                  <a:lnTo>
                    <a:pt x="2242" y="239"/>
                  </a:lnTo>
                  <a:lnTo>
                    <a:pt x="2098" y="316"/>
                  </a:lnTo>
                  <a:lnTo>
                    <a:pt x="1974" y="402"/>
                  </a:lnTo>
                  <a:lnTo>
                    <a:pt x="1840" y="498"/>
                  </a:lnTo>
                  <a:lnTo>
                    <a:pt x="1533" y="651"/>
                  </a:lnTo>
                  <a:lnTo>
                    <a:pt x="1217" y="824"/>
                  </a:lnTo>
                  <a:lnTo>
                    <a:pt x="1035" y="929"/>
                  </a:lnTo>
                  <a:lnTo>
                    <a:pt x="853" y="1034"/>
                  </a:lnTo>
                  <a:lnTo>
                    <a:pt x="681" y="1159"/>
                  </a:lnTo>
                  <a:lnTo>
                    <a:pt x="508" y="1274"/>
                  </a:lnTo>
                  <a:lnTo>
                    <a:pt x="355" y="1398"/>
                  </a:lnTo>
                  <a:lnTo>
                    <a:pt x="221" y="1523"/>
                  </a:lnTo>
                  <a:lnTo>
                    <a:pt x="116" y="1647"/>
                  </a:lnTo>
                  <a:lnTo>
                    <a:pt x="68" y="1714"/>
                  </a:lnTo>
                  <a:lnTo>
                    <a:pt x="39" y="1772"/>
                  </a:lnTo>
                  <a:lnTo>
                    <a:pt x="20" y="1829"/>
                  </a:lnTo>
                  <a:lnTo>
                    <a:pt x="1" y="1887"/>
                  </a:lnTo>
                  <a:lnTo>
                    <a:pt x="1" y="1944"/>
                  </a:lnTo>
                  <a:lnTo>
                    <a:pt x="20" y="1992"/>
                  </a:lnTo>
                  <a:lnTo>
                    <a:pt x="3315" y="1992"/>
                  </a:lnTo>
                  <a:lnTo>
                    <a:pt x="6207" y="2940"/>
                  </a:lnTo>
                  <a:lnTo>
                    <a:pt x="6753" y="1465"/>
                  </a:lnTo>
                  <a:lnTo>
                    <a:pt x="4177" y="220"/>
                  </a:lnTo>
                  <a:lnTo>
                    <a:pt x="4033" y="153"/>
                  </a:lnTo>
                  <a:lnTo>
                    <a:pt x="3889" y="105"/>
                  </a:lnTo>
                  <a:lnTo>
                    <a:pt x="3736" y="57"/>
                  </a:lnTo>
                  <a:lnTo>
                    <a:pt x="3583" y="29"/>
                  </a:lnTo>
                  <a:lnTo>
                    <a:pt x="3430" y="10"/>
                  </a:lnTo>
                  <a:lnTo>
                    <a:pt x="3276" y="0"/>
                  </a:lnTo>
                  <a:close/>
                </a:path>
              </a:pathLst>
            </a:custGeom>
            <a:solidFill>
              <a:srgbClr val="FFAF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26"/>
            <p:cNvSpPr/>
            <p:nvPr/>
          </p:nvSpPr>
          <p:spPr>
            <a:xfrm>
              <a:off x="6751575" y="2828733"/>
              <a:ext cx="442333" cy="90858"/>
            </a:xfrm>
            <a:custGeom>
              <a:avLst/>
              <a:gdLst/>
              <a:ahLst/>
              <a:cxnLst/>
              <a:rect l="l" t="t" r="r" b="b"/>
              <a:pathLst>
                <a:path w="11246" h="2310" extrusionOk="0">
                  <a:moveTo>
                    <a:pt x="2117" y="1"/>
                  </a:moveTo>
                  <a:lnTo>
                    <a:pt x="1897" y="20"/>
                  </a:lnTo>
                  <a:lnTo>
                    <a:pt x="1686" y="49"/>
                  </a:lnTo>
                  <a:lnTo>
                    <a:pt x="1485" y="97"/>
                  </a:lnTo>
                  <a:lnTo>
                    <a:pt x="1293" y="173"/>
                  </a:lnTo>
                  <a:lnTo>
                    <a:pt x="1111" y="260"/>
                  </a:lnTo>
                  <a:lnTo>
                    <a:pt x="939" y="365"/>
                  </a:lnTo>
                  <a:lnTo>
                    <a:pt x="776" y="489"/>
                  </a:lnTo>
                  <a:lnTo>
                    <a:pt x="623" y="624"/>
                  </a:lnTo>
                  <a:lnTo>
                    <a:pt x="489" y="777"/>
                  </a:lnTo>
                  <a:lnTo>
                    <a:pt x="364" y="940"/>
                  </a:lnTo>
                  <a:lnTo>
                    <a:pt x="259" y="1112"/>
                  </a:lnTo>
                  <a:lnTo>
                    <a:pt x="173" y="1294"/>
                  </a:lnTo>
                  <a:lnTo>
                    <a:pt x="96" y="1486"/>
                  </a:lnTo>
                  <a:lnTo>
                    <a:pt x="48" y="1687"/>
                  </a:lnTo>
                  <a:lnTo>
                    <a:pt x="20" y="1897"/>
                  </a:lnTo>
                  <a:lnTo>
                    <a:pt x="0" y="2118"/>
                  </a:lnTo>
                  <a:lnTo>
                    <a:pt x="0" y="2309"/>
                  </a:lnTo>
                  <a:lnTo>
                    <a:pt x="11245" y="2309"/>
                  </a:lnTo>
                  <a:lnTo>
                    <a:pt x="11245" y="2118"/>
                  </a:lnTo>
                  <a:lnTo>
                    <a:pt x="11235" y="1897"/>
                  </a:lnTo>
                  <a:lnTo>
                    <a:pt x="11207" y="1687"/>
                  </a:lnTo>
                  <a:lnTo>
                    <a:pt x="11149" y="1486"/>
                  </a:lnTo>
                  <a:lnTo>
                    <a:pt x="11082" y="1294"/>
                  </a:lnTo>
                  <a:lnTo>
                    <a:pt x="10986" y="1112"/>
                  </a:lnTo>
                  <a:lnTo>
                    <a:pt x="10881" y="940"/>
                  </a:lnTo>
                  <a:lnTo>
                    <a:pt x="10766" y="777"/>
                  </a:lnTo>
                  <a:lnTo>
                    <a:pt x="10622" y="624"/>
                  </a:lnTo>
                  <a:lnTo>
                    <a:pt x="10479" y="489"/>
                  </a:lnTo>
                  <a:lnTo>
                    <a:pt x="10316" y="365"/>
                  </a:lnTo>
                  <a:lnTo>
                    <a:pt x="10144" y="260"/>
                  </a:lnTo>
                  <a:lnTo>
                    <a:pt x="9952" y="173"/>
                  </a:lnTo>
                  <a:lnTo>
                    <a:pt x="9760" y="97"/>
                  </a:lnTo>
                  <a:lnTo>
                    <a:pt x="9559" y="49"/>
                  </a:lnTo>
                  <a:lnTo>
                    <a:pt x="9349" y="20"/>
                  </a:lnTo>
                  <a:lnTo>
                    <a:pt x="913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26"/>
            <p:cNvSpPr/>
            <p:nvPr/>
          </p:nvSpPr>
          <p:spPr>
            <a:xfrm>
              <a:off x="6644947" y="2603837"/>
              <a:ext cx="334208" cy="315761"/>
            </a:xfrm>
            <a:custGeom>
              <a:avLst/>
              <a:gdLst/>
              <a:ahLst/>
              <a:cxnLst/>
              <a:rect l="l" t="t" r="r" b="b"/>
              <a:pathLst>
                <a:path w="8497" h="8028" extrusionOk="0">
                  <a:moveTo>
                    <a:pt x="2041" y="1"/>
                  </a:moveTo>
                  <a:lnTo>
                    <a:pt x="1" y="8027"/>
                  </a:lnTo>
                  <a:lnTo>
                    <a:pt x="6456" y="8027"/>
                  </a:lnTo>
                  <a:lnTo>
                    <a:pt x="8497" y="1"/>
                  </a:lnTo>
                  <a:close/>
                </a:path>
              </a:pathLst>
            </a:cu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26"/>
            <p:cNvSpPr/>
            <p:nvPr/>
          </p:nvSpPr>
          <p:spPr>
            <a:xfrm>
              <a:off x="6143904" y="1766394"/>
              <a:ext cx="1389814" cy="897410"/>
            </a:xfrm>
            <a:custGeom>
              <a:avLst/>
              <a:gdLst/>
              <a:ahLst/>
              <a:cxnLst/>
              <a:rect l="l" t="t" r="r" b="b"/>
              <a:pathLst>
                <a:path w="35335" h="22816" extrusionOk="0">
                  <a:moveTo>
                    <a:pt x="1687" y="1"/>
                  </a:moveTo>
                  <a:lnTo>
                    <a:pt x="1514" y="10"/>
                  </a:lnTo>
                  <a:lnTo>
                    <a:pt x="1342" y="39"/>
                  </a:lnTo>
                  <a:lnTo>
                    <a:pt x="1179" y="77"/>
                  </a:lnTo>
                  <a:lnTo>
                    <a:pt x="1026" y="135"/>
                  </a:lnTo>
                  <a:lnTo>
                    <a:pt x="882" y="202"/>
                  </a:lnTo>
                  <a:lnTo>
                    <a:pt x="738" y="288"/>
                  </a:lnTo>
                  <a:lnTo>
                    <a:pt x="614" y="384"/>
                  </a:lnTo>
                  <a:lnTo>
                    <a:pt x="489" y="499"/>
                  </a:lnTo>
                  <a:lnTo>
                    <a:pt x="384" y="614"/>
                  </a:lnTo>
                  <a:lnTo>
                    <a:pt x="288" y="748"/>
                  </a:lnTo>
                  <a:lnTo>
                    <a:pt x="202" y="882"/>
                  </a:lnTo>
                  <a:lnTo>
                    <a:pt x="135" y="1026"/>
                  </a:lnTo>
                  <a:lnTo>
                    <a:pt x="78" y="1188"/>
                  </a:lnTo>
                  <a:lnTo>
                    <a:pt x="30" y="1342"/>
                  </a:lnTo>
                  <a:lnTo>
                    <a:pt x="10" y="1514"/>
                  </a:lnTo>
                  <a:lnTo>
                    <a:pt x="1" y="1686"/>
                  </a:lnTo>
                  <a:lnTo>
                    <a:pt x="2405" y="21130"/>
                  </a:lnTo>
                  <a:lnTo>
                    <a:pt x="2415" y="21302"/>
                  </a:lnTo>
                  <a:lnTo>
                    <a:pt x="2434" y="21475"/>
                  </a:lnTo>
                  <a:lnTo>
                    <a:pt x="2482" y="21638"/>
                  </a:lnTo>
                  <a:lnTo>
                    <a:pt x="2539" y="21791"/>
                  </a:lnTo>
                  <a:lnTo>
                    <a:pt x="2606" y="21935"/>
                  </a:lnTo>
                  <a:lnTo>
                    <a:pt x="2692" y="22078"/>
                  </a:lnTo>
                  <a:lnTo>
                    <a:pt x="2788" y="22203"/>
                  </a:lnTo>
                  <a:lnTo>
                    <a:pt x="2893" y="22327"/>
                  </a:lnTo>
                  <a:lnTo>
                    <a:pt x="3018" y="22433"/>
                  </a:lnTo>
                  <a:lnTo>
                    <a:pt x="3143" y="22528"/>
                  </a:lnTo>
                  <a:lnTo>
                    <a:pt x="3286" y="22615"/>
                  </a:lnTo>
                  <a:lnTo>
                    <a:pt x="3430" y="22682"/>
                  </a:lnTo>
                  <a:lnTo>
                    <a:pt x="3583" y="22739"/>
                  </a:lnTo>
                  <a:lnTo>
                    <a:pt x="3746" y="22787"/>
                  </a:lnTo>
                  <a:lnTo>
                    <a:pt x="3918" y="22806"/>
                  </a:lnTo>
                  <a:lnTo>
                    <a:pt x="4091" y="22816"/>
                  </a:lnTo>
                  <a:lnTo>
                    <a:pt x="33649" y="22816"/>
                  </a:lnTo>
                  <a:lnTo>
                    <a:pt x="33821" y="22806"/>
                  </a:lnTo>
                  <a:lnTo>
                    <a:pt x="33984" y="22787"/>
                  </a:lnTo>
                  <a:lnTo>
                    <a:pt x="34147" y="22739"/>
                  </a:lnTo>
                  <a:lnTo>
                    <a:pt x="34300" y="22682"/>
                  </a:lnTo>
                  <a:lnTo>
                    <a:pt x="34453" y="22615"/>
                  </a:lnTo>
                  <a:lnTo>
                    <a:pt x="34587" y="22528"/>
                  </a:lnTo>
                  <a:lnTo>
                    <a:pt x="34721" y="22433"/>
                  </a:lnTo>
                  <a:lnTo>
                    <a:pt x="34836" y="22327"/>
                  </a:lnTo>
                  <a:lnTo>
                    <a:pt x="34951" y="22203"/>
                  </a:lnTo>
                  <a:lnTo>
                    <a:pt x="35047" y="22078"/>
                  </a:lnTo>
                  <a:lnTo>
                    <a:pt x="35133" y="21935"/>
                  </a:lnTo>
                  <a:lnTo>
                    <a:pt x="35200" y="21791"/>
                  </a:lnTo>
                  <a:lnTo>
                    <a:pt x="35258" y="21638"/>
                  </a:lnTo>
                  <a:lnTo>
                    <a:pt x="35296" y="21475"/>
                  </a:lnTo>
                  <a:lnTo>
                    <a:pt x="35325" y="21302"/>
                  </a:lnTo>
                  <a:lnTo>
                    <a:pt x="35334" y="21130"/>
                  </a:lnTo>
                  <a:lnTo>
                    <a:pt x="32930" y="1686"/>
                  </a:lnTo>
                  <a:lnTo>
                    <a:pt x="32921" y="1514"/>
                  </a:lnTo>
                  <a:lnTo>
                    <a:pt x="32892" y="1342"/>
                  </a:lnTo>
                  <a:lnTo>
                    <a:pt x="32854" y="1188"/>
                  </a:lnTo>
                  <a:lnTo>
                    <a:pt x="32796" y="1026"/>
                  </a:lnTo>
                  <a:lnTo>
                    <a:pt x="32729" y="882"/>
                  </a:lnTo>
                  <a:lnTo>
                    <a:pt x="32643" y="748"/>
                  </a:lnTo>
                  <a:lnTo>
                    <a:pt x="32547" y="614"/>
                  </a:lnTo>
                  <a:lnTo>
                    <a:pt x="32432" y="499"/>
                  </a:lnTo>
                  <a:lnTo>
                    <a:pt x="32317" y="384"/>
                  </a:lnTo>
                  <a:lnTo>
                    <a:pt x="32183" y="288"/>
                  </a:lnTo>
                  <a:lnTo>
                    <a:pt x="32049" y="202"/>
                  </a:lnTo>
                  <a:lnTo>
                    <a:pt x="31896" y="135"/>
                  </a:lnTo>
                  <a:lnTo>
                    <a:pt x="31743" y="77"/>
                  </a:lnTo>
                  <a:lnTo>
                    <a:pt x="31580" y="39"/>
                  </a:lnTo>
                  <a:lnTo>
                    <a:pt x="31417" y="10"/>
                  </a:lnTo>
                  <a:lnTo>
                    <a:pt x="31245" y="1"/>
                  </a:lnTo>
                  <a:close/>
                </a:path>
              </a:pathLst>
            </a:custGeom>
            <a:solidFill>
              <a:srgbClr val="CCCC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974;p26"/>
            <p:cNvSpPr/>
            <p:nvPr/>
          </p:nvSpPr>
          <p:spPr>
            <a:xfrm>
              <a:off x="5860993" y="3031447"/>
              <a:ext cx="2330490" cy="50503"/>
            </a:xfrm>
            <a:custGeom>
              <a:avLst/>
              <a:gdLst/>
              <a:ahLst/>
              <a:cxnLst/>
              <a:rect l="l" t="t" r="r" b="b"/>
              <a:pathLst>
                <a:path w="59251" h="1284" extrusionOk="0">
                  <a:moveTo>
                    <a:pt x="1" y="0"/>
                  </a:moveTo>
                  <a:lnTo>
                    <a:pt x="1" y="1283"/>
                  </a:lnTo>
                  <a:lnTo>
                    <a:pt x="59251" y="1283"/>
                  </a:lnTo>
                  <a:lnTo>
                    <a:pt x="59251"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975;p26"/>
            <p:cNvSpPr/>
            <p:nvPr/>
          </p:nvSpPr>
          <p:spPr>
            <a:xfrm>
              <a:off x="5559242" y="2992233"/>
              <a:ext cx="603557" cy="1663686"/>
            </a:xfrm>
            <a:custGeom>
              <a:avLst/>
              <a:gdLst/>
              <a:ahLst/>
              <a:cxnLst/>
              <a:rect l="l" t="t" r="r" b="b"/>
              <a:pathLst>
                <a:path w="15345" h="42298" extrusionOk="0">
                  <a:moveTo>
                    <a:pt x="11341" y="1"/>
                  </a:moveTo>
                  <a:lnTo>
                    <a:pt x="1" y="42298"/>
                  </a:lnTo>
                  <a:lnTo>
                    <a:pt x="1437" y="42298"/>
                  </a:lnTo>
                  <a:lnTo>
                    <a:pt x="15345" y="394"/>
                  </a:lnTo>
                  <a:lnTo>
                    <a:pt x="11341"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26"/>
            <p:cNvSpPr/>
            <p:nvPr/>
          </p:nvSpPr>
          <p:spPr>
            <a:xfrm>
              <a:off x="7855726" y="2992233"/>
              <a:ext cx="603557" cy="1663686"/>
            </a:xfrm>
            <a:custGeom>
              <a:avLst/>
              <a:gdLst/>
              <a:ahLst/>
              <a:cxnLst/>
              <a:rect l="l" t="t" r="r" b="b"/>
              <a:pathLst>
                <a:path w="15345" h="42298" extrusionOk="0">
                  <a:moveTo>
                    <a:pt x="4004" y="1"/>
                  </a:moveTo>
                  <a:lnTo>
                    <a:pt x="1" y="394"/>
                  </a:lnTo>
                  <a:lnTo>
                    <a:pt x="13908" y="42298"/>
                  </a:lnTo>
                  <a:lnTo>
                    <a:pt x="15345" y="42298"/>
                  </a:lnTo>
                  <a:lnTo>
                    <a:pt x="4004" y="1"/>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6"/>
            <p:cNvSpPr/>
            <p:nvPr/>
          </p:nvSpPr>
          <p:spPr>
            <a:xfrm>
              <a:off x="5745712" y="2913531"/>
              <a:ext cx="2567862" cy="129247"/>
            </a:xfrm>
            <a:custGeom>
              <a:avLst/>
              <a:gdLst/>
              <a:ahLst/>
              <a:cxnLst/>
              <a:rect l="l" t="t" r="r" b="b"/>
              <a:pathLst>
                <a:path w="65286" h="3286" extrusionOk="0">
                  <a:moveTo>
                    <a:pt x="1" y="0"/>
                  </a:moveTo>
                  <a:lnTo>
                    <a:pt x="1" y="3285"/>
                  </a:lnTo>
                  <a:lnTo>
                    <a:pt x="65285" y="3285"/>
                  </a:lnTo>
                  <a:lnTo>
                    <a:pt x="65285" y="0"/>
                  </a:lnTo>
                  <a:close/>
                </a:path>
              </a:pathLst>
            </a:cu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78" name="Google Shape;978;p26"/>
          <p:cNvGrpSpPr/>
          <p:nvPr/>
        </p:nvGrpSpPr>
        <p:grpSpPr>
          <a:xfrm>
            <a:off x="165185" y="1191038"/>
            <a:ext cx="3688565" cy="604500"/>
            <a:chOff x="438547" y="1191038"/>
            <a:chExt cx="3415203" cy="604500"/>
          </a:xfrm>
        </p:grpSpPr>
        <p:sp>
          <p:nvSpPr>
            <p:cNvPr id="979" name="Google Shape;979;p26"/>
            <p:cNvSpPr/>
            <p:nvPr/>
          </p:nvSpPr>
          <p:spPr>
            <a:xfrm>
              <a:off x="3294050" y="1191038"/>
              <a:ext cx="559700" cy="604500"/>
            </a:xfrm>
            <a:prstGeom prst="ellipse">
              <a:avLst/>
            </a:prstGeom>
            <a:solidFill>
              <a:schemeClr val="accent2">
                <a:lumMod val="7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Tahoma" panose="020B0604030504040204" pitchFamily="34" charset="0"/>
                  <a:cs typeface="Tahoma" panose="020B0604030504040204" pitchFamily="34" charset="0"/>
                  <a:sym typeface="Fira Sans Extra Condensed"/>
                </a:rPr>
                <a:t>01</a:t>
              </a:r>
              <a:endParaRPr sz="1800" b="1">
                <a:solidFill>
                  <a:schemeClr val="lt1"/>
                </a:solidFill>
                <a:latin typeface="Fira Sans Extra Condensed"/>
                <a:ea typeface="Tahoma" panose="020B0604030504040204" pitchFamily="34" charset="0"/>
                <a:cs typeface="Tahoma" panose="020B0604030504040204" pitchFamily="34" charset="0"/>
                <a:sym typeface="Fira Sans Extra Condensed"/>
              </a:endParaRPr>
            </a:p>
          </p:txBody>
        </p:sp>
        <p:sp>
          <p:nvSpPr>
            <p:cNvPr id="981" name="Google Shape;981;p26"/>
            <p:cNvSpPr txBox="1"/>
            <p:nvPr/>
          </p:nvSpPr>
          <p:spPr>
            <a:xfrm>
              <a:off x="438547" y="1323553"/>
              <a:ext cx="2810604"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en-US" b="1">
                  <a:latin typeface="Tahoma" panose="020B0604030504040204" pitchFamily="34" charset="0"/>
                  <a:ea typeface="Tahoma" panose="020B0604030504040204" pitchFamily="34" charset="0"/>
                  <a:cs typeface="Tahoma" panose="020B0604030504040204" pitchFamily="34" charset="0"/>
                  <a:sym typeface="Roboto"/>
                </a:rPr>
                <a:t>Bao gồm 7 kịch bản tấn công khác nhau</a:t>
              </a:r>
              <a:endParaRPr b="1">
                <a:latin typeface="Tahoma" panose="020B0604030504040204" pitchFamily="34" charset="0"/>
                <a:ea typeface="Tahoma" panose="020B0604030504040204" pitchFamily="34" charset="0"/>
                <a:cs typeface="Tahoma" panose="020B0604030504040204" pitchFamily="34" charset="0"/>
                <a:sym typeface="Roboto"/>
              </a:endParaRPr>
            </a:p>
          </p:txBody>
        </p:sp>
      </p:grpSp>
      <p:grpSp>
        <p:nvGrpSpPr>
          <p:cNvPr id="982" name="Google Shape;982;p26"/>
          <p:cNvGrpSpPr/>
          <p:nvPr/>
        </p:nvGrpSpPr>
        <p:grpSpPr>
          <a:xfrm>
            <a:off x="202021" y="2156825"/>
            <a:ext cx="3651729" cy="604500"/>
            <a:chOff x="202021" y="2156825"/>
            <a:chExt cx="3651729" cy="604500"/>
          </a:xfrm>
        </p:grpSpPr>
        <p:sp>
          <p:nvSpPr>
            <p:cNvPr id="983" name="Google Shape;983;p26"/>
            <p:cNvSpPr/>
            <p:nvPr/>
          </p:nvSpPr>
          <p:spPr>
            <a:xfrm>
              <a:off x="3249250" y="2156825"/>
              <a:ext cx="604500" cy="6045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Tahoma" panose="020B0604030504040204" pitchFamily="34" charset="0"/>
                  <a:cs typeface="Tahoma" panose="020B0604030504040204" pitchFamily="34" charset="0"/>
                  <a:sym typeface="Fira Sans Extra Condensed"/>
                </a:rPr>
                <a:t>02</a:t>
              </a:r>
              <a:endParaRPr sz="1800" b="1">
                <a:solidFill>
                  <a:schemeClr val="lt1"/>
                </a:solidFill>
                <a:latin typeface="Fira Sans Extra Condensed"/>
                <a:ea typeface="Tahoma" panose="020B0604030504040204" pitchFamily="34" charset="0"/>
                <a:cs typeface="Tahoma" panose="020B0604030504040204" pitchFamily="34" charset="0"/>
                <a:sym typeface="Fira Sans Extra Condensed"/>
              </a:endParaRPr>
            </a:p>
          </p:txBody>
        </p:sp>
        <p:sp>
          <p:nvSpPr>
            <p:cNvPr id="985" name="Google Shape;985;p26"/>
            <p:cNvSpPr txBox="1"/>
            <p:nvPr/>
          </p:nvSpPr>
          <p:spPr>
            <a:xfrm>
              <a:off x="202021" y="2285099"/>
              <a:ext cx="3052800"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vi-VN" b="1">
                  <a:latin typeface="Tahoma" panose="020B0604030504040204" pitchFamily="34" charset="0"/>
                  <a:ea typeface="Tahoma" panose="020B0604030504040204" pitchFamily="34" charset="0"/>
                  <a:cs typeface="Tahoma" panose="020B0604030504040204" pitchFamily="34" charset="0"/>
                  <a:sym typeface="Roboto"/>
                </a:rPr>
                <a:t>Dữ liệu thu thập từ 50 máy tấn công và 420 máy tính cùng 30 máy chủ nạn nhân.</a:t>
              </a:r>
              <a:endParaRPr b="1">
                <a:latin typeface="Tahoma" panose="020B0604030504040204" pitchFamily="34" charset="0"/>
                <a:ea typeface="Tahoma" panose="020B0604030504040204" pitchFamily="34" charset="0"/>
                <a:cs typeface="Tahoma" panose="020B0604030504040204" pitchFamily="34" charset="0"/>
                <a:sym typeface="Roboto"/>
              </a:endParaRPr>
            </a:p>
          </p:txBody>
        </p:sp>
      </p:grpSp>
      <p:grpSp>
        <p:nvGrpSpPr>
          <p:cNvPr id="986" name="Google Shape;986;p26"/>
          <p:cNvGrpSpPr/>
          <p:nvPr/>
        </p:nvGrpSpPr>
        <p:grpSpPr>
          <a:xfrm>
            <a:off x="175826" y="3122613"/>
            <a:ext cx="3677924" cy="604500"/>
            <a:chOff x="175826" y="3122613"/>
            <a:chExt cx="3677924" cy="604500"/>
          </a:xfrm>
        </p:grpSpPr>
        <p:sp>
          <p:nvSpPr>
            <p:cNvPr id="987" name="Google Shape;987;p26"/>
            <p:cNvSpPr/>
            <p:nvPr/>
          </p:nvSpPr>
          <p:spPr>
            <a:xfrm>
              <a:off x="3249250" y="3122613"/>
              <a:ext cx="604500" cy="6045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Tahoma" panose="020B0604030504040204" pitchFamily="34" charset="0"/>
                  <a:cs typeface="Tahoma" panose="020B0604030504040204" pitchFamily="34" charset="0"/>
                  <a:sym typeface="Fira Sans Extra Condensed"/>
                </a:rPr>
                <a:t>03</a:t>
              </a:r>
              <a:endParaRPr sz="1800" b="1">
                <a:solidFill>
                  <a:schemeClr val="lt1"/>
                </a:solidFill>
                <a:latin typeface="Fira Sans Extra Condensed"/>
                <a:ea typeface="Tahoma" panose="020B0604030504040204" pitchFamily="34" charset="0"/>
                <a:cs typeface="Tahoma" panose="020B0604030504040204" pitchFamily="34" charset="0"/>
                <a:sym typeface="Fira Sans Extra Condensed"/>
              </a:endParaRPr>
            </a:p>
          </p:txBody>
        </p:sp>
        <p:sp>
          <p:nvSpPr>
            <p:cNvPr id="989" name="Google Shape;989;p26"/>
            <p:cNvSpPr txBox="1"/>
            <p:nvPr/>
          </p:nvSpPr>
          <p:spPr>
            <a:xfrm>
              <a:off x="175826" y="3355827"/>
              <a:ext cx="3035572"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vi-VN" b="1">
                  <a:latin typeface="Tahoma" panose="020B0604030504040204" pitchFamily="34" charset="0"/>
                  <a:ea typeface="Tahoma" panose="020B0604030504040204" pitchFamily="34" charset="0"/>
                  <a:cs typeface="Tahoma" panose="020B0604030504040204" pitchFamily="34" charset="0"/>
                </a:rPr>
                <a:t>Chứa 80 tính năng lưu lượng mạng được trích xuất bằng CICFlowMeter-V3.</a:t>
              </a:r>
              <a:endParaRPr b="1">
                <a:latin typeface="Tahoma" panose="020B0604030504040204" pitchFamily="34" charset="0"/>
                <a:ea typeface="Tahoma" panose="020B0604030504040204" pitchFamily="34" charset="0"/>
                <a:cs typeface="Tahoma" panose="020B0604030504040204" pitchFamily="34" charset="0"/>
                <a:sym typeface="Roboto"/>
              </a:endParaRPr>
            </a:p>
          </p:txBody>
        </p:sp>
      </p:grpSp>
      <p:grpSp>
        <p:nvGrpSpPr>
          <p:cNvPr id="990" name="Google Shape;990;p26"/>
          <p:cNvGrpSpPr/>
          <p:nvPr/>
        </p:nvGrpSpPr>
        <p:grpSpPr>
          <a:xfrm>
            <a:off x="196133" y="4088400"/>
            <a:ext cx="3657617" cy="604500"/>
            <a:chOff x="196133" y="4088400"/>
            <a:chExt cx="3657617" cy="604500"/>
          </a:xfrm>
        </p:grpSpPr>
        <p:sp>
          <p:nvSpPr>
            <p:cNvPr id="991" name="Google Shape;991;p26"/>
            <p:cNvSpPr/>
            <p:nvPr/>
          </p:nvSpPr>
          <p:spPr>
            <a:xfrm>
              <a:off x="3249250" y="4088400"/>
              <a:ext cx="604500" cy="604500"/>
            </a:xfrm>
            <a:prstGeom prst="ellipse">
              <a:avLst/>
            </a:pr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800" b="1">
                  <a:solidFill>
                    <a:schemeClr val="lt1"/>
                  </a:solidFill>
                  <a:latin typeface="Fira Sans Extra Condensed"/>
                  <a:ea typeface="Tahoma" panose="020B0604030504040204" pitchFamily="34" charset="0"/>
                  <a:cs typeface="Tahoma" panose="020B0604030504040204" pitchFamily="34" charset="0"/>
                  <a:sym typeface="Fira Sans Extra Condensed"/>
                </a:rPr>
                <a:t>04</a:t>
              </a:r>
              <a:endParaRPr sz="1800" b="1">
                <a:solidFill>
                  <a:schemeClr val="lt1"/>
                </a:solidFill>
                <a:latin typeface="Fira Sans Extra Condensed"/>
                <a:ea typeface="Tahoma" panose="020B0604030504040204" pitchFamily="34" charset="0"/>
                <a:cs typeface="Tahoma" panose="020B0604030504040204" pitchFamily="34" charset="0"/>
                <a:sym typeface="Fira Sans Extra Condensed"/>
              </a:endParaRPr>
            </a:p>
          </p:txBody>
        </p:sp>
        <p:sp>
          <p:nvSpPr>
            <p:cNvPr id="993" name="Google Shape;993;p26"/>
            <p:cNvSpPr txBox="1"/>
            <p:nvPr/>
          </p:nvSpPr>
          <p:spPr>
            <a:xfrm>
              <a:off x="196133" y="4312321"/>
              <a:ext cx="2879829" cy="3318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vi-VN" b="1">
                  <a:latin typeface="Tahoma" panose="020B0604030504040204" pitchFamily="34" charset="0"/>
                  <a:ea typeface="Tahoma" panose="020B0604030504040204" pitchFamily="34" charset="0"/>
                  <a:cs typeface="Tahoma" panose="020B0604030504040204" pitchFamily="34" charset="0"/>
                  <a:sym typeface="Roboto"/>
                </a:rPr>
                <a:t>Mô phỏng môi trường mạng thực tế, cung cấp dữ liệu đa chiều và phong phú, hỗ trợ nghiên cứu bảo mật hiệu quả.</a:t>
              </a:r>
              <a:endParaRPr b="1">
                <a:latin typeface="Tahoma" panose="020B0604030504040204" pitchFamily="34" charset="0"/>
                <a:ea typeface="Tahoma" panose="020B0604030504040204" pitchFamily="34" charset="0"/>
                <a:cs typeface="Tahoma" panose="020B0604030504040204" pitchFamily="34" charset="0"/>
                <a:sym typeface="Roboto"/>
              </a:endParaRPr>
            </a:p>
          </p:txBody>
        </p:sp>
      </p:grpSp>
      <p:sp>
        <p:nvSpPr>
          <p:cNvPr id="994" name="Google Shape;994;p26"/>
          <p:cNvSpPr txBox="1"/>
          <p:nvPr/>
        </p:nvSpPr>
        <p:spPr>
          <a:xfrm>
            <a:off x="3853750" y="864486"/>
            <a:ext cx="5125065" cy="5352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100" b="1">
                <a:latin typeface="Fira Sans Extra Condensed"/>
                <a:ea typeface="Fira Sans Extra Condensed"/>
                <a:cs typeface="Fira Sans Extra Condensed"/>
                <a:sym typeface="Fira Sans Extra Condensed"/>
              </a:rPr>
              <a:t>Communications Security Establishment (CSE) và Canadian Institute for Cybersecurity (CIC)</a:t>
            </a:r>
            <a:endParaRPr sz="2100" b="1">
              <a:solidFill>
                <a:srgbClr val="000000"/>
              </a:solidFill>
              <a:latin typeface="Fira Sans Extra Condensed"/>
              <a:ea typeface="Fira Sans Extra Condensed"/>
              <a:cs typeface="Fira Sans Extra Condensed"/>
              <a:sym typeface="Fira Sans Extra Condensed"/>
            </a:endParaRPr>
          </a:p>
        </p:txBody>
      </p:sp>
      <p:sp>
        <p:nvSpPr>
          <p:cNvPr id="995" name="Google Shape;995;p26"/>
          <p:cNvSpPr/>
          <p:nvPr/>
        </p:nvSpPr>
        <p:spPr>
          <a:xfrm>
            <a:off x="6906650" y="2375375"/>
            <a:ext cx="167400" cy="167400"/>
          </a:xfrm>
          <a:prstGeom prst="ellipse">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96" name="Google Shape;996;p26"/>
          <p:cNvCxnSpPr>
            <a:cxnSpLocks/>
            <a:stCxn id="995" idx="2"/>
            <a:endCxn id="979" idx="6"/>
          </p:cNvCxnSpPr>
          <p:nvPr/>
        </p:nvCxnSpPr>
        <p:spPr>
          <a:xfrm flipH="1" flipV="1">
            <a:off x="3853750" y="1493288"/>
            <a:ext cx="3052900" cy="965787"/>
          </a:xfrm>
          <a:prstGeom prst="straightConnector1">
            <a:avLst/>
          </a:prstGeom>
          <a:noFill/>
          <a:ln w="9525" cap="flat" cmpd="sng">
            <a:solidFill>
              <a:schemeClr val="lt2"/>
            </a:solidFill>
            <a:prstDash val="solid"/>
            <a:round/>
            <a:headEnd type="none" w="med" len="med"/>
            <a:tailEnd type="none" w="med" len="med"/>
          </a:ln>
        </p:spPr>
      </p:cxnSp>
      <p:cxnSp>
        <p:nvCxnSpPr>
          <p:cNvPr id="997" name="Google Shape;997;p26"/>
          <p:cNvCxnSpPr>
            <a:stCxn id="995" idx="2"/>
            <a:endCxn id="983" idx="6"/>
          </p:cNvCxnSpPr>
          <p:nvPr/>
        </p:nvCxnSpPr>
        <p:spPr>
          <a:xfrm rot="10800000">
            <a:off x="3853850" y="2459075"/>
            <a:ext cx="3052800" cy="0"/>
          </a:xfrm>
          <a:prstGeom prst="straightConnector1">
            <a:avLst/>
          </a:prstGeom>
          <a:noFill/>
          <a:ln w="9525" cap="flat" cmpd="sng">
            <a:solidFill>
              <a:schemeClr val="lt2"/>
            </a:solidFill>
            <a:prstDash val="solid"/>
            <a:round/>
            <a:headEnd type="none" w="med" len="med"/>
            <a:tailEnd type="none" w="med" len="med"/>
          </a:ln>
        </p:spPr>
      </p:cxnSp>
      <p:cxnSp>
        <p:nvCxnSpPr>
          <p:cNvPr id="998" name="Google Shape;998;p26"/>
          <p:cNvCxnSpPr>
            <a:stCxn id="995" idx="2"/>
            <a:endCxn id="987" idx="6"/>
          </p:cNvCxnSpPr>
          <p:nvPr/>
        </p:nvCxnSpPr>
        <p:spPr>
          <a:xfrm flipH="1">
            <a:off x="3853850" y="2459075"/>
            <a:ext cx="3052800" cy="965700"/>
          </a:xfrm>
          <a:prstGeom prst="straightConnector1">
            <a:avLst/>
          </a:prstGeom>
          <a:noFill/>
          <a:ln w="9525" cap="flat" cmpd="sng">
            <a:solidFill>
              <a:schemeClr val="lt2"/>
            </a:solidFill>
            <a:prstDash val="solid"/>
            <a:round/>
            <a:headEnd type="none" w="med" len="med"/>
            <a:tailEnd type="none" w="med" len="med"/>
          </a:ln>
        </p:spPr>
      </p:cxnSp>
      <p:cxnSp>
        <p:nvCxnSpPr>
          <p:cNvPr id="999" name="Google Shape;999;p26"/>
          <p:cNvCxnSpPr>
            <a:stCxn id="995" idx="2"/>
            <a:endCxn id="991" idx="6"/>
          </p:cNvCxnSpPr>
          <p:nvPr/>
        </p:nvCxnSpPr>
        <p:spPr>
          <a:xfrm flipH="1">
            <a:off x="3853850" y="2459075"/>
            <a:ext cx="3052800" cy="1931700"/>
          </a:xfrm>
          <a:prstGeom prst="straightConnector1">
            <a:avLst/>
          </a:prstGeom>
          <a:noFill/>
          <a:ln w="9525" cap="flat" cmpd="sng">
            <a:solidFill>
              <a:schemeClr val="lt2"/>
            </a:solidFill>
            <a:prstDash val="solid"/>
            <a:round/>
            <a:headEnd type="none" w="med" len="med"/>
            <a:tailEnd type="none" w="med" len="med"/>
          </a:ln>
        </p:spPr>
      </p:cxnSp>
      <p:sp>
        <p:nvSpPr>
          <p:cNvPr id="68" name="Rectangle 45">
            <a:extLst>
              <a:ext uri="{FF2B5EF4-FFF2-40B4-BE49-F238E27FC236}">
                <a16:creationId xmlns:a16="http://schemas.microsoft.com/office/drawing/2014/main" id="{349D19BE-D97F-4030-B2C9-A18329F62499}"/>
              </a:ext>
            </a:extLst>
          </p:cNvPr>
          <p:cNvSpPr>
            <a:spLocks noChangeArrowheads="1"/>
          </p:cNvSpPr>
          <p:nvPr/>
        </p:nvSpPr>
        <p:spPr bwMode="gray">
          <a:xfrm>
            <a:off x="0" y="180875"/>
            <a:ext cx="9144000" cy="603250"/>
          </a:xfrm>
          <a:prstGeom prst="rect">
            <a:avLst/>
          </a:prstGeom>
          <a:gradFill rotWithShape="1">
            <a:gsLst>
              <a:gs pos="0">
                <a:srgbClr val="3167D3">
                  <a:gamma/>
                  <a:shade val="46275"/>
                  <a:invGamma/>
                </a:srgbClr>
              </a:gs>
              <a:gs pos="100000">
                <a:srgbClr val="3167D3"/>
              </a:gs>
            </a:gsLst>
            <a:lin ang="0" scaled="1"/>
          </a:gradFill>
          <a:ln w="9525">
            <a:solidFill>
              <a:srgbClr val="3167D3"/>
            </a:solidFill>
            <a:miter lim="800000"/>
            <a:headEnd/>
            <a:tailEnd/>
          </a:ln>
          <a:effectLst/>
        </p:spPr>
        <p:txBody>
          <a:bodyPr wrap="none"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A1A70"/>
              </a:solidFill>
              <a:effectLst/>
              <a:uLnTx/>
              <a:uFillTx/>
              <a:latin typeface="Arial" charset="0"/>
              <a:ea typeface="+mn-ea"/>
              <a:cs typeface="+mn-cs"/>
            </a:endParaRPr>
          </a:p>
        </p:txBody>
      </p:sp>
      <p:sp>
        <p:nvSpPr>
          <p:cNvPr id="69" name="Google Shape;412;p18">
            <a:extLst>
              <a:ext uri="{FF2B5EF4-FFF2-40B4-BE49-F238E27FC236}">
                <a16:creationId xmlns:a16="http://schemas.microsoft.com/office/drawing/2014/main" id="{0882B46C-5591-45F1-B948-E255CCECFB27}"/>
              </a:ext>
            </a:extLst>
          </p:cNvPr>
          <p:cNvSpPr txBox="1">
            <a:spLocks/>
          </p:cNvSpPr>
          <p:nvPr/>
        </p:nvSpPr>
        <p:spPr>
          <a:xfrm>
            <a:off x="457200" y="309787"/>
            <a:ext cx="8229600" cy="371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1pPr>
            <a:lvl2pPr marR="0" lvl="1"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2pPr>
            <a:lvl3pPr marR="0" lvl="2"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3pPr>
            <a:lvl4pPr marR="0" lvl="3"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4pPr>
            <a:lvl5pPr marR="0" lvl="4"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5pPr>
            <a:lvl6pPr marR="0" lvl="5"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6pPr>
            <a:lvl7pPr marR="0" lvl="6"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7pPr>
            <a:lvl8pPr marR="0" lvl="7"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8pPr>
            <a:lvl9pPr marR="0" lvl="8" algn="l" rtl="0">
              <a:lnSpc>
                <a:spcPct val="100000"/>
              </a:lnSpc>
              <a:spcBef>
                <a:spcPts val="0"/>
              </a:spcBef>
              <a:spcAft>
                <a:spcPts val="0"/>
              </a:spcAft>
              <a:buClr>
                <a:schemeClr val="dk1"/>
              </a:buClr>
              <a:buSzPts val="2800"/>
              <a:buFont typeface="Fira Sans Extra Condensed"/>
              <a:buNone/>
              <a:defRPr sz="2800" b="1" i="0" u="none" strike="noStrike" cap="none">
                <a:solidFill>
                  <a:schemeClr val="dk1"/>
                </a:solidFill>
                <a:latin typeface="Fira Sans Extra Condensed"/>
                <a:ea typeface="Fira Sans Extra Condensed"/>
                <a:cs typeface="Fira Sans Extra Condensed"/>
                <a:sym typeface="Fira Sans Extra Condensed"/>
              </a:defRPr>
            </a:lvl9pPr>
          </a:lstStyle>
          <a:p>
            <a:r>
              <a:rPr lang="en-US">
                <a:solidFill>
                  <a:schemeClr val="bg1"/>
                </a:solidFill>
              </a:rPr>
              <a:t>TẬP DỮ LIỆU NGHIÊN CỨU CSE-CIC-IDS2018 </a:t>
            </a:r>
          </a:p>
        </p:txBody>
      </p:sp>
      <p:sp>
        <p:nvSpPr>
          <p:cNvPr id="64" name="TextBox 63">
            <a:extLst>
              <a:ext uri="{FF2B5EF4-FFF2-40B4-BE49-F238E27FC236}">
                <a16:creationId xmlns:a16="http://schemas.microsoft.com/office/drawing/2014/main" id="{74E769F4-8E9F-42E4-9F3A-CA49E97ABEFB}"/>
              </a:ext>
            </a:extLst>
          </p:cNvPr>
          <p:cNvSpPr txBox="1"/>
          <p:nvPr/>
        </p:nvSpPr>
        <p:spPr>
          <a:xfrm>
            <a:off x="4441014" y="4808736"/>
            <a:ext cx="4575490" cy="307777"/>
          </a:xfrm>
          <a:prstGeom prst="rect">
            <a:avLst/>
          </a:prstGeom>
          <a:noFill/>
        </p:spPr>
        <p:txBody>
          <a:bodyPr wrap="square">
            <a:spAutoFit/>
          </a:bodyPr>
          <a:lstStyle/>
          <a:p>
            <a:r>
              <a:rPr lang="en-US" sz="1400" b="1" u="sng">
                <a:solidFill>
                  <a:srgbClr val="0563C1"/>
                </a:solidFill>
                <a:effectLst/>
                <a:latin typeface="Tahoma" panose="020B0604030504040204" pitchFamily="34" charset="0"/>
                <a:ea typeface="Tahoma" panose="020B0604030504040204" pitchFamily="34" charset="0"/>
                <a:cs typeface="Tahoma" panose="020B0604030504040204" pitchFamily="34" charset="0"/>
                <a:hlinkClick r:id="rId3"/>
              </a:rPr>
              <a:t>https://registry.opendata.aws/cse-cic-ids2018/</a:t>
            </a:r>
            <a:endParaRPr lang="en-US" b="1">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ipe(left)">
                                      <p:cBhvr>
                                        <p:cTn id="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52.xml><?xml version="1.0" encoding="utf-8"?>
<p:tagLst xmlns:a="http://schemas.openxmlformats.org/drawingml/2006/main" xmlns:r="http://schemas.openxmlformats.org/officeDocument/2006/relationships" xmlns:p="http://schemas.openxmlformats.org/presentationml/2006/main">
  <p:tag name="POWER_USER_ID_TEMPLATES" val="Key_points_5"/>
</p:tagLst>
</file>

<file path=ppt/tags/tag53.xml><?xml version="1.0" encoding="utf-8"?>
<p:tagLst xmlns:a="http://schemas.openxmlformats.org/drawingml/2006/main" xmlns:r="http://schemas.openxmlformats.org/officeDocument/2006/relationships" xmlns:p="http://schemas.openxmlformats.org/presentationml/2006/main">
  <p:tag name="POWER_USER_ID_TEMPLATES" val="Competitive_Advantage_Matrix__Michael_E__Porter_1980_"/>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
  <p:tag name="POWER-USER ICON" val="Power-user icon"/>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
  <p:tag name="POWER-USER ICON" val="Power-user icon"/>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
  <p:tag name="POWER-USER ICON" val="Power-user icon"/>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
  <p:tag name="POWER-USER ICON" val="Power-user icon"/>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
  <p:tag name="POWER-USER ICON" val="Power-user icon"/>
</p:tagLst>
</file>

<file path=ppt/tags/tag59.xml><?xml version="1.0" encoding="utf-8"?>
<p:tagLst xmlns:a="http://schemas.openxmlformats.org/drawingml/2006/main" xmlns:r="http://schemas.openxmlformats.org/officeDocument/2006/relationships" xmlns:p="http://schemas.openxmlformats.org/presentationml/2006/main">
  <p:tag name="POWER_USER_ID_TEMPLATES" val="Paper_clips"/>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5.xml><?xml version="1.0" encoding="utf-8"?>
<p:tagLst xmlns:a="http://schemas.openxmlformats.org/drawingml/2006/main" xmlns:r="http://schemas.openxmlformats.org/officeDocument/2006/relationships" xmlns:p="http://schemas.openxmlformats.org/presentationml/2006/main">
  <p:tag name="POWER_USER_ID_TEMPLATES" val="Corridor"/>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heme/theme1.xml><?xml version="1.0" encoding="utf-8"?>
<a:theme xmlns:a="http://schemas.openxmlformats.org/drawingml/2006/main" name="Machine Learning Infographics by Slidesgo">
  <a:themeElements>
    <a:clrScheme name="Simple Light">
      <a:dk1>
        <a:srgbClr val="000000"/>
      </a:dk1>
      <a:lt1>
        <a:srgbClr val="FFFFFF"/>
      </a:lt1>
      <a:dk2>
        <a:srgbClr val="666666"/>
      </a:dk2>
      <a:lt2>
        <a:srgbClr val="D9D9D9"/>
      </a:lt2>
      <a:accent1>
        <a:srgbClr val="E4EA27"/>
      </a:accent1>
      <a:accent2>
        <a:srgbClr val="26EAB8"/>
      </a:accent2>
      <a:accent3>
        <a:srgbClr val="2776EA"/>
      </a:accent3>
      <a:accent4>
        <a:srgbClr val="E99B27"/>
      </a:accent4>
      <a:accent5>
        <a:srgbClr val="EA4827"/>
      </a:accent5>
      <a:accent6>
        <a:srgbClr val="8027EA"/>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3.xml><?xml version="1.0" encoding="utf-8"?>
<a:theme xmlns:a="http://schemas.openxmlformats.org/drawingml/2006/main" name="1_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4.xml><?xml version="1.0" encoding="utf-8"?>
<a:theme xmlns:a="http://schemas.openxmlformats.org/drawingml/2006/main" name="2_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5.xml><?xml version="1.0" encoding="utf-8"?>
<a:theme xmlns:a="http://schemas.openxmlformats.org/drawingml/2006/main" name="3_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6.xml><?xml version="1.0" encoding="utf-8"?>
<a:theme xmlns:a="http://schemas.openxmlformats.org/drawingml/2006/main" name="4_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7.xml><?xml version="1.0" encoding="utf-8"?>
<a:theme xmlns:a="http://schemas.openxmlformats.org/drawingml/2006/main" name="5_Power-user">
  <a:themeElements>
    <a:clrScheme name="Custom 18">
      <a:dk1>
        <a:sysClr val="windowText" lastClr="000000"/>
      </a:dk1>
      <a:lt1>
        <a:sysClr val="window" lastClr="FFFFFF"/>
      </a:lt1>
      <a:dk2>
        <a:srgbClr val="595959"/>
      </a:dk2>
      <a:lt2>
        <a:srgbClr val="E7E6E6"/>
      </a:lt2>
      <a:accent1>
        <a:srgbClr val="EA6D49"/>
      </a:accent1>
      <a:accent2>
        <a:srgbClr val="33C481"/>
      </a:accent2>
      <a:accent3>
        <a:srgbClr val="41A5EE"/>
      </a:accent3>
      <a:accent4>
        <a:srgbClr val="FFCF4A"/>
      </a:accent4>
      <a:accent5>
        <a:srgbClr val="7B83EB"/>
      </a:accent5>
      <a:accent6>
        <a:srgbClr val="CA65E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user" id="{A54D1E12-06FB-4C56-B9A2-5CDFDBAAC4F9}" vid="{A6DC06BC-0042-450D-8E4D-D79A79C963EF}"/>
    </a:ext>
  </a:ext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8</TotalTime>
  <Words>1749</Words>
  <Application>Microsoft Office PowerPoint</Application>
  <PresentationFormat>On-screen Show (16:9)</PresentationFormat>
  <Paragraphs>271</Paragraphs>
  <Slides>23</Slides>
  <Notes>23</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23</vt:i4>
      </vt:variant>
    </vt:vector>
  </HeadingPairs>
  <TitlesOfParts>
    <vt:vector size="39" baseType="lpstr">
      <vt:lpstr>Calibri Light</vt:lpstr>
      <vt:lpstr>Anton</vt:lpstr>
      <vt:lpstr>Calibri</vt:lpstr>
      <vt:lpstr>Roboto</vt:lpstr>
      <vt:lpstr>Fira Sans Extra Condensed</vt:lpstr>
      <vt:lpstr>Fira Sans Extra Condensed SemiBold</vt:lpstr>
      <vt:lpstr>Barlow</vt:lpstr>
      <vt:lpstr>Arial</vt:lpstr>
      <vt:lpstr>Tahoma</vt:lpstr>
      <vt:lpstr>Machine Learning Infographics by Slidesgo</vt:lpstr>
      <vt:lpstr>Power-user</vt:lpstr>
      <vt:lpstr>1_Power-user</vt:lpstr>
      <vt:lpstr>2_Power-user</vt:lpstr>
      <vt:lpstr>3_Power-user</vt:lpstr>
      <vt:lpstr>4_Power-user</vt:lpstr>
      <vt:lpstr>5_Power-user</vt:lpstr>
      <vt:lpstr>PHÁT HIỆN TẤN CÔNG  BRUTE-FORCE BẰNG HỌC MÁY</vt:lpstr>
      <vt:lpstr>NỘI DUNG</vt:lpstr>
      <vt:lpstr>ĐẶT VẤN ĐỀ</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IỚI THIỆU</vt:lpstr>
      <vt:lpstr>QUÁ TRÌNH TRAINING</vt:lpstr>
      <vt:lpstr>KẾT QUẢ</vt:lpstr>
      <vt:lpstr>KẾT LUẬ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ÁT HIỆN TẤN CÔNG  BRUTE-FORCE BẰNG HỌC MÁY</dc:title>
  <dc:creator>QuocCuong</dc:creator>
  <cp:lastModifiedBy>Admin</cp:lastModifiedBy>
  <cp:revision>25</cp:revision>
  <dcterms:modified xsi:type="dcterms:W3CDTF">2025-01-10T07:21:27Z</dcterms:modified>
</cp:coreProperties>
</file>